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4.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6.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7.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8.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6.xml" ContentType="application/vnd.openxmlformats-officedocument.presentationml.tags+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7.xml" ContentType="application/vnd.openxmlformats-officedocument.presentationml.tags+xml"/>
  <Override PartName="/ppt/notesSlides/notesSlide8.xml" ContentType="application/vnd.openxmlformats-officedocument.presentationml.notesSlide+xml"/>
  <Override PartName="/ppt/tags/tag28.xml" ContentType="application/vnd.openxmlformats-officedocument.presentationml.tags+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29.xml" ContentType="application/vnd.openxmlformats-officedocument.presentationml.tags+xml"/>
  <Override PartName="/ppt/tags/tag3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5.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31.xml" ContentType="application/vnd.openxmlformats-officedocument.presentationml.tags+xml"/>
  <Override PartName="/ppt/notesSlides/notesSlide16.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7.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6.xml" ContentType="application/vnd.openxmlformats-officedocument.presentationml.tags+xml"/>
  <Override PartName="/ppt/notesSlides/notesSlide20.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37.xml" ContentType="application/vnd.openxmlformats-officedocument.presentationml.tags+xml"/>
  <Override PartName="/ppt/notesSlides/notesSlide21.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4.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38.xml" ContentType="application/vnd.openxmlformats-officedocument.presentationml.tags+xml"/>
  <Override PartName="/ppt/tags/tag39.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2.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tags/tag42.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42.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43.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44.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notesSlides/notesSlide45.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tags/tag45.xml" ContentType="application/vnd.openxmlformats-officedocument.presentationml.tags+xml"/>
  <Override PartName="/ppt/tags/tag46.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notesSlides/notesSlide50.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notesSlides/notesSlide51.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notesSlides/notesSlide52.xml" ContentType="application/vnd.openxmlformats-officedocument.presentationml.notesSlide+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notesSlides/notesSlide53.xml" ContentType="application/vnd.openxmlformats-officedocument.presentationml.notesSlide+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notesSlides/notesSlide56.xml" ContentType="application/vnd.openxmlformats-officedocument.presentationml.notesSlide+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tags/tag47.xml" ContentType="application/vnd.openxmlformats-officedocument.presentationml.tags+xml"/>
  <Override PartName="/ppt/notesSlides/notesSlide57.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2" r:id="rId16"/>
    <p:sldMasterId id="2147483812" r:id="rId17"/>
    <p:sldMasterId id="2147483842" r:id="rId18"/>
    <p:sldMasterId id="2147483888" r:id="rId19"/>
    <p:sldMasterId id="2147483897" r:id="rId20"/>
    <p:sldMasterId id="2147483944" r:id="rId21"/>
    <p:sldMasterId id="2147483989" r:id="rId22"/>
    <p:sldMasterId id="2147484082" r:id="rId23"/>
  </p:sldMasterIdLst>
  <p:notesMasterIdLst>
    <p:notesMasterId r:id="rId93"/>
  </p:notesMasterIdLst>
  <p:handoutMasterIdLst>
    <p:handoutMasterId r:id="rId94"/>
  </p:handoutMasterIdLst>
  <p:sldIdLst>
    <p:sldId id="260" r:id="rId24"/>
    <p:sldId id="562" r:id="rId25"/>
    <p:sldId id="561" r:id="rId26"/>
    <p:sldId id="534" r:id="rId27"/>
    <p:sldId id="652" r:id="rId28"/>
    <p:sldId id="650" r:id="rId29"/>
    <p:sldId id="653" r:id="rId30"/>
    <p:sldId id="1567" r:id="rId31"/>
    <p:sldId id="1566" r:id="rId32"/>
    <p:sldId id="1506" r:id="rId33"/>
    <p:sldId id="1563" r:id="rId34"/>
    <p:sldId id="1504" r:id="rId35"/>
    <p:sldId id="621" r:id="rId36"/>
    <p:sldId id="578" r:id="rId37"/>
    <p:sldId id="579" r:id="rId38"/>
    <p:sldId id="580" r:id="rId39"/>
    <p:sldId id="661" r:id="rId40"/>
    <p:sldId id="1569" r:id="rId41"/>
    <p:sldId id="1562" r:id="rId42"/>
    <p:sldId id="477" r:id="rId43"/>
    <p:sldId id="478" r:id="rId44"/>
    <p:sldId id="669" r:id="rId45"/>
    <p:sldId id="581" r:id="rId46"/>
    <p:sldId id="583" r:id="rId47"/>
    <p:sldId id="585" r:id="rId48"/>
    <p:sldId id="586" r:id="rId49"/>
    <p:sldId id="629" r:id="rId50"/>
    <p:sldId id="1555" r:id="rId51"/>
    <p:sldId id="631" r:id="rId52"/>
    <p:sldId id="641" r:id="rId53"/>
    <p:sldId id="630" r:id="rId54"/>
    <p:sldId id="646" r:id="rId55"/>
    <p:sldId id="636" r:id="rId56"/>
    <p:sldId id="638" r:id="rId57"/>
    <p:sldId id="639" r:id="rId58"/>
    <p:sldId id="590" r:id="rId59"/>
    <p:sldId id="592" r:id="rId60"/>
    <p:sldId id="593" r:id="rId61"/>
    <p:sldId id="762" r:id="rId62"/>
    <p:sldId id="672" r:id="rId63"/>
    <p:sldId id="673" r:id="rId64"/>
    <p:sldId id="674" r:id="rId65"/>
    <p:sldId id="675" r:id="rId66"/>
    <p:sldId id="676" r:id="rId67"/>
    <p:sldId id="678" r:id="rId68"/>
    <p:sldId id="679" r:id="rId69"/>
    <p:sldId id="1564" r:id="rId70"/>
    <p:sldId id="683" r:id="rId71"/>
    <p:sldId id="688" r:id="rId72"/>
    <p:sldId id="692" r:id="rId73"/>
    <p:sldId id="689" r:id="rId74"/>
    <p:sldId id="690" r:id="rId75"/>
    <p:sldId id="691" r:id="rId76"/>
    <p:sldId id="597" r:id="rId77"/>
    <p:sldId id="598" r:id="rId78"/>
    <p:sldId id="599" r:id="rId79"/>
    <p:sldId id="600" r:id="rId80"/>
    <p:sldId id="704" r:id="rId81"/>
    <p:sldId id="705" r:id="rId82"/>
    <p:sldId id="696" r:id="rId83"/>
    <p:sldId id="697" r:id="rId84"/>
    <p:sldId id="700" r:id="rId85"/>
    <p:sldId id="701" r:id="rId86"/>
    <p:sldId id="703" r:id="rId87"/>
    <p:sldId id="724" r:id="rId88"/>
    <p:sldId id="602" r:id="rId89"/>
    <p:sldId id="604" r:id="rId90"/>
    <p:sldId id="605" r:id="rId91"/>
    <p:sldId id="259" r:id="rId92"/>
  </p:sldIdLst>
  <p:sldSz cx="12192000" cy="6858000"/>
  <p:notesSz cx="6858000" cy="9144000"/>
  <p:custDataLst>
    <p:tags r:id="rId9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562"/>
          </p14:sldIdLst>
        </p14:section>
        <p14:section name="Lesson1" id="{25ADF4C8-2200-4410-9F45-B05F5BA6D4E6}">
          <p14:sldIdLst>
            <p14:sldId id="561"/>
            <p14:sldId id="534"/>
            <p14:sldId id="652"/>
            <p14:sldId id="650"/>
            <p14:sldId id="653"/>
            <p14:sldId id="1567"/>
            <p14:sldId id="1566"/>
            <p14:sldId id="1506"/>
            <p14:sldId id="1563"/>
            <p14:sldId id="1504"/>
            <p14:sldId id="621"/>
          </p14:sldIdLst>
        </p14:section>
        <p14:section name="Lesson 2: SQL Server Page Structure" id="{C164F977-020D-4418-9DE6-021C7FD230FE}">
          <p14:sldIdLst>
            <p14:sldId id="578"/>
            <p14:sldId id="579"/>
            <p14:sldId id="580"/>
            <p14:sldId id="661"/>
            <p14:sldId id="1569"/>
            <p14:sldId id="1562"/>
            <p14:sldId id="477"/>
            <p14:sldId id="478"/>
            <p14:sldId id="669"/>
            <p14:sldId id="581"/>
            <p14:sldId id="583"/>
          </p14:sldIdLst>
        </p14:section>
        <p14:section name="Lesson 3: SQL Server Data File Structure" id="{116884A5-6A67-4FED-B1AB-448E0EBD0925}">
          <p14:sldIdLst>
            <p14:sldId id="585"/>
            <p14:sldId id="586"/>
            <p14:sldId id="629"/>
            <p14:sldId id="1555"/>
            <p14:sldId id="631"/>
            <p14:sldId id="641"/>
            <p14:sldId id="630"/>
            <p14:sldId id="646"/>
            <p14:sldId id="636"/>
            <p14:sldId id="638"/>
            <p14:sldId id="639"/>
            <p14:sldId id="590"/>
          </p14:sldIdLst>
        </p14:section>
        <p14:section name="Lesson 4: SQL Server Log File Structure" id="{6A5AF162-43AE-40C9-9E7C-1FA4CC68A646}">
          <p14:sldIdLst>
            <p14:sldId id="592"/>
            <p14:sldId id="593"/>
            <p14:sldId id="762"/>
            <p14:sldId id="672"/>
            <p14:sldId id="673"/>
            <p14:sldId id="674"/>
            <p14:sldId id="675"/>
            <p14:sldId id="676"/>
            <p14:sldId id="678"/>
            <p14:sldId id="679"/>
            <p14:sldId id="1564"/>
            <p14:sldId id="683"/>
            <p14:sldId id="688"/>
            <p14:sldId id="692"/>
            <p14:sldId id="689"/>
            <p14:sldId id="690"/>
            <p14:sldId id="691"/>
            <p14:sldId id="597"/>
            <p14:sldId id="598"/>
          </p14:sldIdLst>
        </p14:section>
        <p14:section name="Lesson 5: SQL Server TempDB File Structure" id="{0AAC784B-5711-49CB-BE59-FBB2807262BC}">
          <p14:sldIdLst>
            <p14:sldId id="599"/>
            <p14:sldId id="600"/>
            <p14:sldId id="704"/>
            <p14:sldId id="705"/>
            <p14:sldId id="696"/>
            <p14:sldId id="697"/>
            <p14:sldId id="700"/>
            <p14:sldId id="701"/>
            <p14:sldId id="703"/>
            <p14:sldId id="724"/>
            <p14:sldId id="602"/>
            <p14:sldId id="604"/>
            <p14:sldId id="605"/>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7C10"/>
    <a:srgbClr val="0078D4"/>
    <a:srgbClr val="91ABD5"/>
    <a:srgbClr val="C8D5EA"/>
    <a:srgbClr val="243A5E"/>
    <a:srgbClr val="D59DFF"/>
    <a:srgbClr val="30E5D0"/>
    <a:srgbClr val="008575"/>
    <a:srgbClr val="9BF00B"/>
    <a:srgbClr val="51525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81" autoAdjust="0"/>
    <p:restoredTop sz="52865" autoAdjust="0"/>
  </p:normalViewPr>
  <p:slideViewPr>
    <p:cSldViewPr snapToGrid="0">
      <p:cViewPr varScale="1">
        <p:scale>
          <a:sx n="36" d="100"/>
          <a:sy n="36" d="100"/>
        </p:scale>
        <p:origin x="1856" y="48"/>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3.xml"/><Relationship Id="rId21" Type="http://schemas.openxmlformats.org/officeDocument/2006/relationships/slideMaster" Target="slideMasters/slideMaster6.xml"/><Relationship Id="rId42" Type="http://schemas.openxmlformats.org/officeDocument/2006/relationships/slide" Target="slides/slide19.xml"/><Relationship Id="rId47" Type="http://schemas.openxmlformats.org/officeDocument/2006/relationships/slide" Target="slides/slide24.xml"/><Relationship Id="rId63" Type="http://schemas.openxmlformats.org/officeDocument/2006/relationships/slide" Target="slides/slide40.xml"/><Relationship Id="rId68" Type="http://schemas.openxmlformats.org/officeDocument/2006/relationships/slide" Target="slides/slide45.xml"/><Relationship Id="rId84" Type="http://schemas.openxmlformats.org/officeDocument/2006/relationships/slide" Target="slides/slide61.xml"/><Relationship Id="rId89" Type="http://schemas.openxmlformats.org/officeDocument/2006/relationships/slide" Target="slides/slide66.xml"/><Relationship Id="rId16" Type="http://schemas.openxmlformats.org/officeDocument/2006/relationships/slideMaster" Target="slideMasters/slideMaster1.xml"/><Relationship Id="rId11" Type="http://schemas.openxmlformats.org/officeDocument/2006/relationships/customXml" Target="../customXml/item11.xml"/><Relationship Id="rId32" Type="http://schemas.openxmlformats.org/officeDocument/2006/relationships/slide" Target="slides/slide9.xml"/><Relationship Id="rId37" Type="http://schemas.openxmlformats.org/officeDocument/2006/relationships/slide" Target="slides/slide14.xml"/><Relationship Id="rId53" Type="http://schemas.openxmlformats.org/officeDocument/2006/relationships/slide" Target="slides/slide30.xml"/><Relationship Id="rId58" Type="http://schemas.openxmlformats.org/officeDocument/2006/relationships/slide" Target="slides/slide35.xml"/><Relationship Id="rId74" Type="http://schemas.openxmlformats.org/officeDocument/2006/relationships/slide" Target="slides/slide51.xml"/><Relationship Id="rId79" Type="http://schemas.openxmlformats.org/officeDocument/2006/relationships/slide" Target="slides/slide56.xml"/><Relationship Id="rId5" Type="http://schemas.openxmlformats.org/officeDocument/2006/relationships/customXml" Target="../customXml/item5.xml"/><Relationship Id="rId90" Type="http://schemas.openxmlformats.org/officeDocument/2006/relationships/slide" Target="slides/slide67.xml"/><Relationship Id="rId95" Type="http://schemas.openxmlformats.org/officeDocument/2006/relationships/tags" Target="tags/tag1.xml"/><Relationship Id="rId22" Type="http://schemas.openxmlformats.org/officeDocument/2006/relationships/slideMaster" Target="slideMasters/slideMaster7.xml"/><Relationship Id="rId27" Type="http://schemas.openxmlformats.org/officeDocument/2006/relationships/slide" Target="slides/slide4.xml"/><Relationship Id="rId43" Type="http://schemas.openxmlformats.org/officeDocument/2006/relationships/slide" Target="slides/slide20.xml"/><Relationship Id="rId48" Type="http://schemas.openxmlformats.org/officeDocument/2006/relationships/slide" Target="slides/slide25.xml"/><Relationship Id="rId64" Type="http://schemas.openxmlformats.org/officeDocument/2006/relationships/slide" Target="slides/slide41.xml"/><Relationship Id="rId69" Type="http://schemas.openxmlformats.org/officeDocument/2006/relationships/slide" Target="slides/slide46.xml"/><Relationship Id="rId80" Type="http://schemas.openxmlformats.org/officeDocument/2006/relationships/slide" Target="slides/slide57.xml"/><Relationship Id="rId85" Type="http://schemas.openxmlformats.org/officeDocument/2006/relationships/slide" Target="slides/slide62.xml"/><Relationship Id="rId12" Type="http://schemas.openxmlformats.org/officeDocument/2006/relationships/customXml" Target="../customXml/item12.xml"/><Relationship Id="rId17" Type="http://schemas.openxmlformats.org/officeDocument/2006/relationships/slideMaster" Target="slideMasters/slideMaster2.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openxmlformats.org/officeDocument/2006/relationships/slide" Target="slides/slide23.xml"/><Relationship Id="rId59" Type="http://schemas.openxmlformats.org/officeDocument/2006/relationships/slide" Target="slides/slide36.xml"/><Relationship Id="rId67" Type="http://schemas.openxmlformats.org/officeDocument/2006/relationships/slide" Target="slides/slide44.xml"/><Relationship Id="rId20" Type="http://schemas.openxmlformats.org/officeDocument/2006/relationships/slideMaster" Target="slideMasters/slideMaster5.xml"/><Relationship Id="rId41" Type="http://schemas.openxmlformats.org/officeDocument/2006/relationships/slide" Target="slides/slide18.xml"/><Relationship Id="rId54" Type="http://schemas.openxmlformats.org/officeDocument/2006/relationships/slide" Target="slides/slide31.xml"/><Relationship Id="rId62" Type="http://schemas.openxmlformats.org/officeDocument/2006/relationships/slide" Target="slides/slide39.xml"/><Relationship Id="rId70" Type="http://schemas.openxmlformats.org/officeDocument/2006/relationships/slide" Target="slides/slide47.xml"/><Relationship Id="rId75" Type="http://schemas.openxmlformats.org/officeDocument/2006/relationships/slide" Target="slides/slide52.xml"/><Relationship Id="rId83" Type="http://schemas.openxmlformats.org/officeDocument/2006/relationships/slide" Target="slides/slide60.xml"/><Relationship Id="rId88" Type="http://schemas.openxmlformats.org/officeDocument/2006/relationships/slide" Target="slides/slide65.xml"/><Relationship Id="rId91" Type="http://schemas.openxmlformats.org/officeDocument/2006/relationships/slide" Target="slides/slide68.xml"/><Relationship Id="rId96"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Master" Target="slideMasters/slideMaster8.xml"/><Relationship Id="rId28" Type="http://schemas.openxmlformats.org/officeDocument/2006/relationships/slide" Target="slides/slide5.xml"/><Relationship Id="rId36" Type="http://schemas.openxmlformats.org/officeDocument/2006/relationships/slide" Target="slides/slide13.xml"/><Relationship Id="rId49" Type="http://schemas.openxmlformats.org/officeDocument/2006/relationships/slide" Target="slides/slide26.xml"/><Relationship Id="rId57" Type="http://schemas.openxmlformats.org/officeDocument/2006/relationships/slide" Target="slides/slide34.xml"/><Relationship Id="rId10" Type="http://schemas.openxmlformats.org/officeDocument/2006/relationships/customXml" Target="../customXml/item10.xml"/><Relationship Id="rId31" Type="http://schemas.openxmlformats.org/officeDocument/2006/relationships/slide" Target="slides/slide8.xml"/><Relationship Id="rId44" Type="http://schemas.openxmlformats.org/officeDocument/2006/relationships/slide" Target="slides/slide21.xml"/><Relationship Id="rId52" Type="http://schemas.openxmlformats.org/officeDocument/2006/relationships/slide" Target="slides/slide29.xml"/><Relationship Id="rId60" Type="http://schemas.openxmlformats.org/officeDocument/2006/relationships/slide" Target="slides/slide37.xml"/><Relationship Id="rId65" Type="http://schemas.openxmlformats.org/officeDocument/2006/relationships/slide" Target="slides/slide42.xml"/><Relationship Id="rId73" Type="http://schemas.openxmlformats.org/officeDocument/2006/relationships/slide" Target="slides/slide50.xml"/><Relationship Id="rId78" Type="http://schemas.openxmlformats.org/officeDocument/2006/relationships/slide" Target="slides/slide55.xml"/><Relationship Id="rId81" Type="http://schemas.openxmlformats.org/officeDocument/2006/relationships/slide" Target="slides/slide58.xml"/><Relationship Id="rId86" Type="http://schemas.openxmlformats.org/officeDocument/2006/relationships/slide" Target="slides/slide63.xml"/><Relationship Id="rId94" Type="http://schemas.openxmlformats.org/officeDocument/2006/relationships/handoutMaster" Target="handoutMasters/handoutMaster1.xml"/><Relationship Id="rId99" Type="http://schemas.openxmlformats.org/officeDocument/2006/relationships/theme" Target="theme/theme1.xml"/><Relationship Id="rId101"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slideMaster" Target="slideMasters/slideMaster3.xml"/><Relationship Id="rId39" Type="http://schemas.openxmlformats.org/officeDocument/2006/relationships/slide" Target="slides/slide16.xml"/><Relationship Id="rId34" Type="http://schemas.openxmlformats.org/officeDocument/2006/relationships/slide" Target="slides/slide11.xml"/><Relationship Id="rId50" Type="http://schemas.openxmlformats.org/officeDocument/2006/relationships/slide" Target="slides/slide27.xml"/><Relationship Id="rId55" Type="http://schemas.openxmlformats.org/officeDocument/2006/relationships/slide" Target="slides/slide32.xml"/><Relationship Id="rId76" Type="http://schemas.openxmlformats.org/officeDocument/2006/relationships/slide" Target="slides/slide53.xml"/><Relationship Id="rId97" Type="http://schemas.openxmlformats.org/officeDocument/2006/relationships/presProps" Target="presProps.xml"/><Relationship Id="rId7" Type="http://schemas.openxmlformats.org/officeDocument/2006/relationships/customXml" Target="../customXml/item7.xml"/><Relationship Id="rId71" Type="http://schemas.openxmlformats.org/officeDocument/2006/relationships/slide" Target="slides/slide48.xml"/><Relationship Id="rId92" Type="http://schemas.openxmlformats.org/officeDocument/2006/relationships/slide" Target="slides/slide69.xml"/><Relationship Id="rId2" Type="http://schemas.openxmlformats.org/officeDocument/2006/relationships/customXml" Target="../customXml/item2.xml"/><Relationship Id="rId29" Type="http://schemas.openxmlformats.org/officeDocument/2006/relationships/slide" Target="slides/slide6.xml"/><Relationship Id="rId24" Type="http://schemas.openxmlformats.org/officeDocument/2006/relationships/slide" Target="slides/slide1.xml"/><Relationship Id="rId40" Type="http://schemas.openxmlformats.org/officeDocument/2006/relationships/slide" Target="slides/slide17.xml"/><Relationship Id="rId45" Type="http://schemas.openxmlformats.org/officeDocument/2006/relationships/slide" Target="slides/slide22.xml"/><Relationship Id="rId66" Type="http://schemas.openxmlformats.org/officeDocument/2006/relationships/slide" Target="slides/slide43.xml"/><Relationship Id="rId87" Type="http://schemas.openxmlformats.org/officeDocument/2006/relationships/slide" Target="slides/slide64.xml"/><Relationship Id="rId61" Type="http://schemas.openxmlformats.org/officeDocument/2006/relationships/slide" Target="slides/slide38.xml"/><Relationship Id="rId82" Type="http://schemas.openxmlformats.org/officeDocument/2006/relationships/slide" Target="slides/slide59.xml"/><Relationship Id="rId19" Type="http://schemas.openxmlformats.org/officeDocument/2006/relationships/slideMaster" Target="slideMasters/slideMaster4.xml"/><Relationship Id="rId14" Type="http://schemas.openxmlformats.org/officeDocument/2006/relationships/customXml" Target="../customXml/item14.xml"/><Relationship Id="rId30" Type="http://schemas.openxmlformats.org/officeDocument/2006/relationships/slide" Target="slides/slide7.xml"/><Relationship Id="rId35" Type="http://schemas.openxmlformats.org/officeDocument/2006/relationships/slide" Target="slides/slide12.xml"/><Relationship Id="rId56" Type="http://schemas.openxmlformats.org/officeDocument/2006/relationships/slide" Target="slides/slide33.xml"/><Relationship Id="rId77" Type="http://schemas.openxmlformats.org/officeDocument/2006/relationships/slide" Target="slides/slide54.xml"/><Relationship Id="rId100" Type="http://schemas.openxmlformats.org/officeDocument/2006/relationships/tableStyles" Target="tableStyles.xml"/><Relationship Id="rId8" Type="http://schemas.openxmlformats.org/officeDocument/2006/relationships/customXml" Target="../customXml/item8.xml"/><Relationship Id="rId51" Type="http://schemas.openxmlformats.org/officeDocument/2006/relationships/slide" Target="slides/slide28.xml"/><Relationship Id="rId72" Type="http://schemas.openxmlformats.org/officeDocument/2006/relationships/slide" Target="slides/slide49.xml"/><Relationship Id="rId93" Type="http://schemas.openxmlformats.org/officeDocument/2006/relationships/notesMaster" Target="notesMasters/notesMaster1.xml"/><Relationship Id="rId98" Type="http://schemas.openxmlformats.org/officeDocument/2006/relationships/viewProps" Target="viewProp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tuhan Yildiz" userId="90f344fc-4655-4923-aeaf-697bba59c1a7" providerId="ADAL" clId="{893C3D6B-E236-4D2D-B4C6-0B4B748096BC}"/>
    <pc:docChg chg="undo custSel addSld modSld addSection modSection">
      <pc:chgData name="Batuhan Yildiz" userId="90f344fc-4655-4923-aeaf-697bba59c1a7" providerId="ADAL" clId="{893C3D6B-E236-4D2D-B4C6-0B4B748096BC}" dt="2020-02-06T02:33:15.190" v="375"/>
      <pc:docMkLst>
        <pc:docMk/>
      </pc:docMkLst>
      <pc:sldChg chg="modSp mod">
        <pc:chgData name="Batuhan Yildiz" userId="90f344fc-4655-4923-aeaf-697bba59c1a7" providerId="ADAL" clId="{893C3D6B-E236-4D2D-B4C6-0B4B748096BC}" dt="2020-02-05T02:46:46.811" v="355" actId="20577"/>
        <pc:sldMkLst>
          <pc:docMk/>
          <pc:sldMk cId="1196121053" sldId="260"/>
        </pc:sldMkLst>
        <pc:spChg chg="mod">
          <ac:chgData name="Batuhan Yildiz" userId="90f344fc-4655-4923-aeaf-697bba59c1a7" providerId="ADAL" clId="{893C3D6B-E236-4D2D-B4C6-0B4B748096BC}" dt="2020-02-04T23:15:51.994" v="27" actId="20577"/>
          <ac:spMkLst>
            <pc:docMk/>
            <pc:sldMk cId="1196121053" sldId="260"/>
            <ac:spMk id="4" creationId="{5D85DF47-300F-4085-B774-DDE734B96F99}"/>
          </ac:spMkLst>
        </pc:spChg>
        <pc:spChg chg="mod">
          <ac:chgData name="Batuhan Yildiz" userId="90f344fc-4655-4923-aeaf-697bba59c1a7" providerId="ADAL" clId="{893C3D6B-E236-4D2D-B4C6-0B4B748096BC}" dt="2020-02-05T02:46:46.811" v="355" actId="20577"/>
          <ac:spMkLst>
            <pc:docMk/>
            <pc:sldMk cId="1196121053" sldId="260"/>
            <ac:spMk id="5" creationId="{806AE5AE-CAF0-4BF4-872E-C97AF8874A6F}"/>
          </ac:spMkLst>
        </pc:spChg>
      </pc:sldChg>
      <pc:sldChg chg="modSp">
        <pc:chgData name="Batuhan Yildiz" userId="90f344fc-4655-4923-aeaf-697bba59c1a7" providerId="ADAL" clId="{893C3D6B-E236-4D2D-B4C6-0B4B748096BC}" dt="2020-02-04T23:20:16.219" v="334"/>
        <pc:sldMkLst>
          <pc:docMk/>
          <pc:sldMk cId="4083746080" sldId="561"/>
        </pc:sldMkLst>
        <pc:spChg chg="mod">
          <ac:chgData name="Batuhan Yildiz" userId="90f344fc-4655-4923-aeaf-697bba59c1a7" providerId="ADAL" clId="{893C3D6B-E236-4D2D-B4C6-0B4B748096BC}" dt="2020-02-04T23:20:16.219" v="334"/>
          <ac:spMkLst>
            <pc:docMk/>
            <pc:sldMk cId="4083746080" sldId="561"/>
            <ac:spMk id="2" creationId="{74CD77A6-E28D-4D8D-9FE5-64ADAA827AC9}"/>
          </ac:spMkLst>
        </pc:spChg>
      </pc:sldChg>
      <pc:sldChg chg="modSp mod">
        <pc:chgData name="Batuhan Yildiz" userId="90f344fc-4655-4923-aeaf-697bba59c1a7" providerId="ADAL" clId="{893C3D6B-E236-4D2D-B4C6-0B4B748096BC}" dt="2020-02-06T02:31:20.992" v="364" actId="20577"/>
        <pc:sldMkLst>
          <pc:docMk/>
          <pc:sldMk cId="1615560134" sldId="562"/>
        </pc:sldMkLst>
        <pc:spChg chg="mod">
          <ac:chgData name="Batuhan Yildiz" userId="90f344fc-4655-4923-aeaf-697bba59c1a7" providerId="ADAL" clId="{893C3D6B-E236-4D2D-B4C6-0B4B748096BC}" dt="2020-02-06T02:31:20.992" v="364" actId="20577"/>
          <ac:spMkLst>
            <pc:docMk/>
            <pc:sldMk cId="1615560134" sldId="562"/>
            <ac:spMk id="3" creationId="{859B2BAE-A383-4E74-B3CF-9AC64DA11727}"/>
          </ac:spMkLst>
        </pc:spChg>
      </pc:sldChg>
      <pc:sldChg chg="modSp mod">
        <pc:chgData name="Batuhan Yildiz" userId="90f344fc-4655-4923-aeaf-697bba59c1a7" providerId="ADAL" clId="{893C3D6B-E236-4D2D-B4C6-0B4B748096BC}" dt="2020-02-04T23:21:14.575" v="336" actId="14100"/>
        <pc:sldMkLst>
          <pc:docMk/>
          <pc:sldMk cId="289400407" sldId="564"/>
        </pc:sldMkLst>
        <pc:spChg chg="mod">
          <ac:chgData name="Batuhan Yildiz" userId="90f344fc-4655-4923-aeaf-697bba59c1a7" providerId="ADAL" clId="{893C3D6B-E236-4D2D-B4C6-0B4B748096BC}" dt="2020-02-04T23:21:14.575" v="336" actId="14100"/>
          <ac:spMkLst>
            <pc:docMk/>
            <pc:sldMk cId="289400407" sldId="564"/>
            <ac:spMk id="2" creationId="{74CD77A6-E28D-4D8D-9FE5-64ADAA827AC9}"/>
          </ac:spMkLst>
        </pc:spChg>
      </pc:sldChg>
      <pc:sldChg chg="modSp mod">
        <pc:chgData name="Batuhan Yildiz" userId="90f344fc-4655-4923-aeaf-697bba59c1a7" providerId="ADAL" clId="{893C3D6B-E236-4D2D-B4C6-0B4B748096BC}" dt="2020-02-06T02:32:27.140" v="369" actId="20577"/>
        <pc:sldMkLst>
          <pc:docMk/>
          <pc:sldMk cId="57495843" sldId="571"/>
        </pc:sldMkLst>
        <pc:spChg chg="mod">
          <ac:chgData name="Batuhan Yildiz" userId="90f344fc-4655-4923-aeaf-697bba59c1a7" providerId="ADAL" clId="{893C3D6B-E236-4D2D-B4C6-0B4B748096BC}" dt="2020-02-06T02:32:27.140" v="369" actId="20577"/>
          <ac:spMkLst>
            <pc:docMk/>
            <pc:sldMk cId="57495843" sldId="571"/>
            <ac:spMk id="2" creationId="{74CD77A6-E28D-4D8D-9FE5-64ADAA827AC9}"/>
          </ac:spMkLst>
        </pc:spChg>
      </pc:sldChg>
      <pc:sldChg chg="modSp">
        <pc:chgData name="Batuhan Yildiz" userId="90f344fc-4655-4923-aeaf-697bba59c1a7" providerId="ADAL" clId="{893C3D6B-E236-4D2D-B4C6-0B4B748096BC}" dt="2020-02-04T23:22:36.314" v="340"/>
        <pc:sldMkLst>
          <pc:docMk/>
          <pc:sldMk cId="1611742758" sldId="578"/>
        </pc:sldMkLst>
        <pc:spChg chg="mod">
          <ac:chgData name="Batuhan Yildiz" userId="90f344fc-4655-4923-aeaf-697bba59c1a7" providerId="ADAL" clId="{893C3D6B-E236-4D2D-B4C6-0B4B748096BC}" dt="2020-02-04T23:22:36.314" v="340"/>
          <ac:spMkLst>
            <pc:docMk/>
            <pc:sldMk cId="1611742758" sldId="578"/>
            <ac:spMk id="2" creationId="{74CD77A6-E28D-4D8D-9FE5-64ADAA827AC9}"/>
          </ac:spMkLst>
        </pc:spChg>
      </pc:sldChg>
      <pc:sldChg chg="modSp">
        <pc:chgData name="Batuhan Yildiz" userId="90f344fc-4655-4923-aeaf-697bba59c1a7" providerId="ADAL" clId="{893C3D6B-E236-4D2D-B4C6-0B4B748096BC}" dt="2020-02-04T23:23:17.371" v="343"/>
        <pc:sldMkLst>
          <pc:docMk/>
          <pc:sldMk cId="3265042349" sldId="585"/>
        </pc:sldMkLst>
        <pc:spChg chg="mod">
          <ac:chgData name="Batuhan Yildiz" userId="90f344fc-4655-4923-aeaf-697bba59c1a7" providerId="ADAL" clId="{893C3D6B-E236-4D2D-B4C6-0B4B748096BC}" dt="2020-02-04T23:23:17.371" v="343"/>
          <ac:spMkLst>
            <pc:docMk/>
            <pc:sldMk cId="3265042349" sldId="585"/>
            <ac:spMk id="2" creationId="{74CD77A6-E28D-4D8D-9FE5-64ADAA827AC9}"/>
          </ac:spMkLst>
        </pc:spChg>
      </pc:sldChg>
      <pc:sldChg chg="modSp">
        <pc:chgData name="Batuhan Yildiz" userId="90f344fc-4655-4923-aeaf-697bba59c1a7" providerId="ADAL" clId="{893C3D6B-E236-4D2D-B4C6-0B4B748096BC}" dt="2020-02-04T23:23:47.265" v="346"/>
        <pc:sldMkLst>
          <pc:docMk/>
          <pc:sldMk cId="1945948018" sldId="592"/>
        </pc:sldMkLst>
        <pc:spChg chg="mod">
          <ac:chgData name="Batuhan Yildiz" userId="90f344fc-4655-4923-aeaf-697bba59c1a7" providerId="ADAL" clId="{893C3D6B-E236-4D2D-B4C6-0B4B748096BC}" dt="2020-02-04T23:23:47.265" v="346"/>
          <ac:spMkLst>
            <pc:docMk/>
            <pc:sldMk cId="1945948018" sldId="592"/>
            <ac:spMk id="2" creationId="{74CD77A6-E28D-4D8D-9FE5-64ADAA827AC9}"/>
          </ac:spMkLst>
        </pc:spChg>
      </pc:sldChg>
      <pc:sldChg chg="modSp">
        <pc:chgData name="Batuhan Yildiz" userId="90f344fc-4655-4923-aeaf-697bba59c1a7" providerId="ADAL" clId="{893C3D6B-E236-4D2D-B4C6-0B4B748096BC}" dt="2020-02-04T23:24:26.583" v="349"/>
        <pc:sldMkLst>
          <pc:docMk/>
          <pc:sldMk cId="809679049" sldId="599"/>
        </pc:sldMkLst>
        <pc:spChg chg="mod">
          <ac:chgData name="Batuhan Yildiz" userId="90f344fc-4655-4923-aeaf-697bba59c1a7" providerId="ADAL" clId="{893C3D6B-E236-4D2D-B4C6-0B4B748096BC}" dt="2020-02-04T23:24:26.583" v="349"/>
          <ac:spMkLst>
            <pc:docMk/>
            <pc:sldMk cId="809679049" sldId="599"/>
            <ac:spMk id="2" creationId="{74CD77A6-E28D-4D8D-9FE5-64ADAA827AC9}"/>
          </ac:spMkLst>
        </pc:spChg>
      </pc:sldChg>
      <pc:sldChg chg="modSp mod">
        <pc:chgData name="Batuhan Yildiz" userId="90f344fc-4655-4923-aeaf-697bba59c1a7" providerId="ADAL" clId="{893C3D6B-E236-4D2D-B4C6-0B4B748096BC}" dt="2020-02-05T03:04:24.823" v="361" actId="20577"/>
        <pc:sldMkLst>
          <pc:docMk/>
          <pc:sldMk cId="2219648348" sldId="606"/>
        </pc:sldMkLst>
        <pc:spChg chg="mod">
          <ac:chgData name="Batuhan Yildiz" userId="90f344fc-4655-4923-aeaf-697bba59c1a7" providerId="ADAL" clId="{893C3D6B-E236-4D2D-B4C6-0B4B748096BC}" dt="2020-02-05T03:04:24.823" v="361" actId="20577"/>
          <ac:spMkLst>
            <pc:docMk/>
            <pc:sldMk cId="2219648348" sldId="606"/>
            <ac:spMk id="2" creationId="{74CD77A6-E28D-4D8D-9FE5-64ADAA827AC9}"/>
          </ac:spMkLst>
        </pc:spChg>
      </pc:sldChg>
      <pc:sldChg chg="add">
        <pc:chgData name="Batuhan Yildiz" userId="90f344fc-4655-4923-aeaf-697bba59c1a7" providerId="ADAL" clId="{893C3D6B-E236-4D2D-B4C6-0B4B748096BC}" dt="2020-02-06T02:32:04.280" v="365"/>
        <pc:sldMkLst>
          <pc:docMk/>
          <pc:sldMk cId="3372985199" sldId="613"/>
        </pc:sldMkLst>
      </pc:sldChg>
      <pc:sldChg chg="add">
        <pc:chgData name="Batuhan Yildiz" userId="90f344fc-4655-4923-aeaf-697bba59c1a7" providerId="ADAL" clId="{893C3D6B-E236-4D2D-B4C6-0B4B748096BC}" dt="2020-02-06T02:32:18.634" v="366"/>
        <pc:sldMkLst>
          <pc:docMk/>
          <pc:sldMk cId="2988054743" sldId="614"/>
        </pc:sldMkLst>
      </pc:sldChg>
      <pc:sldChg chg="add">
        <pc:chgData name="Batuhan Yildiz" userId="90f344fc-4655-4923-aeaf-697bba59c1a7" providerId="ADAL" clId="{893C3D6B-E236-4D2D-B4C6-0B4B748096BC}" dt="2020-02-06T02:32:31.352" v="370"/>
        <pc:sldMkLst>
          <pc:docMk/>
          <pc:sldMk cId="972038955" sldId="615"/>
        </pc:sldMkLst>
      </pc:sldChg>
      <pc:sldChg chg="add">
        <pc:chgData name="Batuhan Yildiz" userId="90f344fc-4655-4923-aeaf-697bba59c1a7" providerId="ADAL" clId="{893C3D6B-E236-4D2D-B4C6-0B4B748096BC}" dt="2020-02-06T02:32:39.198" v="371"/>
        <pc:sldMkLst>
          <pc:docMk/>
          <pc:sldMk cId="3802343584" sldId="616"/>
        </pc:sldMkLst>
      </pc:sldChg>
      <pc:sldChg chg="add">
        <pc:chgData name="Batuhan Yildiz" userId="90f344fc-4655-4923-aeaf-697bba59c1a7" providerId="ADAL" clId="{893C3D6B-E236-4D2D-B4C6-0B4B748096BC}" dt="2020-02-06T02:32:50.151" v="372"/>
        <pc:sldMkLst>
          <pc:docMk/>
          <pc:sldMk cId="2350113073" sldId="617"/>
        </pc:sldMkLst>
      </pc:sldChg>
      <pc:sldChg chg="add">
        <pc:chgData name="Batuhan Yildiz" userId="90f344fc-4655-4923-aeaf-697bba59c1a7" providerId="ADAL" clId="{893C3D6B-E236-4D2D-B4C6-0B4B748096BC}" dt="2020-02-06T02:32:58.159" v="373"/>
        <pc:sldMkLst>
          <pc:docMk/>
          <pc:sldMk cId="2489637579" sldId="618"/>
        </pc:sldMkLst>
      </pc:sldChg>
      <pc:sldChg chg="add">
        <pc:chgData name="Batuhan Yildiz" userId="90f344fc-4655-4923-aeaf-697bba59c1a7" providerId="ADAL" clId="{893C3D6B-E236-4D2D-B4C6-0B4B748096BC}" dt="2020-02-06T02:33:05.527" v="374"/>
        <pc:sldMkLst>
          <pc:docMk/>
          <pc:sldMk cId="2936961171" sldId="619"/>
        </pc:sldMkLst>
      </pc:sldChg>
      <pc:sldChg chg="add">
        <pc:chgData name="Batuhan Yildiz" userId="90f344fc-4655-4923-aeaf-697bba59c1a7" providerId="ADAL" clId="{893C3D6B-E236-4D2D-B4C6-0B4B748096BC}" dt="2020-02-06T02:33:15.190" v="375"/>
        <pc:sldMkLst>
          <pc:docMk/>
          <pc:sldMk cId="2513964796" sldId="620"/>
        </pc:sldMkLst>
      </pc:sldChg>
    </pc:docChg>
  </pc:docChgLst>
  <pc:docChgLst>
    <pc:chgData name="Sam Mesel" userId="1ee7badb-5d1f-4872-89ae-dcf7b71f276a" providerId="ADAL" clId="{F84B9C97-996A-46F9-8EAC-C75BBA266FB1}"/>
    <pc:docChg chg="undo redo custSel addSld delSld modSld sldOrd modSection">
      <pc:chgData name="Sam Mesel" userId="1ee7badb-5d1f-4872-89ae-dcf7b71f276a" providerId="ADAL" clId="{F84B9C97-996A-46F9-8EAC-C75BBA266FB1}" dt="2020-03-20T20:09:11.675" v="4238" actId="20577"/>
      <pc:docMkLst>
        <pc:docMk/>
      </pc:docMkLst>
      <pc:sldChg chg="modSp mod">
        <pc:chgData name="Sam Mesel" userId="1ee7badb-5d1f-4872-89ae-dcf7b71f276a" providerId="ADAL" clId="{F84B9C97-996A-46F9-8EAC-C75BBA266FB1}" dt="2020-03-03T20:29:01.264" v="177" actId="6549"/>
        <pc:sldMkLst>
          <pc:docMk/>
          <pc:sldMk cId="3235270007" sldId="257"/>
        </pc:sldMkLst>
        <pc:spChg chg="mod">
          <ac:chgData name="Sam Mesel" userId="1ee7badb-5d1f-4872-89ae-dcf7b71f276a" providerId="ADAL" clId="{F84B9C97-996A-46F9-8EAC-C75BBA266FB1}" dt="2020-03-03T20:29:01.264" v="177" actId="6549"/>
          <ac:spMkLst>
            <pc:docMk/>
            <pc:sldMk cId="3235270007" sldId="257"/>
            <ac:spMk id="4" creationId="{F3616A99-090F-45E1-9334-58D58B148205}"/>
          </ac:spMkLst>
        </pc:spChg>
      </pc:sldChg>
      <pc:sldChg chg="modSp mod">
        <pc:chgData name="Sam Mesel" userId="1ee7badb-5d1f-4872-89ae-dcf7b71f276a" providerId="ADAL" clId="{F84B9C97-996A-46F9-8EAC-C75BBA266FB1}" dt="2020-03-20T19:54:01.632" v="4090" actId="20577"/>
        <pc:sldMkLst>
          <pc:docMk/>
          <pc:sldMk cId="4267675391" sldId="531"/>
        </pc:sldMkLst>
        <pc:spChg chg="mod">
          <ac:chgData name="Sam Mesel" userId="1ee7badb-5d1f-4872-89ae-dcf7b71f276a" providerId="ADAL" clId="{F84B9C97-996A-46F9-8EAC-C75BBA266FB1}" dt="2020-03-20T19:54:01.632" v="4090" actId="20577"/>
          <ac:spMkLst>
            <pc:docMk/>
            <pc:sldMk cId="4267675391" sldId="531"/>
            <ac:spMk id="6" creationId="{637E159C-9ACF-48AE-927A-D5FB13695C7F}"/>
          </ac:spMkLst>
        </pc:spChg>
      </pc:sldChg>
      <pc:sldChg chg="modSp mod">
        <pc:chgData name="Sam Mesel" userId="1ee7badb-5d1f-4872-89ae-dcf7b71f276a" providerId="ADAL" clId="{F84B9C97-996A-46F9-8EAC-C75BBA266FB1}" dt="2020-03-03T20:19:48.436" v="9"/>
        <pc:sldMkLst>
          <pc:docMk/>
          <pc:sldMk cId="2621600474" sldId="534"/>
        </pc:sldMkLst>
        <pc:spChg chg="mod">
          <ac:chgData name="Sam Mesel" userId="1ee7badb-5d1f-4872-89ae-dcf7b71f276a" providerId="ADAL" clId="{F84B9C97-996A-46F9-8EAC-C75BBA266FB1}" dt="2020-03-03T20:19:48.436" v="9"/>
          <ac:spMkLst>
            <pc:docMk/>
            <pc:sldMk cId="2621600474" sldId="534"/>
            <ac:spMk id="5" creationId="{55182462-DFDF-4D48-A92C-42FD52821C4E}"/>
          </ac:spMkLst>
        </pc:spChg>
      </pc:sldChg>
      <pc:sldChg chg="modSp mod">
        <pc:chgData name="Sam Mesel" userId="1ee7badb-5d1f-4872-89ae-dcf7b71f276a" providerId="ADAL" clId="{F84B9C97-996A-46F9-8EAC-C75BBA266FB1}" dt="2020-03-03T21:46:23.076" v="543" actId="20577"/>
        <pc:sldMkLst>
          <pc:docMk/>
          <pc:sldMk cId="2034824179" sldId="565"/>
        </pc:sldMkLst>
        <pc:spChg chg="mod">
          <ac:chgData name="Sam Mesel" userId="1ee7badb-5d1f-4872-89ae-dcf7b71f276a" providerId="ADAL" clId="{F84B9C97-996A-46F9-8EAC-C75BBA266FB1}" dt="2020-03-03T21:46:23.076" v="543" actId="20577"/>
          <ac:spMkLst>
            <pc:docMk/>
            <pc:sldMk cId="2034824179" sldId="565"/>
            <ac:spMk id="5" creationId="{55182462-DFDF-4D48-A92C-42FD52821C4E}"/>
          </ac:spMkLst>
        </pc:spChg>
      </pc:sldChg>
      <pc:sldChg chg="modSp mod">
        <pc:chgData name="Sam Mesel" userId="1ee7badb-5d1f-4872-89ae-dcf7b71f276a" providerId="ADAL" clId="{F84B9C97-996A-46F9-8EAC-C75BBA266FB1}" dt="2020-03-03T21:58:08.469" v="626" actId="14100"/>
        <pc:sldMkLst>
          <pc:docMk/>
          <pc:sldMk cId="4221783869" sldId="566"/>
        </pc:sldMkLst>
        <pc:spChg chg="mod">
          <ac:chgData name="Sam Mesel" userId="1ee7badb-5d1f-4872-89ae-dcf7b71f276a" providerId="ADAL" clId="{F84B9C97-996A-46F9-8EAC-C75BBA266FB1}" dt="2020-03-03T21:47:02.247" v="551" actId="20577"/>
          <ac:spMkLst>
            <pc:docMk/>
            <pc:sldMk cId="4221783869" sldId="566"/>
            <ac:spMk id="2" creationId="{EB67312A-9819-43C6-8D84-D9136E6CFFCC}"/>
          </ac:spMkLst>
        </pc:spChg>
        <pc:graphicFrameChg chg="mod">
          <ac:chgData name="Sam Mesel" userId="1ee7badb-5d1f-4872-89ae-dcf7b71f276a" providerId="ADAL" clId="{F84B9C97-996A-46F9-8EAC-C75BBA266FB1}" dt="2020-03-03T21:58:08.469" v="626" actId="14100"/>
          <ac:graphicFrameMkLst>
            <pc:docMk/>
            <pc:sldMk cId="4221783869" sldId="566"/>
            <ac:graphicFrameMk id="5" creationId="{C1363F5E-683B-4FEB-B13E-3D9A4DF29C81}"/>
          </ac:graphicFrameMkLst>
        </pc:graphicFrameChg>
      </pc:sldChg>
      <pc:sldChg chg="modSp mod">
        <pc:chgData name="Sam Mesel" userId="1ee7badb-5d1f-4872-89ae-dcf7b71f276a" providerId="ADAL" clId="{F84B9C97-996A-46F9-8EAC-C75BBA266FB1}" dt="2020-03-20T19:58:34.171" v="4111" actId="20577"/>
        <pc:sldMkLst>
          <pc:docMk/>
          <pc:sldMk cId="670385602" sldId="567"/>
        </pc:sldMkLst>
        <pc:spChg chg="mod">
          <ac:chgData name="Sam Mesel" userId="1ee7badb-5d1f-4872-89ae-dcf7b71f276a" providerId="ADAL" clId="{F84B9C97-996A-46F9-8EAC-C75BBA266FB1}" dt="2020-03-20T19:58:34.171" v="4111" actId="20577"/>
          <ac:spMkLst>
            <pc:docMk/>
            <pc:sldMk cId="670385602" sldId="567"/>
            <ac:spMk id="6" creationId="{637E159C-9ACF-48AE-927A-D5FB13695C7F}"/>
          </ac:spMkLst>
        </pc:spChg>
      </pc:sldChg>
      <pc:sldChg chg="modSp mod">
        <pc:chgData name="Sam Mesel" userId="1ee7badb-5d1f-4872-89ae-dcf7b71f276a" providerId="ADAL" clId="{F84B9C97-996A-46F9-8EAC-C75BBA266FB1}" dt="2020-03-20T20:01:49.108" v="4186" actId="6549"/>
        <pc:sldMkLst>
          <pc:docMk/>
          <pc:sldMk cId="2147177822" sldId="568"/>
        </pc:sldMkLst>
        <pc:spChg chg="mod">
          <ac:chgData name="Sam Mesel" userId="1ee7badb-5d1f-4872-89ae-dcf7b71f276a" providerId="ADAL" clId="{F84B9C97-996A-46F9-8EAC-C75BBA266FB1}" dt="2020-03-20T20:01:49.108" v="4186" actId="6549"/>
          <ac:spMkLst>
            <pc:docMk/>
            <pc:sldMk cId="2147177822" sldId="568"/>
            <ac:spMk id="2" creationId="{BC57B38C-8413-4861-A4F5-7DF656AEAD0D}"/>
          </ac:spMkLst>
        </pc:spChg>
        <pc:spChg chg="mod">
          <ac:chgData name="Sam Mesel" userId="1ee7badb-5d1f-4872-89ae-dcf7b71f276a" providerId="ADAL" clId="{F84B9C97-996A-46F9-8EAC-C75BBA266FB1}" dt="2020-03-20T20:01:41.342" v="4184" actId="20577"/>
          <ac:spMkLst>
            <pc:docMk/>
            <pc:sldMk cId="2147177822" sldId="568"/>
            <ac:spMk id="3" creationId="{4897B8F8-26DF-42FB-ACB0-59929F1C2344}"/>
          </ac:spMkLst>
        </pc:spChg>
      </pc:sldChg>
      <pc:sldChg chg="modSp">
        <pc:chgData name="Sam Mesel" userId="1ee7badb-5d1f-4872-89ae-dcf7b71f276a" providerId="ADAL" clId="{F84B9C97-996A-46F9-8EAC-C75BBA266FB1}" dt="2020-03-04T00:01:29.601" v="853" actId="20577"/>
        <pc:sldMkLst>
          <pc:docMk/>
          <pc:sldMk cId="2346840044" sldId="570"/>
        </pc:sldMkLst>
        <pc:graphicFrameChg chg="mod">
          <ac:chgData name="Sam Mesel" userId="1ee7badb-5d1f-4872-89ae-dcf7b71f276a" providerId="ADAL" clId="{F84B9C97-996A-46F9-8EAC-C75BBA266FB1}" dt="2020-03-04T00:01:29.601" v="853" actId="20577"/>
          <ac:graphicFrameMkLst>
            <pc:docMk/>
            <pc:sldMk cId="2346840044" sldId="570"/>
            <ac:graphicFrameMk id="3" creationId="{9484E1FE-7534-495E-863C-657A46F5E628}"/>
          </ac:graphicFrameMkLst>
        </pc:graphicFrameChg>
      </pc:sldChg>
      <pc:sldChg chg="modSp mod">
        <pc:chgData name="Sam Mesel" userId="1ee7badb-5d1f-4872-89ae-dcf7b71f276a" providerId="ADAL" clId="{F84B9C97-996A-46F9-8EAC-C75BBA266FB1}" dt="2020-03-11T16:16:36.614" v="3770" actId="5793"/>
        <pc:sldMkLst>
          <pc:docMk/>
          <pc:sldMk cId="2314306782" sldId="572"/>
        </pc:sldMkLst>
        <pc:spChg chg="mod">
          <ac:chgData name="Sam Mesel" userId="1ee7badb-5d1f-4872-89ae-dcf7b71f276a" providerId="ADAL" clId="{F84B9C97-996A-46F9-8EAC-C75BBA266FB1}" dt="2020-03-11T16:16:36.614" v="3770" actId="5793"/>
          <ac:spMkLst>
            <pc:docMk/>
            <pc:sldMk cId="2314306782" sldId="572"/>
            <ac:spMk id="5" creationId="{55182462-DFDF-4D48-A92C-42FD52821C4E}"/>
          </ac:spMkLst>
        </pc:spChg>
      </pc:sldChg>
      <pc:sldChg chg="modSp mod">
        <pc:chgData name="Sam Mesel" userId="1ee7badb-5d1f-4872-89ae-dcf7b71f276a" providerId="ADAL" clId="{F84B9C97-996A-46F9-8EAC-C75BBA266FB1}" dt="2020-03-20T20:02:22.427" v="4193" actId="20577"/>
        <pc:sldMkLst>
          <pc:docMk/>
          <pc:sldMk cId="1487953619" sldId="574"/>
        </pc:sldMkLst>
        <pc:spChg chg="mod">
          <ac:chgData name="Sam Mesel" userId="1ee7badb-5d1f-4872-89ae-dcf7b71f276a" providerId="ADAL" clId="{F84B9C97-996A-46F9-8EAC-C75BBA266FB1}" dt="2020-03-20T20:02:22.427" v="4193" actId="20577"/>
          <ac:spMkLst>
            <pc:docMk/>
            <pc:sldMk cId="1487953619" sldId="574"/>
            <ac:spMk id="6" creationId="{637E159C-9ACF-48AE-927A-D5FB13695C7F}"/>
          </ac:spMkLst>
        </pc:spChg>
      </pc:sldChg>
      <pc:sldChg chg="modSp mod">
        <pc:chgData name="Sam Mesel" userId="1ee7badb-5d1f-4872-89ae-dcf7b71f276a" providerId="ADAL" clId="{F84B9C97-996A-46F9-8EAC-C75BBA266FB1}" dt="2020-03-20T20:03:52.601" v="4209" actId="20577"/>
        <pc:sldMkLst>
          <pc:docMk/>
          <pc:sldMk cId="3563492871" sldId="575"/>
        </pc:sldMkLst>
        <pc:spChg chg="mod">
          <ac:chgData name="Sam Mesel" userId="1ee7badb-5d1f-4872-89ae-dcf7b71f276a" providerId="ADAL" clId="{F84B9C97-996A-46F9-8EAC-C75BBA266FB1}" dt="2020-03-20T20:03:14.214" v="4195" actId="21"/>
          <ac:spMkLst>
            <pc:docMk/>
            <pc:sldMk cId="3563492871" sldId="575"/>
            <ac:spMk id="2" creationId="{BC57B38C-8413-4861-A4F5-7DF656AEAD0D}"/>
          </ac:spMkLst>
        </pc:spChg>
        <pc:spChg chg="mod">
          <ac:chgData name="Sam Mesel" userId="1ee7badb-5d1f-4872-89ae-dcf7b71f276a" providerId="ADAL" clId="{F84B9C97-996A-46F9-8EAC-C75BBA266FB1}" dt="2020-03-20T20:03:52.601" v="4209" actId="20577"/>
          <ac:spMkLst>
            <pc:docMk/>
            <pc:sldMk cId="3563492871" sldId="575"/>
            <ac:spMk id="3" creationId="{4897B8F8-26DF-42FB-ACB0-59929F1C2344}"/>
          </ac:spMkLst>
        </pc:spChg>
      </pc:sldChg>
      <pc:sldChg chg="modSp modNotesTx">
        <pc:chgData name="Sam Mesel" userId="1ee7badb-5d1f-4872-89ae-dcf7b71f276a" providerId="ADAL" clId="{F84B9C97-996A-46F9-8EAC-C75BBA266FB1}" dt="2020-03-11T16:26:36.664" v="3830" actId="6549"/>
        <pc:sldMkLst>
          <pc:docMk/>
          <pc:sldMk cId="4206133277" sldId="577"/>
        </pc:sldMkLst>
        <pc:graphicFrameChg chg="mod">
          <ac:chgData name="Sam Mesel" userId="1ee7badb-5d1f-4872-89ae-dcf7b71f276a" providerId="ADAL" clId="{F84B9C97-996A-46F9-8EAC-C75BBA266FB1}" dt="2020-03-11T16:26:29.247" v="3829" actId="20577"/>
          <ac:graphicFrameMkLst>
            <pc:docMk/>
            <pc:sldMk cId="4206133277" sldId="577"/>
            <ac:graphicFrameMk id="3" creationId="{9484E1FE-7534-495E-863C-657A46F5E628}"/>
          </ac:graphicFrameMkLst>
        </pc:graphicFrameChg>
      </pc:sldChg>
      <pc:sldChg chg="delSp modSp mod">
        <pc:chgData name="Sam Mesel" userId="1ee7badb-5d1f-4872-89ae-dcf7b71f276a" providerId="ADAL" clId="{F84B9C97-996A-46F9-8EAC-C75BBA266FB1}" dt="2020-03-04T00:35:53.064" v="1161" actId="478"/>
        <pc:sldMkLst>
          <pc:docMk/>
          <pc:sldMk cId="2551646555" sldId="580"/>
        </pc:sldMkLst>
        <pc:spChg chg="mod">
          <ac:chgData name="Sam Mesel" userId="1ee7badb-5d1f-4872-89ae-dcf7b71f276a" providerId="ADAL" clId="{F84B9C97-996A-46F9-8EAC-C75BBA266FB1}" dt="2020-03-04T00:34:22.708" v="1160" actId="20577"/>
          <ac:spMkLst>
            <pc:docMk/>
            <pc:sldMk cId="2551646555" sldId="580"/>
            <ac:spMk id="4" creationId="{F3616A99-090F-45E1-9334-58D58B148205}"/>
          </ac:spMkLst>
        </pc:spChg>
        <pc:graphicFrameChg chg="del">
          <ac:chgData name="Sam Mesel" userId="1ee7badb-5d1f-4872-89ae-dcf7b71f276a" providerId="ADAL" clId="{F84B9C97-996A-46F9-8EAC-C75BBA266FB1}" dt="2020-03-04T00:35:53.064" v="1161" actId="478"/>
          <ac:graphicFrameMkLst>
            <pc:docMk/>
            <pc:sldMk cId="2551646555" sldId="580"/>
            <ac:graphicFrameMk id="6" creationId="{CAFD2B46-67E6-4F2A-A5F8-EF0F2B9B7060}"/>
          </ac:graphicFrameMkLst>
        </pc:graphicFrameChg>
      </pc:sldChg>
      <pc:sldChg chg="modSp modNotesTx">
        <pc:chgData name="Sam Mesel" userId="1ee7badb-5d1f-4872-89ae-dcf7b71f276a" providerId="ADAL" clId="{F84B9C97-996A-46F9-8EAC-C75BBA266FB1}" dt="2020-03-11T16:31:14.447" v="3885" actId="20577"/>
        <pc:sldMkLst>
          <pc:docMk/>
          <pc:sldMk cId="2444463328" sldId="584"/>
        </pc:sldMkLst>
        <pc:graphicFrameChg chg="mod">
          <ac:chgData name="Sam Mesel" userId="1ee7badb-5d1f-4872-89ae-dcf7b71f276a" providerId="ADAL" clId="{F84B9C97-996A-46F9-8EAC-C75BBA266FB1}" dt="2020-03-11T16:30:16.803" v="3841" actId="20577"/>
          <ac:graphicFrameMkLst>
            <pc:docMk/>
            <pc:sldMk cId="2444463328" sldId="584"/>
            <ac:graphicFrameMk id="3" creationId="{9484E1FE-7534-495E-863C-657A46F5E628}"/>
          </ac:graphicFrameMkLst>
        </pc:graphicFrameChg>
      </pc:sldChg>
      <pc:sldChg chg="modSp mod">
        <pc:chgData name="Sam Mesel" userId="1ee7badb-5d1f-4872-89ae-dcf7b71f276a" providerId="ADAL" clId="{F84B9C97-996A-46F9-8EAC-C75BBA266FB1}" dt="2020-03-04T00:50:47.287" v="1195" actId="6549"/>
        <pc:sldMkLst>
          <pc:docMk/>
          <pc:sldMk cId="3258136525" sldId="586"/>
        </pc:sldMkLst>
        <pc:spChg chg="mod">
          <ac:chgData name="Sam Mesel" userId="1ee7badb-5d1f-4872-89ae-dcf7b71f276a" providerId="ADAL" clId="{F84B9C97-996A-46F9-8EAC-C75BBA266FB1}" dt="2020-03-04T00:50:47.287" v="1195" actId="6549"/>
          <ac:spMkLst>
            <pc:docMk/>
            <pc:sldMk cId="3258136525" sldId="586"/>
            <ac:spMk id="5" creationId="{55182462-DFDF-4D48-A92C-42FD52821C4E}"/>
          </ac:spMkLst>
        </pc:spChg>
      </pc:sldChg>
      <pc:sldChg chg="del">
        <pc:chgData name="Sam Mesel" userId="1ee7badb-5d1f-4872-89ae-dcf7b71f276a" providerId="ADAL" clId="{F84B9C97-996A-46F9-8EAC-C75BBA266FB1}" dt="2020-03-11T20:45:53.914" v="4074" actId="47"/>
        <pc:sldMkLst>
          <pc:docMk/>
          <pc:sldMk cId="1635185343" sldId="587"/>
        </pc:sldMkLst>
      </pc:sldChg>
      <pc:sldChg chg="modSp mod">
        <pc:chgData name="Sam Mesel" userId="1ee7badb-5d1f-4872-89ae-dcf7b71f276a" providerId="ADAL" clId="{F84B9C97-996A-46F9-8EAC-C75BBA266FB1}" dt="2020-03-20T20:07:31.027" v="4221" actId="20577"/>
        <pc:sldMkLst>
          <pc:docMk/>
          <pc:sldMk cId="1564438252" sldId="588"/>
        </pc:sldMkLst>
        <pc:spChg chg="mod">
          <ac:chgData name="Sam Mesel" userId="1ee7badb-5d1f-4872-89ae-dcf7b71f276a" providerId="ADAL" clId="{F84B9C97-996A-46F9-8EAC-C75BBA266FB1}" dt="2020-03-20T20:07:31.027" v="4221" actId="20577"/>
          <ac:spMkLst>
            <pc:docMk/>
            <pc:sldMk cId="1564438252" sldId="588"/>
            <ac:spMk id="6" creationId="{637E159C-9ACF-48AE-927A-D5FB13695C7F}"/>
          </ac:spMkLst>
        </pc:spChg>
      </pc:sldChg>
      <pc:sldChg chg="modSp modNotesTx">
        <pc:chgData name="Sam Mesel" userId="1ee7badb-5d1f-4872-89ae-dcf7b71f276a" providerId="ADAL" clId="{F84B9C97-996A-46F9-8EAC-C75BBA266FB1}" dt="2020-03-11T16:53:00.393" v="3929" actId="20577"/>
        <pc:sldMkLst>
          <pc:docMk/>
          <pc:sldMk cId="1737290916" sldId="591"/>
        </pc:sldMkLst>
        <pc:graphicFrameChg chg="mod">
          <ac:chgData name="Sam Mesel" userId="1ee7badb-5d1f-4872-89ae-dcf7b71f276a" providerId="ADAL" clId="{F84B9C97-996A-46F9-8EAC-C75BBA266FB1}" dt="2020-03-06T23:16:12.919" v="3612" actId="20577"/>
          <ac:graphicFrameMkLst>
            <pc:docMk/>
            <pc:sldMk cId="1737290916" sldId="591"/>
            <ac:graphicFrameMk id="3" creationId="{9484E1FE-7534-495E-863C-657A46F5E628}"/>
          </ac:graphicFrameMkLst>
        </pc:graphicFrameChg>
      </pc:sldChg>
      <pc:sldChg chg="modSp mod">
        <pc:chgData name="Sam Mesel" userId="1ee7badb-5d1f-4872-89ae-dcf7b71f276a" providerId="ADAL" clId="{F84B9C97-996A-46F9-8EAC-C75BBA266FB1}" dt="2020-03-04T02:39:02.675" v="1849" actId="20577"/>
        <pc:sldMkLst>
          <pc:docMk/>
          <pc:sldMk cId="1849063011" sldId="593"/>
        </pc:sldMkLst>
        <pc:spChg chg="mod">
          <ac:chgData name="Sam Mesel" userId="1ee7badb-5d1f-4872-89ae-dcf7b71f276a" providerId="ADAL" clId="{F84B9C97-996A-46F9-8EAC-C75BBA266FB1}" dt="2020-03-04T02:39:02.675" v="1849" actId="20577"/>
          <ac:spMkLst>
            <pc:docMk/>
            <pc:sldMk cId="1849063011" sldId="593"/>
            <ac:spMk id="5" creationId="{55182462-DFDF-4D48-A92C-42FD52821C4E}"/>
          </ac:spMkLst>
        </pc:spChg>
      </pc:sldChg>
      <pc:sldChg chg="modSp mod">
        <pc:chgData name="Sam Mesel" userId="1ee7badb-5d1f-4872-89ae-dcf7b71f276a" providerId="ADAL" clId="{F84B9C97-996A-46F9-8EAC-C75BBA266FB1}" dt="2020-03-20T20:08:22.226" v="4223" actId="20577"/>
        <pc:sldMkLst>
          <pc:docMk/>
          <pc:sldMk cId="1064848225" sldId="595"/>
        </pc:sldMkLst>
        <pc:spChg chg="mod">
          <ac:chgData name="Sam Mesel" userId="1ee7badb-5d1f-4872-89ae-dcf7b71f276a" providerId="ADAL" clId="{F84B9C97-996A-46F9-8EAC-C75BBA266FB1}" dt="2020-03-20T20:08:22.226" v="4223" actId="20577"/>
          <ac:spMkLst>
            <pc:docMk/>
            <pc:sldMk cId="1064848225" sldId="595"/>
            <ac:spMk id="6" creationId="{637E159C-9ACF-48AE-927A-D5FB13695C7F}"/>
          </ac:spMkLst>
        </pc:spChg>
      </pc:sldChg>
      <pc:sldChg chg="modSp modNotesTx">
        <pc:chgData name="Sam Mesel" userId="1ee7badb-5d1f-4872-89ae-dcf7b71f276a" providerId="ADAL" clId="{F84B9C97-996A-46F9-8EAC-C75BBA266FB1}" dt="2020-03-05T20:27:09.961" v="3410" actId="20577"/>
        <pc:sldMkLst>
          <pc:docMk/>
          <pc:sldMk cId="1731718220" sldId="598"/>
        </pc:sldMkLst>
        <pc:graphicFrameChg chg="mod">
          <ac:chgData name="Sam Mesel" userId="1ee7badb-5d1f-4872-89ae-dcf7b71f276a" providerId="ADAL" clId="{F84B9C97-996A-46F9-8EAC-C75BBA266FB1}" dt="2020-03-05T20:27:09.961" v="3410" actId="20577"/>
          <ac:graphicFrameMkLst>
            <pc:docMk/>
            <pc:sldMk cId="1731718220" sldId="598"/>
            <ac:graphicFrameMk id="3" creationId="{9484E1FE-7534-495E-863C-657A46F5E628}"/>
          </ac:graphicFrameMkLst>
        </pc:graphicFrameChg>
      </pc:sldChg>
      <pc:sldChg chg="modSp mod">
        <pc:chgData name="Sam Mesel" userId="1ee7badb-5d1f-4872-89ae-dcf7b71f276a" providerId="ADAL" clId="{F84B9C97-996A-46F9-8EAC-C75BBA266FB1}" dt="2020-03-04T04:00:07.046" v="2962" actId="6549"/>
        <pc:sldMkLst>
          <pc:docMk/>
          <pc:sldMk cId="247321886" sldId="600"/>
        </pc:sldMkLst>
        <pc:spChg chg="mod">
          <ac:chgData name="Sam Mesel" userId="1ee7badb-5d1f-4872-89ae-dcf7b71f276a" providerId="ADAL" clId="{F84B9C97-996A-46F9-8EAC-C75BBA266FB1}" dt="2020-03-04T04:00:07.046" v="2962" actId="6549"/>
          <ac:spMkLst>
            <pc:docMk/>
            <pc:sldMk cId="247321886" sldId="600"/>
            <ac:spMk id="5" creationId="{55182462-DFDF-4D48-A92C-42FD52821C4E}"/>
          </ac:spMkLst>
        </pc:spChg>
      </pc:sldChg>
      <pc:sldChg chg="modSp modNotesTx">
        <pc:chgData name="Sam Mesel" userId="1ee7badb-5d1f-4872-89ae-dcf7b71f276a" providerId="ADAL" clId="{F84B9C97-996A-46F9-8EAC-C75BBA266FB1}" dt="2020-03-11T17:04:23.240" v="4007" actId="20577"/>
        <pc:sldMkLst>
          <pc:docMk/>
          <pc:sldMk cId="2889285480" sldId="605"/>
        </pc:sldMkLst>
        <pc:graphicFrameChg chg="mod">
          <ac:chgData name="Sam Mesel" userId="1ee7badb-5d1f-4872-89ae-dcf7b71f276a" providerId="ADAL" clId="{F84B9C97-996A-46F9-8EAC-C75BBA266FB1}" dt="2020-03-04T04:10:48.259" v="2995" actId="20577"/>
          <ac:graphicFrameMkLst>
            <pc:docMk/>
            <pc:sldMk cId="2889285480" sldId="605"/>
            <ac:graphicFrameMk id="3" creationId="{9484E1FE-7534-495E-863C-657A46F5E628}"/>
          </ac:graphicFrameMkLst>
        </pc:graphicFrameChg>
      </pc:sldChg>
      <pc:sldChg chg="modSp mod">
        <pc:chgData name="Sam Mesel" userId="1ee7badb-5d1f-4872-89ae-dcf7b71f276a" providerId="ADAL" clId="{F84B9C97-996A-46F9-8EAC-C75BBA266FB1}" dt="2020-03-04T04:11:57.202" v="2996" actId="20577"/>
        <pc:sldMkLst>
          <pc:docMk/>
          <pc:sldMk cId="965929785" sldId="607"/>
        </pc:sldMkLst>
        <pc:spChg chg="mod">
          <ac:chgData name="Sam Mesel" userId="1ee7badb-5d1f-4872-89ae-dcf7b71f276a" providerId="ADAL" clId="{F84B9C97-996A-46F9-8EAC-C75BBA266FB1}" dt="2020-03-04T04:11:57.202" v="2996" actId="20577"/>
          <ac:spMkLst>
            <pc:docMk/>
            <pc:sldMk cId="965929785" sldId="607"/>
            <ac:spMk id="5" creationId="{55182462-DFDF-4D48-A92C-42FD52821C4E}"/>
          </ac:spMkLst>
        </pc:spChg>
      </pc:sldChg>
      <pc:sldChg chg="modSp mod">
        <pc:chgData name="Sam Mesel" userId="1ee7badb-5d1f-4872-89ae-dcf7b71f276a" providerId="ADAL" clId="{F84B9C97-996A-46F9-8EAC-C75BBA266FB1}" dt="2020-03-05T20:40:14.419" v="3470" actId="20577"/>
        <pc:sldMkLst>
          <pc:docMk/>
          <pc:sldMk cId="57508058" sldId="608"/>
        </pc:sldMkLst>
        <pc:spChg chg="mod">
          <ac:chgData name="Sam Mesel" userId="1ee7badb-5d1f-4872-89ae-dcf7b71f276a" providerId="ADAL" clId="{F84B9C97-996A-46F9-8EAC-C75BBA266FB1}" dt="2020-03-04T04:29:54.101" v="3196" actId="20577"/>
          <ac:spMkLst>
            <pc:docMk/>
            <pc:sldMk cId="57508058" sldId="608"/>
            <ac:spMk id="2" creationId="{EB67312A-9819-43C6-8D84-D9136E6CFFCC}"/>
          </ac:spMkLst>
        </pc:spChg>
        <pc:graphicFrameChg chg="mod">
          <ac:chgData name="Sam Mesel" userId="1ee7badb-5d1f-4872-89ae-dcf7b71f276a" providerId="ADAL" clId="{F84B9C97-996A-46F9-8EAC-C75BBA266FB1}" dt="2020-03-05T20:40:14.419" v="3470" actId="20577"/>
          <ac:graphicFrameMkLst>
            <pc:docMk/>
            <pc:sldMk cId="57508058" sldId="608"/>
            <ac:graphicFrameMk id="10" creationId="{392FE5B8-B893-4B1E-9B29-2151F1892047}"/>
          </ac:graphicFrameMkLst>
        </pc:graphicFrameChg>
      </pc:sldChg>
      <pc:sldChg chg="modSp mod">
        <pc:chgData name="Sam Mesel" userId="1ee7badb-5d1f-4872-89ae-dcf7b71f276a" providerId="ADAL" clId="{F84B9C97-996A-46F9-8EAC-C75BBA266FB1}" dt="2020-03-20T20:09:11.675" v="4238" actId="20577"/>
        <pc:sldMkLst>
          <pc:docMk/>
          <pc:sldMk cId="747863857" sldId="610"/>
        </pc:sldMkLst>
        <pc:spChg chg="mod">
          <ac:chgData name="Sam Mesel" userId="1ee7badb-5d1f-4872-89ae-dcf7b71f276a" providerId="ADAL" clId="{F84B9C97-996A-46F9-8EAC-C75BBA266FB1}" dt="2020-03-20T20:08:59.558" v="4224" actId="21"/>
          <ac:spMkLst>
            <pc:docMk/>
            <pc:sldMk cId="747863857" sldId="610"/>
            <ac:spMk id="2" creationId="{BC57B38C-8413-4861-A4F5-7DF656AEAD0D}"/>
          </ac:spMkLst>
        </pc:spChg>
        <pc:spChg chg="mod">
          <ac:chgData name="Sam Mesel" userId="1ee7badb-5d1f-4872-89ae-dcf7b71f276a" providerId="ADAL" clId="{F84B9C97-996A-46F9-8EAC-C75BBA266FB1}" dt="2020-03-20T20:09:11.675" v="4238" actId="20577"/>
          <ac:spMkLst>
            <pc:docMk/>
            <pc:sldMk cId="747863857" sldId="610"/>
            <ac:spMk id="3" creationId="{4897B8F8-26DF-42FB-ACB0-59929F1C2344}"/>
          </ac:spMkLst>
        </pc:spChg>
      </pc:sldChg>
      <pc:sldChg chg="modSp modNotesTx">
        <pc:chgData name="Sam Mesel" userId="1ee7badb-5d1f-4872-89ae-dcf7b71f276a" providerId="ADAL" clId="{F84B9C97-996A-46F9-8EAC-C75BBA266FB1}" dt="2020-03-11T17:13:40.384" v="4066" actId="20577"/>
        <pc:sldMkLst>
          <pc:docMk/>
          <pc:sldMk cId="3073578741" sldId="612"/>
        </pc:sldMkLst>
        <pc:graphicFrameChg chg="mod">
          <ac:chgData name="Sam Mesel" userId="1ee7badb-5d1f-4872-89ae-dcf7b71f276a" providerId="ADAL" clId="{F84B9C97-996A-46F9-8EAC-C75BBA266FB1}" dt="2020-03-11T17:13:32.668" v="4057" actId="20577"/>
          <ac:graphicFrameMkLst>
            <pc:docMk/>
            <pc:sldMk cId="3073578741" sldId="612"/>
            <ac:graphicFrameMk id="3" creationId="{9484E1FE-7534-495E-863C-657A46F5E628}"/>
          </ac:graphicFrameMkLst>
        </pc:graphicFrameChg>
      </pc:sldChg>
      <pc:sldChg chg="modSp mod">
        <pc:chgData name="Sam Mesel" userId="1ee7badb-5d1f-4872-89ae-dcf7b71f276a" providerId="ADAL" clId="{F84B9C97-996A-46F9-8EAC-C75BBA266FB1}" dt="2020-03-11T20:42:45.838" v="4073" actId="14100"/>
        <pc:sldMkLst>
          <pc:docMk/>
          <pc:sldMk cId="2513964796" sldId="620"/>
        </pc:sldMkLst>
        <pc:spChg chg="mod">
          <ac:chgData name="Sam Mesel" userId="1ee7badb-5d1f-4872-89ae-dcf7b71f276a" providerId="ADAL" clId="{F84B9C97-996A-46F9-8EAC-C75BBA266FB1}" dt="2020-03-04T04:33:45.905" v="3277" actId="20577"/>
          <ac:spMkLst>
            <pc:docMk/>
            <pc:sldMk cId="2513964796" sldId="620"/>
            <ac:spMk id="2" creationId="{EB67312A-9819-43C6-8D84-D9136E6CFFCC}"/>
          </ac:spMkLst>
        </pc:spChg>
        <pc:spChg chg="mod">
          <ac:chgData name="Sam Mesel" userId="1ee7badb-5d1f-4872-89ae-dcf7b71f276a" providerId="ADAL" clId="{F84B9C97-996A-46F9-8EAC-C75BBA266FB1}" dt="2020-03-11T20:42:45.838" v="4073" actId="14100"/>
          <ac:spMkLst>
            <pc:docMk/>
            <pc:sldMk cId="2513964796" sldId="620"/>
            <ac:spMk id="72" creationId="{57272D30-25AB-41F0-83C5-1D0A04BC1947}"/>
          </ac:spMkLst>
        </pc:spChg>
        <pc:graphicFrameChg chg="mod">
          <ac:chgData name="Sam Mesel" userId="1ee7badb-5d1f-4872-89ae-dcf7b71f276a" providerId="ADAL" clId="{F84B9C97-996A-46F9-8EAC-C75BBA266FB1}" dt="2020-03-04T04:33:24.077" v="3272" actId="207"/>
          <ac:graphicFrameMkLst>
            <pc:docMk/>
            <pc:sldMk cId="2513964796" sldId="620"/>
            <ac:graphicFrameMk id="5" creationId="{BD018D18-20A4-46F5-8375-41009407A835}"/>
          </ac:graphicFrameMkLst>
        </pc:graphicFrameChg>
      </pc:sldChg>
      <pc:sldChg chg="modSp">
        <pc:chgData name="Sam Mesel" userId="1ee7badb-5d1f-4872-89ae-dcf7b71f276a" providerId="ADAL" clId="{F84B9C97-996A-46F9-8EAC-C75BBA266FB1}" dt="2020-03-11T16:05:54.479" v="3762" actId="20577"/>
        <pc:sldMkLst>
          <pc:docMk/>
          <pc:sldMk cId="3140255800" sldId="622"/>
        </pc:sldMkLst>
        <pc:graphicFrameChg chg="mod">
          <ac:chgData name="Sam Mesel" userId="1ee7badb-5d1f-4872-89ae-dcf7b71f276a" providerId="ADAL" clId="{F84B9C97-996A-46F9-8EAC-C75BBA266FB1}" dt="2020-03-11T16:05:54.479" v="3762" actId="20577"/>
          <ac:graphicFrameMkLst>
            <pc:docMk/>
            <pc:sldMk cId="3140255800" sldId="622"/>
            <ac:graphicFrameMk id="5" creationId="{9A8B2A87-34DE-408D-9B8B-3D9749FD7615}"/>
          </ac:graphicFrameMkLst>
        </pc:graphicFrameChg>
      </pc:sldChg>
      <pc:sldChg chg="modSp">
        <pc:chgData name="Sam Mesel" userId="1ee7badb-5d1f-4872-89ae-dcf7b71f276a" providerId="ADAL" clId="{F84B9C97-996A-46F9-8EAC-C75BBA266FB1}" dt="2020-03-11T16:03:20.967" v="3752" actId="20577"/>
        <pc:sldMkLst>
          <pc:docMk/>
          <pc:sldMk cId="1796066029" sldId="623"/>
        </pc:sldMkLst>
        <pc:graphicFrameChg chg="mod">
          <ac:chgData name="Sam Mesel" userId="1ee7badb-5d1f-4872-89ae-dcf7b71f276a" providerId="ADAL" clId="{F84B9C97-996A-46F9-8EAC-C75BBA266FB1}" dt="2020-03-11T16:03:20.967" v="3752" actId="20577"/>
          <ac:graphicFrameMkLst>
            <pc:docMk/>
            <pc:sldMk cId="1796066029" sldId="623"/>
            <ac:graphicFrameMk id="6" creationId="{87064D57-BB3B-4462-95AE-07724B78563C}"/>
          </ac:graphicFrameMkLst>
        </pc:graphicFrameChg>
      </pc:sldChg>
      <pc:sldChg chg="modSp">
        <pc:chgData name="Sam Mesel" userId="1ee7badb-5d1f-4872-89ae-dcf7b71f276a" providerId="ADAL" clId="{F84B9C97-996A-46F9-8EAC-C75BBA266FB1}" dt="2020-03-04T00:16:43.963" v="910" actId="20577"/>
        <pc:sldMkLst>
          <pc:docMk/>
          <pc:sldMk cId="738690530" sldId="626"/>
        </pc:sldMkLst>
        <pc:graphicFrameChg chg="mod">
          <ac:chgData name="Sam Mesel" userId="1ee7badb-5d1f-4872-89ae-dcf7b71f276a" providerId="ADAL" clId="{F84B9C97-996A-46F9-8EAC-C75BBA266FB1}" dt="2020-03-04T00:16:43.963" v="910" actId="20577"/>
          <ac:graphicFrameMkLst>
            <pc:docMk/>
            <pc:sldMk cId="738690530" sldId="626"/>
            <ac:graphicFrameMk id="5" creationId="{D48D6338-D593-460A-874C-4611E69E7AF0}"/>
          </ac:graphicFrameMkLst>
        </pc:graphicFrameChg>
      </pc:sldChg>
      <pc:sldChg chg="modSp">
        <pc:chgData name="Sam Mesel" userId="1ee7badb-5d1f-4872-89ae-dcf7b71f276a" providerId="ADAL" clId="{F84B9C97-996A-46F9-8EAC-C75BBA266FB1}" dt="2020-03-11T16:22:09.751" v="3771" actId="207"/>
        <pc:sldMkLst>
          <pc:docMk/>
          <pc:sldMk cId="3814048964" sldId="628"/>
        </pc:sldMkLst>
        <pc:spChg chg="mod">
          <ac:chgData name="Sam Mesel" userId="1ee7badb-5d1f-4872-89ae-dcf7b71f276a" providerId="ADAL" clId="{F84B9C97-996A-46F9-8EAC-C75BBA266FB1}" dt="2020-03-11T16:22:09.751" v="3771" actId="207"/>
          <ac:spMkLst>
            <pc:docMk/>
            <pc:sldMk cId="3814048964" sldId="628"/>
            <ac:spMk id="4" creationId="{AF51FDA4-9A2E-493D-B1DF-C70A4B33E99A}"/>
          </ac:spMkLst>
        </pc:spChg>
      </pc:sldChg>
      <pc:sldChg chg="modSp mod">
        <pc:chgData name="Sam Mesel" userId="1ee7badb-5d1f-4872-89ae-dcf7b71f276a" providerId="ADAL" clId="{F84B9C97-996A-46F9-8EAC-C75BBA266FB1}" dt="2020-03-04T01:13:41.492" v="1561" actId="1076"/>
        <pc:sldMkLst>
          <pc:docMk/>
          <pc:sldMk cId="477690210" sldId="629"/>
        </pc:sldMkLst>
        <pc:spChg chg="mod">
          <ac:chgData name="Sam Mesel" userId="1ee7badb-5d1f-4872-89ae-dcf7b71f276a" providerId="ADAL" clId="{F84B9C97-996A-46F9-8EAC-C75BBA266FB1}" dt="2020-03-04T01:13:24.877" v="1558" actId="6549"/>
          <ac:spMkLst>
            <pc:docMk/>
            <pc:sldMk cId="477690210" sldId="629"/>
            <ac:spMk id="4" creationId="{DEE7FFCE-48C3-4FF3-AEAD-B2A2EDD4C621}"/>
          </ac:spMkLst>
        </pc:spChg>
        <pc:picChg chg="mod">
          <ac:chgData name="Sam Mesel" userId="1ee7badb-5d1f-4872-89ae-dcf7b71f276a" providerId="ADAL" clId="{F84B9C97-996A-46F9-8EAC-C75BBA266FB1}" dt="2020-03-04T01:13:41.492" v="1561" actId="1076"/>
          <ac:picMkLst>
            <pc:docMk/>
            <pc:sldMk cId="477690210" sldId="629"/>
            <ac:picMk id="8" creationId="{A7497460-4DFF-4C93-87ED-6C8C66FAB061}"/>
          </ac:picMkLst>
        </pc:picChg>
        <pc:picChg chg="mod">
          <ac:chgData name="Sam Mesel" userId="1ee7badb-5d1f-4872-89ae-dcf7b71f276a" providerId="ADAL" clId="{F84B9C97-996A-46F9-8EAC-C75BBA266FB1}" dt="2020-03-04T01:13:39.029" v="1560" actId="1076"/>
          <ac:picMkLst>
            <pc:docMk/>
            <pc:sldMk cId="477690210" sldId="629"/>
            <ac:picMk id="11" creationId="{51ADF6DC-D03B-4CE8-921F-59147DE93FA8}"/>
          </ac:picMkLst>
        </pc:picChg>
      </pc:sldChg>
      <pc:sldChg chg="modSp mod modNotesTx">
        <pc:chgData name="Sam Mesel" userId="1ee7badb-5d1f-4872-89ae-dcf7b71f276a" providerId="ADAL" clId="{F84B9C97-996A-46F9-8EAC-C75BBA266FB1}" dt="2020-03-06T23:06:39.134" v="3582" actId="108"/>
        <pc:sldMkLst>
          <pc:docMk/>
          <pc:sldMk cId="2579723068" sldId="630"/>
        </pc:sldMkLst>
        <pc:spChg chg="mod">
          <ac:chgData name="Sam Mesel" userId="1ee7badb-5d1f-4872-89ae-dcf7b71f276a" providerId="ADAL" clId="{F84B9C97-996A-46F9-8EAC-C75BBA266FB1}" dt="2020-03-04T01:15:27.748" v="1574" actId="6549"/>
          <ac:spMkLst>
            <pc:docMk/>
            <pc:sldMk cId="2579723068" sldId="630"/>
            <ac:spMk id="4" creationId="{1606624F-1D9A-4EDF-8D58-FA0FB45D4E9C}"/>
          </ac:spMkLst>
        </pc:spChg>
        <pc:graphicFrameChg chg="mod">
          <ac:chgData name="Sam Mesel" userId="1ee7badb-5d1f-4872-89ae-dcf7b71f276a" providerId="ADAL" clId="{F84B9C97-996A-46F9-8EAC-C75BBA266FB1}" dt="2020-03-06T23:06:39.134" v="3582" actId="108"/>
          <ac:graphicFrameMkLst>
            <pc:docMk/>
            <pc:sldMk cId="2579723068" sldId="630"/>
            <ac:graphicFrameMk id="5" creationId="{DBC46F64-1AA7-4968-9494-241F95F9231B}"/>
          </ac:graphicFrameMkLst>
        </pc:graphicFrameChg>
      </pc:sldChg>
      <pc:sldChg chg="modSp mod ord">
        <pc:chgData name="Sam Mesel" userId="1ee7badb-5d1f-4872-89ae-dcf7b71f276a" providerId="ADAL" clId="{F84B9C97-996A-46F9-8EAC-C75BBA266FB1}" dt="2020-03-06T23:10:52.976" v="3586"/>
        <pc:sldMkLst>
          <pc:docMk/>
          <pc:sldMk cId="4019356817" sldId="631"/>
        </pc:sldMkLst>
        <pc:graphicFrameChg chg="mod">
          <ac:chgData name="Sam Mesel" userId="1ee7badb-5d1f-4872-89ae-dcf7b71f276a" providerId="ADAL" clId="{F84B9C97-996A-46F9-8EAC-C75BBA266FB1}" dt="2020-03-04T01:49:57.929" v="1734" actId="20577"/>
          <ac:graphicFrameMkLst>
            <pc:docMk/>
            <pc:sldMk cId="4019356817" sldId="631"/>
            <ac:graphicFrameMk id="5" creationId="{FD07C3D9-32E8-4A8D-BBB5-CAF64E36BFD8}"/>
          </ac:graphicFrameMkLst>
        </pc:graphicFrameChg>
        <pc:picChg chg="mod">
          <ac:chgData name="Sam Mesel" userId="1ee7badb-5d1f-4872-89ae-dcf7b71f276a" providerId="ADAL" clId="{F84B9C97-996A-46F9-8EAC-C75BBA266FB1}" dt="2020-03-04T01:48:35.046" v="1679" actId="1076"/>
          <ac:picMkLst>
            <pc:docMk/>
            <pc:sldMk cId="4019356817" sldId="631"/>
            <ac:picMk id="7" creationId="{3A6EC5A1-B381-4FF3-BCAA-B792B3A2F437}"/>
          </ac:picMkLst>
        </pc:picChg>
      </pc:sldChg>
      <pc:sldChg chg="ord">
        <pc:chgData name="Sam Mesel" userId="1ee7badb-5d1f-4872-89ae-dcf7b71f276a" providerId="ADAL" clId="{F84B9C97-996A-46F9-8EAC-C75BBA266FB1}" dt="2020-03-06T23:09:23.748" v="3584"/>
        <pc:sldMkLst>
          <pc:docMk/>
          <pc:sldMk cId="1286955050" sldId="632"/>
        </pc:sldMkLst>
      </pc:sldChg>
      <pc:sldChg chg="ord">
        <pc:chgData name="Sam Mesel" userId="1ee7badb-5d1f-4872-89ae-dcf7b71f276a" providerId="ADAL" clId="{F84B9C97-996A-46F9-8EAC-C75BBA266FB1}" dt="2020-03-06T23:09:23.748" v="3584"/>
        <pc:sldMkLst>
          <pc:docMk/>
          <pc:sldMk cId="2367546701" sldId="633"/>
        </pc:sldMkLst>
      </pc:sldChg>
      <pc:sldChg chg="ord">
        <pc:chgData name="Sam Mesel" userId="1ee7badb-5d1f-4872-89ae-dcf7b71f276a" providerId="ADAL" clId="{F84B9C97-996A-46F9-8EAC-C75BBA266FB1}" dt="2020-03-06T23:09:23.748" v="3584"/>
        <pc:sldMkLst>
          <pc:docMk/>
          <pc:sldMk cId="481681720" sldId="634"/>
        </pc:sldMkLst>
      </pc:sldChg>
      <pc:sldChg chg="ord">
        <pc:chgData name="Sam Mesel" userId="1ee7badb-5d1f-4872-89ae-dcf7b71f276a" providerId="ADAL" clId="{F84B9C97-996A-46F9-8EAC-C75BBA266FB1}" dt="2020-03-06T23:09:23.748" v="3584"/>
        <pc:sldMkLst>
          <pc:docMk/>
          <pc:sldMk cId="3532870544" sldId="635"/>
        </pc:sldMkLst>
      </pc:sldChg>
      <pc:sldChg chg="ord">
        <pc:chgData name="Sam Mesel" userId="1ee7badb-5d1f-4872-89ae-dcf7b71f276a" providerId="ADAL" clId="{F84B9C97-996A-46F9-8EAC-C75BBA266FB1}" dt="2020-03-06T23:12:29.210" v="3588"/>
        <pc:sldMkLst>
          <pc:docMk/>
          <pc:sldMk cId="3709193865" sldId="636"/>
        </pc:sldMkLst>
      </pc:sldChg>
      <pc:sldChg chg="modSp">
        <pc:chgData name="Sam Mesel" userId="1ee7badb-5d1f-4872-89ae-dcf7b71f276a" providerId="ADAL" clId="{F84B9C97-996A-46F9-8EAC-C75BBA266FB1}" dt="2020-03-04T01:41:53.245" v="1627" actId="20577"/>
        <pc:sldMkLst>
          <pc:docMk/>
          <pc:sldMk cId="536156213" sldId="646"/>
        </pc:sldMkLst>
        <pc:graphicFrameChg chg="mod">
          <ac:chgData name="Sam Mesel" userId="1ee7badb-5d1f-4872-89ae-dcf7b71f276a" providerId="ADAL" clId="{F84B9C97-996A-46F9-8EAC-C75BBA266FB1}" dt="2020-03-04T01:41:53.245" v="1627" actId="20577"/>
          <ac:graphicFrameMkLst>
            <pc:docMk/>
            <pc:sldMk cId="536156213" sldId="646"/>
            <ac:graphicFrameMk id="5" creationId="{951F87FE-A7DB-4594-9534-11EE3F5DEE97}"/>
          </ac:graphicFrameMkLst>
        </pc:graphicFrameChg>
      </pc:sldChg>
      <pc:sldChg chg="addSp delSp modSp">
        <pc:chgData name="Sam Mesel" userId="1ee7badb-5d1f-4872-89ae-dcf7b71f276a" providerId="ADAL" clId="{F84B9C97-996A-46F9-8EAC-C75BBA266FB1}" dt="2020-03-03T20:56:20.700" v="260" actId="20577"/>
        <pc:sldMkLst>
          <pc:docMk/>
          <pc:sldMk cId="653830727" sldId="650"/>
        </pc:sldMkLst>
        <pc:spChg chg="del">
          <ac:chgData name="Sam Mesel" userId="1ee7badb-5d1f-4872-89ae-dcf7b71f276a" providerId="ADAL" clId="{F84B9C97-996A-46F9-8EAC-C75BBA266FB1}" dt="2020-03-03T20:42:27.033" v="239" actId="12084"/>
          <ac:spMkLst>
            <pc:docMk/>
            <pc:sldMk cId="653830727" sldId="650"/>
            <ac:spMk id="4" creationId="{F3616A99-090F-45E1-9334-58D58B148205}"/>
          </ac:spMkLst>
        </pc:spChg>
        <pc:graphicFrameChg chg="add mod">
          <ac:chgData name="Sam Mesel" userId="1ee7badb-5d1f-4872-89ae-dcf7b71f276a" providerId="ADAL" clId="{F84B9C97-996A-46F9-8EAC-C75BBA266FB1}" dt="2020-03-03T20:56:20.700" v="260" actId="20577"/>
          <ac:graphicFrameMkLst>
            <pc:docMk/>
            <pc:sldMk cId="653830727" sldId="650"/>
            <ac:graphicFrameMk id="5" creationId="{7BF6B113-9D4C-4D94-9A53-DD369DA9457A}"/>
          </ac:graphicFrameMkLst>
        </pc:graphicFrameChg>
      </pc:sldChg>
      <pc:sldChg chg="addSp delSp modSp">
        <pc:chgData name="Sam Mesel" userId="1ee7badb-5d1f-4872-89ae-dcf7b71f276a" providerId="ADAL" clId="{F84B9C97-996A-46F9-8EAC-C75BBA266FB1}" dt="2020-03-05T20:44:04.860" v="3562" actId="20577"/>
        <pc:sldMkLst>
          <pc:docMk/>
          <pc:sldMk cId="3461735569" sldId="651"/>
        </pc:sldMkLst>
        <pc:spChg chg="del">
          <ac:chgData name="Sam Mesel" userId="1ee7badb-5d1f-4872-89ae-dcf7b71f276a" providerId="ADAL" clId="{F84B9C97-996A-46F9-8EAC-C75BBA266FB1}" dt="2020-03-03T20:57:03.421" v="261" actId="12084"/>
          <ac:spMkLst>
            <pc:docMk/>
            <pc:sldMk cId="3461735569" sldId="651"/>
            <ac:spMk id="4" creationId="{926A4DC6-600A-438B-9F12-B6364B26E859}"/>
          </ac:spMkLst>
        </pc:spChg>
        <pc:graphicFrameChg chg="add mod">
          <ac:chgData name="Sam Mesel" userId="1ee7badb-5d1f-4872-89ae-dcf7b71f276a" providerId="ADAL" clId="{F84B9C97-996A-46F9-8EAC-C75BBA266FB1}" dt="2020-03-03T20:57:53.904" v="272" actId="14100"/>
          <ac:graphicFrameMkLst>
            <pc:docMk/>
            <pc:sldMk cId="3461735569" sldId="651"/>
            <ac:graphicFrameMk id="5" creationId="{869613B2-81D2-475A-BE71-A3D1DE973570}"/>
          </ac:graphicFrameMkLst>
        </pc:graphicFrameChg>
        <pc:graphicFrameChg chg="mod">
          <ac:chgData name="Sam Mesel" userId="1ee7badb-5d1f-4872-89ae-dcf7b71f276a" providerId="ADAL" clId="{F84B9C97-996A-46F9-8EAC-C75BBA266FB1}" dt="2020-03-05T20:44:04.860" v="3562" actId="20577"/>
          <ac:graphicFrameMkLst>
            <pc:docMk/>
            <pc:sldMk cId="3461735569" sldId="651"/>
            <ac:graphicFrameMk id="6" creationId="{FEF3C806-344F-4F8E-8683-15A730131214}"/>
          </ac:graphicFrameMkLst>
        </pc:graphicFrameChg>
      </pc:sldChg>
      <pc:sldChg chg="modSp">
        <pc:chgData name="Sam Mesel" userId="1ee7badb-5d1f-4872-89ae-dcf7b71f276a" providerId="ADAL" clId="{F84B9C97-996A-46F9-8EAC-C75BBA266FB1}" dt="2020-03-04T00:26:30.714" v="1093" actId="113"/>
        <pc:sldMkLst>
          <pc:docMk/>
          <pc:sldMk cId="939928185" sldId="652"/>
        </pc:sldMkLst>
        <pc:graphicFrameChg chg="mod">
          <ac:chgData name="Sam Mesel" userId="1ee7badb-5d1f-4872-89ae-dcf7b71f276a" providerId="ADAL" clId="{F84B9C97-996A-46F9-8EAC-C75BBA266FB1}" dt="2020-03-04T00:26:30.714" v="1093" actId="113"/>
          <ac:graphicFrameMkLst>
            <pc:docMk/>
            <pc:sldMk cId="939928185" sldId="652"/>
            <ac:graphicFrameMk id="5" creationId="{F06C3C49-98DB-4B1F-90FC-72E180BA3310}"/>
          </ac:graphicFrameMkLst>
        </pc:graphicFrameChg>
      </pc:sldChg>
      <pc:sldChg chg="modSp del">
        <pc:chgData name="Sam Mesel" userId="1ee7badb-5d1f-4872-89ae-dcf7b71f276a" providerId="ADAL" clId="{F84B9C97-996A-46F9-8EAC-C75BBA266FB1}" dt="2020-03-18T23:22:00.079" v="4076" actId="47"/>
        <pc:sldMkLst>
          <pc:docMk/>
          <pc:sldMk cId="2869262210" sldId="654"/>
        </pc:sldMkLst>
        <pc:spChg chg="mod">
          <ac:chgData name="Sam Mesel" userId="1ee7badb-5d1f-4872-89ae-dcf7b71f276a" providerId="ADAL" clId="{F84B9C97-996A-46F9-8EAC-C75BBA266FB1}" dt="2020-03-03T22:00:45.685" v="627"/>
          <ac:spMkLst>
            <pc:docMk/>
            <pc:sldMk cId="2869262210" sldId="654"/>
            <ac:spMk id="6" creationId="{637E159C-9ACF-48AE-927A-D5FB13695C7F}"/>
          </ac:spMkLst>
        </pc:spChg>
      </pc:sldChg>
      <pc:sldChg chg="addSp modSp mod modAnim">
        <pc:chgData name="Sam Mesel" userId="1ee7badb-5d1f-4872-89ae-dcf7b71f276a" providerId="ADAL" clId="{F84B9C97-996A-46F9-8EAC-C75BBA266FB1}" dt="2020-03-03T21:04:22.134" v="489" actId="20577"/>
        <pc:sldMkLst>
          <pc:docMk/>
          <pc:sldMk cId="424115361" sldId="660"/>
        </pc:sldMkLst>
        <pc:spChg chg="mod">
          <ac:chgData name="Sam Mesel" userId="1ee7badb-5d1f-4872-89ae-dcf7b71f276a" providerId="ADAL" clId="{F84B9C97-996A-46F9-8EAC-C75BBA266FB1}" dt="2020-03-03T21:01:09.001" v="323" actId="14100"/>
          <ac:spMkLst>
            <pc:docMk/>
            <pc:sldMk cId="424115361" sldId="660"/>
            <ac:spMk id="2" creationId="{E2F6B3C5-2D03-472F-ADDE-BB817AB401D7}"/>
          </ac:spMkLst>
        </pc:spChg>
        <pc:spChg chg="mod">
          <ac:chgData name="Sam Mesel" userId="1ee7badb-5d1f-4872-89ae-dcf7b71f276a" providerId="ADAL" clId="{F84B9C97-996A-46F9-8EAC-C75BBA266FB1}" dt="2020-03-03T21:01:06.073" v="322" actId="14100"/>
          <ac:spMkLst>
            <pc:docMk/>
            <pc:sldMk cId="424115361" sldId="660"/>
            <ac:spMk id="3" creationId="{C93C6BEB-3E06-43A1-A1D7-003E132D2905}"/>
          </ac:spMkLst>
        </pc:spChg>
        <pc:spChg chg="mod">
          <ac:chgData name="Sam Mesel" userId="1ee7badb-5d1f-4872-89ae-dcf7b71f276a" providerId="ADAL" clId="{F84B9C97-996A-46F9-8EAC-C75BBA266FB1}" dt="2020-03-03T21:03:39.708" v="485" actId="27636"/>
          <ac:spMkLst>
            <pc:docMk/>
            <pc:sldMk cId="424115361" sldId="660"/>
            <ac:spMk id="4" creationId="{D5861A11-DA26-4FEC-99B1-AA665EE14FF6}"/>
          </ac:spMkLst>
        </pc:spChg>
        <pc:spChg chg="add mod">
          <ac:chgData name="Sam Mesel" userId="1ee7badb-5d1f-4872-89ae-dcf7b71f276a" providerId="ADAL" clId="{F84B9C97-996A-46F9-8EAC-C75BBA266FB1}" dt="2020-03-03T21:04:22.134" v="489" actId="20577"/>
          <ac:spMkLst>
            <pc:docMk/>
            <pc:sldMk cId="424115361" sldId="660"/>
            <ac:spMk id="6" creationId="{DA58C8C6-5992-4877-9EFB-CB7658F7A9E3}"/>
          </ac:spMkLst>
        </pc:spChg>
        <pc:picChg chg="mod">
          <ac:chgData name="Sam Mesel" userId="1ee7badb-5d1f-4872-89ae-dcf7b71f276a" providerId="ADAL" clId="{F84B9C97-996A-46F9-8EAC-C75BBA266FB1}" dt="2020-03-03T20:58:28.921" v="277" actId="1076"/>
          <ac:picMkLst>
            <pc:docMk/>
            <pc:sldMk cId="424115361" sldId="660"/>
            <ac:picMk id="5" creationId="{497D7147-269D-4E94-A8DE-F66D2D686DCA}"/>
          </ac:picMkLst>
        </pc:picChg>
      </pc:sldChg>
      <pc:sldChg chg="modSp mod">
        <pc:chgData name="Sam Mesel" userId="1ee7badb-5d1f-4872-89ae-dcf7b71f276a" providerId="ADAL" clId="{F84B9C97-996A-46F9-8EAC-C75BBA266FB1}" dt="2020-03-04T00:36:58.237" v="1168" actId="6549"/>
        <pc:sldMkLst>
          <pc:docMk/>
          <pc:sldMk cId="2208586234" sldId="661"/>
        </pc:sldMkLst>
        <pc:spChg chg="mod">
          <ac:chgData name="Sam Mesel" userId="1ee7badb-5d1f-4872-89ae-dcf7b71f276a" providerId="ADAL" clId="{F84B9C97-996A-46F9-8EAC-C75BBA266FB1}" dt="2020-03-04T00:36:58.237" v="1168" actId="6549"/>
          <ac:spMkLst>
            <pc:docMk/>
            <pc:sldMk cId="2208586234" sldId="661"/>
            <ac:spMk id="2" creationId="{63FBAB2C-3532-4564-B259-B2AD57B05ED6}"/>
          </ac:spMkLst>
        </pc:spChg>
      </pc:sldChg>
      <pc:sldChg chg="modSp mod">
        <pc:chgData name="Sam Mesel" userId="1ee7badb-5d1f-4872-89ae-dcf7b71f276a" providerId="ADAL" clId="{F84B9C97-996A-46F9-8EAC-C75BBA266FB1}" dt="2020-03-04T00:45:39.862" v="1182" actId="207"/>
        <pc:sldMkLst>
          <pc:docMk/>
          <pc:sldMk cId="3646168096" sldId="665"/>
        </pc:sldMkLst>
        <pc:spChg chg="mod">
          <ac:chgData name="Sam Mesel" userId="1ee7badb-5d1f-4872-89ae-dcf7b71f276a" providerId="ADAL" clId="{F84B9C97-996A-46F9-8EAC-C75BBA266FB1}" dt="2020-03-04T00:45:39.862" v="1182" actId="207"/>
          <ac:spMkLst>
            <pc:docMk/>
            <pc:sldMk cId="3646168096" sldId="665"/>
            <ac:spMk id="15" creationId="{211413AE-8D61-469A-A381-96558B10C230}"/>
          </ac:spMkLst>
        </pc:spChg>
      </pc:sldChg>
      <pc:sldChg chg="modSp mod modNotesTx">
        <pc:chgData name="Sam Mesel" userId="1ee7badb-5d1f-4872-89ae-dcf7b71f276a" providerId="ADAL" clId="{F84B9C97-996A-46F9-8EAC-C75BBA266FB1}" dt="2020-03-04T00:42:09.389" v="1179" actId="20577"/>
        <pc:sldMkLst>
          <pc:docMk/>
          <pc:sldMk cId="3151014712" sldId="669"/>
        </pc:sldMkLst>
        <pc:spChg chg="mod">
          <ac:chgData name="Sam Mesel" userId="1ee7badb-5d1f-4872-89ae-dcf7b71f276a" providerId="ADAL" clId="{F84B9C97-996A-46F9-8EAC-C75BBA266FB1}" dt="2020-03-04T00:39:43.695" v="1173" actId="6549"/>
          <ac:spMkLst>
            <pc:docMk/>
            <pc:sldMk cId="3151014712" sldId="669"/>
            <ac:spMk id="2" creationId="{A38C0A7B-81E0-4AD6-8CB1-79618B186971}"/>
          </ac:spMkLst>
        </pc:spChg>
        <pc:spChg chg="mod">
          <ac:chgData name="Sam Mesel" userId="1ee7badb-5d1f-4872-89ae-dcf7b71f276a" providerId="ADAL" clId="{F84B9C97-996A-46F9-8EAC-C75BBA266FB1}" dt="2020-03-04T00:39:05.203" v="1169" actId="207"/>
          <ac:spMkLst>
            <pc:docMk/>
            <pc:sldMk cId="3151014712" sldId="669"/>
            <ac:spMk id="3" creationId="{80079579-A2FF-4181-B21D-2CF51E5D6122}"/>
          </ac:spMkLst>
        </pc:spChg>
      </pc:sldChg>
      <pc:sldChg chg="modSp mod ord modShow">
        <pc:chgData name="Sam Mesel" userId="1ee7badb-5d1f-4872-89ae-dcf7b71f276a" providerId="ADAL" clId="{F84B9C97-996A-46F9-8EAC-C75BBA266FB1}" dt="2020-03-03T21:21:06.430" v="538" actId="20577"/>
        <pc:sldMkLst>
          <pc:docMk/>
          <pc:sldMk cId="3777781783" sldId="670"/>
        </pc:sldMkLst>
        <pc:spChg chg="mod">
          <ac:chgData name="Sam Mesel" userId="1ee7badb-5d1f-4872-89ae-dcf7b71f276a" providerId="ADAL" clId="{F84B9C97-996A-46F9-8EAC-C75BBA266FB1}" dt="2020-03-03T21:21:06.430" v="538" actId="20577"/>
          <ac:spMkLst>
            <pc:docMk/>
            <pc:sldMk cId="3777781783" sldId="670"/>
            <ac:spMk id="2" creationId="{A8E6DCE9-9C89-4283-B0E0-34E0C1FB96DA}"/>
          </ac:spMkLst>
        </pc:spChg>
        <pc:spChg chg="mod">
          <ac:chgData name="Sam Mesel" userId="1ee7badb-5d1f-4872-89ae-dcf7b71f276a" providerId="ADAL" clId="{F84B9C97-996A-46F9-8EAC-C75BBA266FB1}" dt="2020-03-03T21:19:53.313" v="499" actId="20577"/>
          <ac:spMkLst>
            <pc:docMk/>
            <pc:sldMk cId="3777781783" sldId="670"/>
            <ac:spMk id="4" creationId="{EB8FEEE0-7D03-497F-99E3-2992983D127E}"/>
          </ac:spMkLst>
        </pc:spChg>
      </pc:sldChg>
      <pc:sldChg chg="addSp delSp modSp">
        <pc:chgData name="Sam Mesel" userId="1ee7badb-5d1f-4872-89ae-dcf7b71f276a" providerId="ADAL" clId="{F84B9C97-996A-46F9-8EAC-C75BBA266FB1}" dt="2020-03-04T02:53:51.446" v="1974"/>
        <pc:sldMkLst>
          <pc:docMk/>
          <pc:sldMk cId="2593387472" sldId="672"/>
        </pc:sldMkLst>
        <pc:spChg chg="add del">
          <ac:chgData name="Sam Mesel" userId="1ee7badb-5d1f-4872-89ae-dcf7b71f276a" providerId="ADAL" clId="{F84B9C97-996A-46F9-8EAC-C75BBA266FB1}" dt="2020-03-04T02:52:07.209" v="1965" actId="12084"/>
          <ac:spMkLst>
            <pc:docMk/>
            <pc:sldMk cId="2593387472" sldId="672"/>
            <ac:spMk id="4" creationId="{469B670E-C9AE-4C2D-8308-BCDBCD515AAC}"/>
          </ac:spMkLst>
        </pc:spChg>
        <pc:graphicFrameChg chg="add del mod">
          <ac:chgData name="Sam Mesel" userId="1ee7badb-5d1f-4872-89ae-dcf7b71f276a" providerId="ADAL" clId="{F84B9C97-996A-46F9-8EAC-C75BBA266FB1}" dt="2020-03-04T02:51:50.591" v="1964" actId="12084"/>
          <ac:graphicFrameMkLst>
            <pc:docMk/>
            <pc:sldMk cId="2593387472" sldId="672"/>
            <ac:graphicFrameMk id="5" creationId="{32F55A3E-DC29-4A29-8372-401CC80EA9D4}"/>
          </ac:graphicFrameMkLst>
        </pc:graphicFrameChg>
        <pc:graphicFrameChg chg="add mod">
          <ac:chgData name="Sam Mesel" userId="1ee7badb-5d1f-4872-89ae-dcf7b71f276a" providerId="ADAL" clId="{F84B9C97-996A-46F9-8EAC-C75BBA266FB1}" dt="2020-03-04T02:53:51.446" v="1974"/>
          <ac:graphicFrameMkLst>
            <pc:docMk/>
            <pc:sldMk cId="2593387472" sldId="672"/>
            <ac:graphicFrameMk id="6" creationId="{7F0E37CA-36B5-4A4B-9588-5AFF7E11045C}"/>
          </ac:graphicFrameMkLst>
        </pc:graphicFrameChg>
      </pc:sldChg>
      <pc:sldChg chg="modSp mod">
        <pc:chgData name="Sam Mesel" userId="1ee7badb-5d1f-4872-89ae-dcf7b71f276a" providerId="ADAL" clId="{F84B9C97-996A-46F9-8EAC-C75BBA266FB1}" dt="2020-03-04T03:01:26.064" v="1998" actId="5793"/>
        <pc:sldMkLst>
          <pc:docMk/>
          <pc:sldMk cId="3299027233" sldId="677"/>
        </pc:sldMkLst>
        <pc:spChg chg="mod">
          <ac:chgData name="Sam Mesel" userId="1ee7badb-5d1f-4872-89ae-dcf7b71f276a" providerId="ADAL" clId="{F84B9C97-996A-46F9-8EAC-C75BBA266FB1}" dt="2020-03-04T03:01:26.064" v="1998" actId="5793"/>
          <ac:spMkLst>
            <pc:docMk/>
            <pc:sldMk cId="3299027233" sldId="677"/>
            <ac:spMk id="4" creationId="{7EC35A15-26A4-4D84-8636-6034C78CF9DD}"/>
          </ac:spMkLst>
        </pc:spChg>
      </pc:sldChg>
      <pc:sldChg chg="addSp delSp modSp">
        <pc:chgData name="Sam Mesel" userId="1ee7badb-5d1f-4872-89ae-dcf7b71f276a" providerId="ADAL" clId="{F84B9C97-996A-46F9-8EAC-C75BBA266FB1}" dt="2020-03-05T20:24:17.673" v="3381" actId="207"/>
        <pc:sldMkLst>
          <pc:docMk/>
          <pc:sldMk cId="3596346425" sldId="678"/>
        </pc:sldMkLst>
        <pc:spChg chg="del">
          <ac:chgData name="Sam Mesel" userId="1ee7badb-5d1f-4872-89ae-dcf7b71f276a" providerId="ADAL" clId="{F84B9C97-996A-46F9-8EAC-C75BBA266FB1}" dt="2020-03-04T03:02:50.436" v="1999" actId="12084"/>
          <ac:spMkLst>
            <pc:docMk/>
            <pc:sldMk cId="3596346425" sldId="678"/>
            <ac:spMk id="4" creationId="{EFE77F73-4095-44F8-A550-60F7B23C8A52}"/>
          </ac:spMkLst>
        </pc:spChg>
        <pc:graphicFrameChg chg="add mod">
          <ac:chgData name="Sam Mesel" userId="1ee7badb-5d1f-4872-89ae-dcf7b71f276a" providerId="ADAL" clId="{F84B9C97-996A-46F9-8EAC-C75BBA266FB1}" dt="2020-03-05T20:24:17.673" v="3381" actId="207"/>
          <ac:graphicFrameMkLst>
            <pc:docMk/>
            <pc:sldMk cId="3596346425" sldId="678"/>
            <ac:graphicFrameMk id="5" creationId="{D2C649BE-99B2-4F64-9715-9F84DFE57F63}"/>
          </ac:graphicFrameMkLst>
        </pc:graphicFrameChg>
      </pc:sldChg>
      <pc:sldChg chg="modSp mod">
        <pc:chgData name="Sam Mesel" userId="1ee7badb-5d1f-4872-89ae-dcf7b71f276a" providerId="ADAL" clId="{F84B9C97-996A-46F9-8EAC-C75BBA266FB1}" dt="2020-03-04T03:22:05.762" v="2646" actId="20577"/>
        <pc:sldMkLst>
          <pc:docMk/>
          <pc:sldMk cId="884684850" sldId="680"/>
        </pc:sldMkLst>
        <pc:spChg chg="mod">
          <ac:chgData name="Sam Mesel" userId="1ee7badb-5d1f-4872-89ae-dcf7b71f276a" providerId="ADAL" clId="{F84B9C97-996A-46F9-8EAC-C75BBA266FB1}" dt="2020-03-04T03:19:36.351" v="2557" actId="5793"/>
          <ac:spMkLst>
            <pc:docMk/>
            <pc:sldMk cId="884684850" sldId="680"/>
            <ac:spMk id="4" creationId="{CC841386-82FA-420D-8403-6C2CD800EB0A}"/>
          </ac:spMkLst>
        </pc:spChg>
        <pc:spChg chg="mod">
          <ac:chgData name="Sam Mesel" userId="1ee7badb-5d1f-4872-89ae-dcf7b71f276a" providerId="ADAL" clId="{F84B9C97-996A-46F9-8EAC-C75BBA266FB1}" dt="2020-03-04T03:18:01.919" v="2548" actId="1076"/>
          <ac:spMkLst>
            <pc:docMk/>
            <pc:sldMk cId="884684850" sldId="680"/>
            <ac:spMk id="6" creationId="{B5B47066-5E4A-4C0A-A6AB-56A1C28C0252}"/>
          </ac:spMkLst>
        </pc:spChg>
        <pc:graphicFrameChg chg="mod">
          <ac:chgData name="Sam Mesel" userId="1ee7badb-5d1f-4872-89ae-dcf7b71f276a" providerId="ADAL" clId="{F84B9C97-996A-46F9-8EAC-C75BBA266FB1}" dt="2020-03-04T03:22:05.762" v="2646" actId="20577"/>
          <ac:graphicFrameMkLst>
            <pc:docMk/>
            <pc:sldMk cId="884684850" sldId="680"/>
            <ac:graphicFrameMk id="8" creationId="{2B644F61-6104-4899-89A9-C7E06B79D2AF}"/>
          </ac:graphicFrameMkLst>
        </pc:graphicFrameChg>
      </pc:sldChg>
      <pc:sldChg chg="modSp mod modNotesTx">
        <pc:chgData name="Sam Mesel" userId="1ee7badb-5d1f-4872-89ae-dcf7b71f276a" providerId="ADAL" clId="{F84B9C97-996A-46F9-8EAC-C75BBA266FB1}" dt="2020-03-06T23:19:04.013" v="3687" actId="20577"/>
        <pc:sldMkLst>
          <pc:docMk/>
          <pc:sldMk cId="2155388841" sldId="681"/>
        </pc:sldMkLst>
        <pc:spChg chg="mod">
          <ac:chgData name="Sam Mesel" userId="1ee7badb-5d1f-4872-89ae-dcf7b71f276a" providerId="ADAL" clId="{F84B9C97-996A-46F9-8EAC-C75BBA266FB1}" dt="2020-03-06T23:18:01.063" v="3613" actId="6549"/>
          <ac:spMkLst>
            <pc:docMk/>
            <pc:sldMk cId="2155388841" sldId="681"/>
            <ac:spMk id="2" creationId="{099D1E49-FC67-49B6-A251-E78DAFC1EEDB}"/>
          </ac:spMkLst>
        </pc:spChg>
        <pc:spChg chg="mod">
          <ac:chgData name="Sam Mesel" userId="1ee7badb-5d1f-4872-89ae-dcf7b71f276a" providerId="ADAL" clId="{F84B9C97-996A-46F9-8EAC-C75BBA266FB1}" dt="2020-03-04T03:26:31.330" v="2805" actId="20577"/>
          <ac:spMkLst>
            <pc:docMk/>
            <pc:sldMk cId="2155388841" sldId="681"/>
            <ac:spMk id="4" creationId="{14ADA88D-5C95-40FD-A465-AB1818DE47FB}"/>
          </ac:spMkLst>
        </pc:spChg>
      </pc:sldChg>
      <pc:sldChg chg="modSp mod">
        <pc:chgData name="Sam Mesel" userId="1ee7badb-5d1f-4872-89ae-dcf7b71f276a" providerId="ADAL" clId="{F84B9C97-996A-46F9-8EAC-C75BBA266FB1}" dt="2020-03-06T23:20:05.750" v="3711" actId="20577"/>
        <pc:sldMkLst>
          <pc:docMk/>
          <pc:sldMk cId="1699401867" sldId="682"/>
        </pc:sldMkLst>
        <pc:spChg chg="mod">
          <ac:chgData name="Sam Mesel" userId="1ee7badb-5d1f-4872-89ae-dcf7b71f276a" providerId="ADAL" clId="{F84B9C97-996A-46F9-8EAC-C75BBA266FB1}" dt="2020-03-06T23:19:56.150" v="3709" actId="6549"/>
          <ac:spMkLst>
            <pc:docMk/>
            <pc:sldMk cId="1699401867" sldId="682"/>
            <ac:spMk id="2" creationId="{20A7E63E-82B4-483C-839F-3904AAA83EED}"/>
          </ac:spMkLst>
        </pc:spChg>
        <pc:spChg chg="mod">
          <ac:chgData name="Sam Mesel" userId="1ee7badb-5d1f-4872-89ae-dcf7b71f276a" providerId="ADAL" clId="{F84B9C97-996A-46F9-8EAC-C75BBA266FB1}" dt="2020-03-06T23:20:05.750" v="3711" actId="20577"/>
          <ac:spMkLst>
            <pc:docMk/>
            <pc:sldMk cId="1699401867" sldId="682"/>
            <ac:spMk id="6" creationId="{C2C50F82-971B-4BC4-A0FD-E1E5E2F2931F}"/>
          </ac:spMkLst>
        </pc:spChg>
      </pc:sldChg>
      <pc:sldChg chg="modSp mod">
        <pc:chgData name="Sam Mesel" userId="1ee7badb-5d1f-4872-89ae-dcf7b71f276a" providerId="ADAL" clId="{F84B9C97-996A-46F9-8EAC-C75BBA266FB1}" dt="2020-03-04T03:32:27.166" v="2865"/>
        <pc:sldMkLst>
          <pc:docMk/>
          <pc:sldMk cId="1755439722" sldId="688"/>
        </pc:sldMkLst>
        <pc:spChg chg="mod">
          <ac:chgData name="Sam Mesel" userId="1ee7badb-5d1f-4872-89ae-dcf7b71f276a" providerId="ADAL" clId="{F84B9C97-996A-46F9-8EAC-C75BBA266FB1}" dt="2020-03-04T03:31:40.774" v="2864" actId="20577"/>
          <ac:spMkLst>
            <pc:docMk/>
            <pc:sldMk cId="1755439722" sldId="688"/>
            <ac:spMk id="4" creationId="{98B9BDCF-4EA8-43B4-83C6-79FFD7EB6433}"/>
          </ac:spMkLst>
        </pc:spChg>
        <pc:spChg chg="mod">
          <ac:chgData name="Sam Mesel" userId="1ee7badb-5d1f-4872-89ae-dcf7b71f276a" providerId="ADAL" clId="{F84B9C97-996A-46F9-8EAC-C75BBA266FB1}" dt="2020-03-04T03:30:15.583" v="2839" actId="404"/>
          <ac:spMkLst>
            <pc:docMk/>
            <pc:sldMk cId="1755439722" sldId="688"/>
            <ac:spMk id="6" creationId="{86C6B81C-8A57-43AE-8FBD-96E1ADA571B3}"/>
          </ac:spMkLst>
        </pc:spChg>
        <pc:spChg chg="mod">
          <ac:chgData name="Sam Mesel" userId="1ee7badb-5d1f-4872-89ae-dcf7b71f276a" providerId="ADAL" clId="{F84B9C97-996A-46F9-8EAC-C75BBA266FB1}" dt="2020-03-04T03:30:20.365" v="2840" actId="404"/>
          <ac:spMkLst>
            <pc:docMk/>
            <pc:sldMk cId="1755439722" sldId="688"/>
            <ac:spMk id="8" creationId="{E28BC56E-A5B0-4E95-84BE-4B2724ED3F7A}"/>
          </ac:spMkLst>
        </pc:spChg>
        <pc:graphicFrameChg chg="mod">
          <ac:chgData name="Sam Mesel" userId="1ee7badb-5d1f-4872-89ae-dcf7b71f276a" providerId="ADAL" clId="{F84B9C97-996A-46F9-8EAC-C75BBA266FB1}" dt="2020-03-04T03:32:27.166" v="2865"/>
          <ac:graphicFrameMkLst>
            <pc:docMk/>
            <pc:sldMk cId="1755439722" sldId="688"/>
            <ac:graphicFrameMk id="10" creationId="{70968EFE-D801-442A-BE10-826BCBFED0D9}"/>
          </ac:graphicFrameMkLst>
        </pc:graphicFrameChg>
      </pc:sldChg>
      <pc:sldChg chg="addSp delSp modSp mod">
        <pc:chgData name="Sam Mesel" userId="1ee7badb-5d1f-4872-89ae-dcf7b71f276a" providerId="ADAL" clId="{F84B9C97-996A-46F9-8EAC-C75BBA266FB1}" dt="2020-03-11T17:00:06.233" v="3964" actId="20577"/>
        <pc:sldMkLst>
          <pc:docMk/>
          <pc:sldMk cId="1044664172" sldId="690"/>
        </pc:sldMkLst>
        <pc:spChg chg="del mod">
          <ac:chgData name="Sam Mesel" userId="1ee7badb-5d1f-4872-89ae-dcf7b71f276a" providerId="ADAL" clId="{F84B9C97-996A-46F9-8EAC-C75BBA266FB1}" dt="2020-03-04T03:52:48.829" v="2937" actId="12084"/>
          <ac:spMkLst>
            <pc:docMk/>
            <pc:sldMk cId="1044664172" sldId="690"/>
            <ac:spMk id="4" creationId="{7C861349-E29F-4611-9D83-CB6216027F30}"/>
          </ac:spMkLst>
        </pc:spChg>
        <pc:graphicFrameChg chg="add mod">
          <ac:chgData name="Sam Mesel" userId="1ee7badb-5d1f-4872-89ae-dcf7b71f276a" providerId="ADAL" clId="{F84B9C97-996A-46F9-8EAC-C75BBA266FB1}" dt="2020-03-11T17:00:06.233" v="3964" actId="20577"/>
          <ac:graphicFrameMkLst>
            <pc:docMk/>
            <pc:sldMk cId="1044664172" sldId="690"/>
            <ac:graphicFrameMk id="5" creationId="{B3F00977-3ED8-4826-A0B4-9C1ACFF50218}"/>
          </ac:graphicFrameMkLst>
        </pc:graphicFrameChg>
        <pc:graphicFrameChg chg="mod">
          <ac:chgData name="Sam Mesel" userId="1ee7badb-5d1f-4872-89ae-dcf7b71f276a" providerId="ADAL" clId="{F84B9C97-996A-46F9-8EAC-C75BBA266FB1}" dt="2020-03-04T03:53:05.329" v="2940" actId="1076"/>
          <ac:graphicFrameMkLst>
            <pc:docMk/>
            <pc:sldMk cId="1044664172" sldId="690"/>
            <ac:graphicFrameMk id="6" creationId="{9E782462-F17D-4951-B6ED-A231ABE35517}"/>
          </ac:graphicFrameMkLst>
        </pc:graphicFrameChg>
      </pc:sldChg>
      <pc:sldChg chg="modSp">
        <pc:chgData name="Sam Mesel" userId="1ee7badb-5d1f-4872-89ae-dcf7b71f276a" providerId="ADAL" clId="{F84B9C97-996A-46F9-8EAC-C75BBA266FB1}" dt="2020-03-04T03:35:12.906" v="2916" actId="20577"/>
        <pc:sldMkLst>
          <pc:docMk/>
          <pc:sldMk cId="585167659" sldId="692"/>
        </pc:sldMkLst>
        <pc:graphicFrameChg chg="mod">
          <ac:chgData name="Sam Mesel" userId="1ee7badb-5d1f-4872-89ae-dcf7b71f276a" providerId="ADAL" clId="{F84B9C97-996A-46F9-8EAC-C75BBA266FB1}" dt="2020-03-04T03:35:12.906" v="2916" actId="20577"/>
          <ac:graphicFrameMkLst>
            <pc:docMk/>
            <pc:sldMk cId="585167659" sldId="692"/>
            <ac:graphicFrameMk id="5" creationId="{EE1313F9-7B12-4D52-B0D3-4624768F7EEF}"/>
          </ac:graphicFrameMkLst>
        </pc:graphicFrameChg>
      </pc:sldChg>
      <pc:sldChg chg="modSp mod">
        <pc:chgData name="Sam Mesel" userId="1ee7badb-5d1f-4872-89ae-dcf7b71f276a" providerId="ADAL" clId="{F84B9C97-996A-46F9-8EAC-C75BBA266FB1}" dt="2020-03-04T04:02:56.809" v="2978" actId="113"/>
        <pc:sldMkLst>
          <pc:docMk/>
          <pc:sldMk cId="3063153254" sldId="696"/>
        </pc:sldMkLst>
        <pc:graphicFrameChg chg="mod modGraphic">
          <ac:chgData name="Sam Mesel" userId="1ee7badb-5d1f-4872-89ae-dcf7b71f276a" providerId="ADAL" clId="{F84B9C97-996A-46F9-8EAC-C75BBA266FB1}" dt="2020-03-04T04:02:56.809" v="2978" actId="113"/>
          <ac:graphicFrameMkLst>
            <pc:docMk/>
            <pc:sldMk cId="3063153254" sldId="696"/>
            <ac:graphicFrameMk id="5" creationId="{EC86D27A-8B18-42B7-81D9-F0811600F100}"/>
          </ac:graphicFrameMkLst>
        </pc:graphicFrameChg>
      </pc:sldChg>
      <pc:sldChg chg="modSp mod">
        <pc:chgData name="Sam Mesel" userId="1ee7badb-5d1f-4872-89ae-dcf7b71f276a" providerId="ADAL" clId="{F84B9C97-996A-46F9-8EAC-C75BBA266FB1}" dt="2020-03-04T04:04:15.801" v="2979" actId="6549"/>
        <pc:sldMkLst>
          <pc:docMk/>
          <pc:sldMk cId="2947359390" sldId="697"/>
        </pc:sldMkLst>
        <pc:spChg chg="mod">
          <ac:chgData name="Sam Mesel" userId="1ee7badb-5d1f-4872-89ae-dcf7b71f276a" providerId="ADAL" clId="{F84B9C97-996A-46F9-8EAC-C75BBA266FB1}" dt="2020-03-04T04:04:15.801" v="2979" actId="6549"/>
          <ac:spMkLst>
            <pc:docMk/>
            <pc:sldMk cId="2947359390" sldId="697"/>
            <ac:spMk id="2" creationId="{A9F2BA8D-B686-4596-A141-0D96C54F1F26}"/>
          </ac:spMkLst>
        </pc:spChg>
      </pc:sldChg>
      <pc:sldChg chg="addSp delSp modSp mod">
        <pc:chgData name="Sam Mesel" userId="1ee7badb-5d1f-4872-89ae-dcf7b71f276a" providerId="ADAL" clId="{F84B9C97-996A-46F9-8EAC-C75BBA266FB1}" dt="2020-03-04T02:48:22.375" v="1962"/>
        <pc:sldMkLst>
          <pc:docMk/>
          <pc:sldMk cId="2794789996" sldId="699"/>
        </pc:sldMkLst>
        <pc:spChg chg="mod">
          <ac:chgData name="Sam Mesel" userId="1ee7badb-5d1f-4872-89ae-dcf7b71f276a" providerId="ADAL" clId="{F84B9C97-996A-46F9-8EAC-C75BBA266FB1}" dt="2020-03-04T02:39:17.713" v="1852" actId="20577"/>
          <ac:spMkLst>
            <pc:docMk/>
            <pc:sldMk cId="2794789996" sldId="699"/>
            <ac:spMk id="2" creationId="{478E84C9-8B30-41BB-A3D5-77E5D711D013}"/>
          </ac:spMkLst>
        </pc:spChg>
        <pc:spChg chg="del">
          <ac:chgData name="Sam Mesel" userId="1ee7badb-5d1f-4872-89ae-dcf7b71f276a" providerId="ADAL" clId="{F84B9C97-996A-46F9-8EAC-C75BBA266FB1}" dt="2020-03-04T02:46:17.870" v="1913" actId="12084"/>
          <ac:spMkLst>
            <pc:docMk/>
            <pc:sldMk cId="2794789996" sldId="699"/>
            <ac:spMk id="4" creationId="{926A4DC6-600A-438B-9F12-B6364B26E859}"/>
          </ac:spMkLst>
        </pc:spChg>
        <pc:graphicFrameChg chg="add mod">
          <ac:chgData name="Sam Mesel" userId="1ee7badb-5d1f-4872-89ae-dcf7b71f276a" providerId="ADAL" clId="{F84B9C97-996A-46F9-8EAC-C75BBA266FB1}" dt="2020-03-04T02:48:22.375" v="1962"/>
          <ac:graphicFrameMkLst>
            <pc:docMk/>
            <pc:sldMk cId="2794789996" sldId="699"/>
            <ac:graphicFrameMk id="5" creationId="{5AAC83BD-D6B3-48F4-83D8-9FA61C11E20E}"/>
          </ac:graphicFrameMkLst>
        </pc:graphicFrameChg>
        <pc:graphicFrameChg chg="mod">
          <ac:chgData name="Sam Mesel" userId="1ee7badb-5d1f-4872-89ae-dcf7b71f276a" providerId="ADAL" clId="{F84B9C97-996A-46F9-8EAC-C75BBA266FB1}" dt="2020-03-04T02:45:00.577" v="1912" actId="207"/>
          <ac:graphicFrameMkLst>
            <pc:docMk/>
            <pc:sldMk cId="2794789996" sldId="699"/>
            <ac:graphicFrameMk id="6" creationId="{FEF3C806-344F-4F8E-8683-15A730131214}"/>
          </ac:graphicFrameMkLst>
        </pc:graphicFrameChg>
      </pc:sldChg>
      <pc:sldChg chg="modSp mod">
        <pc:chgData name="Sam Mesel" userId="1ee7badb-5d1f-4872-89ae-dcf7b71f276a" providerId="ADAL" clId="{F84B9C97-996A-46F9-8EAC-C75BBA266FB1}" dt="2020-03-05T20:27:32.702" v="3411" actId="14100"/>
        <pc:sldMkLst>
          <pc:docMk/>
          <pc:sldMk cId="3967432046" sldId="701"/>
        </pc:sldMkLst>
        <pc:spChg chg="mod">
          <ac:chgData name="Sam Mesel" userId="1ee7badb-5d1f-4872-89ae-dcf7b71f276a" providerId="ADAL" clId="{F84B9C97-996A-46F9-8EAC-C75BBA266FB1}" dt="2020-03-05T20:27:32.702" v="3411" actId="14100"/>
          <ac:spMkLst>
            <pc:docMk/>
            <pc:sldMk cId="3967432046" sldId="701"/>
            <ac:spMk id="4" creationId="{04377342-784F-4985-84B3-67FB3795FB37}"/>
          </ac:spMkLst>
        </pc:spChg>
      </pc:sldChg>
      <pc:sldChg chg="addSp modSp mod modAnim modNotesTx">
        <pc:chgData name="Sam Mesel" userId="1ee7badb-5d1f-4872-89ae-dcf7b71f276a" providerId="ADAL" clId="{F84B9C97-996A-46F9-8EAC-C75BBA266FB1}" dt="2020-03-11T20:42:07.964" v="4072" actId="14100"/>
        <pc:sldMkLst>
          <pc:docMk/>
          <pc:sldMk cId="3460419959" sldId="709"/>
        </pc:sldMkLst>
        <pc:spChg chg="mod">
          <ac:chgData name="Sam Mesel" userId="1ee7badb-5d1f-4872-89ae-dcf7b71f276a" providerId="ADAL" clId="{F84B9C97-996A-46F9-8EAC-C75BBA266FB1}" dt="2020-03-05T20:39:10.585" v="3466" actId="113"/>
          <ac:spMkLst>
            <pc:docMk/>
            <pc:sldMk cId="3460419959" sldId="709"/>
            <ac:spMk id="4" creationId="{7799828A-259B-4897-B224-1AE166C0BAF0}"/>
          </ac:spMkLst>
        </pc:spChg>
        <pc:spChg chg="add mod">
          <ac:chgData name="Sam Mesel" userId="1ee7badb-5d1f-4872-89ae-dcf7b71f276a" providerId="ADAL" clId="{F84B9C97-996A-46F9-8EAC-C75BBA266FB1}" dt="2020-03-11T20:42:07.964" v="4072" actId="14100"/>
          <ac:spMkLst>
            <pc:docMk/>
            <pc:sldMk cId="3460419959" sldId="709"/>
            <ac:spMk id="5" creationId="{4EF3725F-D571-4B16-9137-4B0231EE06D1}"/>
          </ac:spMkLst>
        </pc:spChg>
        <pc:picChg chg="add mod">
          <ac:chgData name="Sam Mesel" userId="1ee7badb-5d1f-4872-89ae-dcf7b71f276a" providerId="ADAL" clId="{F84B9C97-996A-46F9-8EAC-C75BBA266FB1}" dt="2020-03-11T17:08:33.741" v="4017" actId="1076"/>
          <ac:picMkLst>
            <pc:docMk/>
            <pc:sldMk cId="3460419959" sldId="709"/>
            <ac:picMk id="7" creationId="{810BC8C4-357B-4F14-A4FF-673B61C48667}"/>
          </ac:picMkLst>
        </pc:picChg>
      </pc:sldChg>
      <pc:sldChg chg="addSp delSp modSp mod">
        <pc:chgData name="Sam Mesel" userId="1ee7badb-5d1f-4872-89ae-dcf7b71f276a" providerId="ADAL" clId="{F84B9C97-996A-46F9-8EAC-C75BBA266FB1}" dt="2020-03-11T17:06:45.089" v="4011" actId="20577"/>
        <pc:sldMkLst>
          <pc:docMk/>
          <pc:sldMk cId="4186570228" sldId="710"/>
        </pc:sldMkLst>
        <pc:spChg chg="mod">
          <ac:chgData name="Sam Mesel" userId="1ee7badb-5d1f-4872-89ae-dcf7b71f276a" providerId="ADAL" clId="{F84B9C97-996A-46F9-8EAC-C75BBA266FB1}" dt="2020-03-11T17:06:45.089" v="4011" actId="20577"/>
          <ac:spMkLst>
            <pc:docMk/>
            <pc:sldMk cId="4186570228" sldId="710"/>
            <ac:spMk id="3" creationId="{4C8A3CAF-5288-4B56-981E-EE38BEB2DF29}"/>
          </ac:spMkLst>
        </pc:spChg>
        <pc:spChg chg="del">
          <ac:chgData name="Sam Mesel" userId="1ee7badb-5d1f-4872-89ae-dcf7b71f276a" providerId="ADAL" clId="{F84B9C97-996A-46F9-8EAC-C75BBA266FB1}" dt="2020-03-04T04:19:29.022" v="3055" actId="12084"/>
          <ac:spMkLst>
            <pc:docMk/>
            <pc:sldMk cId="4186570228" sldId="710"/>
            <ac:spMk id="4" creationId="{8E1D3464-C351-4191-9114-E0C129CE4CA1}"/>
          </ac:spMkLst>
        </pc:spChg>
        <pc:graphicFrameChg chg="add mod">
          <ac:chgData name="Sam Mesel" userId="1ee7badb-5d1f-4872-89ae-dcf7b71f276a" providerId="ADAL" clId="{F84B9C97-996A-46F9-8EAC-C75BBA266FB1}" dt="2020-03-04T04:25:17.170" v="3151" actId="13782"/>
          <ac:graphicFrameMkLst>
            <pc:docMk/>
            <pc:sldMk cId="4186570228" sldId="710"/>
            <ac:graphicFrameMk id="5" creationId="{E1009878-258F-464B-863B-2498AFE10C4E}"/>
          </ac:graphicFrameMkLst>
        </pc:graphicFrameChg>
      </pc:sldChg>
      <pc:sldChg chg="modSp">
        <pc:chgData name="Sam Mesel" userId="1ee7badb-5d1f-4872-89ae-dcf7b71f276a" providerId="ADAL" clId="{F84B9C97-996A-46F9-8EAC-C75BBA266FB1}" dt="2020-03-04T04:12:05.370" v="2997" actId="20577"/>
        <pc:sldMkLst>
          <pc:docMk/>
          <pc:sldMk cId="1735595973" sldId="711"/>
        </pc:sldMkLst>
        <pc:graphicFrameChg chg="mod">
          <ac:chgData name="Sam Mesel" userId="1ee7badb-5d1f-4872-89ae-dcf7b71f276a" providerId="ADAL" clId="{F84B9C97-996A-46F9-8EAC-C75BBA266FB1}" dt="2020-03-04T04:12:05.370" v="2997" actId="20577"/>
          <ac:graphicFrameMkLst>
            <pc:docMk/>
            <pc:sldMk cId="1735595973" sldId="711"/>
            <ac:graphicFrameMk id="6" creationId="{E6CFACA9-C357-4871-9875-85364DAD9FC1}"/>
          </ac:graphicFrameMkLst>
        </pc:graphicFrameChg>
      </pc:sldChg>
      <pc:sldChg chg="modSp mod">
        <pc:chgData name="Sam Mesel" userId="1ee7badb-5d1f-4872-89ae-dcf7b71f276a" providerId="ADAL" clId="{F84B9C97-996A-46F9-8EAC-C75BBA266FB1}" dt="2020-03-04T04:35:59.257" v="3294" actId="20577"/>
        <pc:sldMkLst>
          <pc:docMk/>
          <pc:sldMk cId="2581647386" sldId="713"/>
        </pc:sldMkLst>
        <pc:spChg chg="mod">
          <ac:chgData name="Sam Mesel" userId="1ee7badb-5d1f-4872-89ae-dcf7b71f276a" providerId="ADAL" clId="{F84B9C97-996A-46F9-8EAC-C75BBA266FB1}" dt="2020-03-04T04:34:37.759" v="3280"/>
          <ac:spMkLst>
            <pc:docMk/>
            <pc:sldMk cId="2581647386" sldId="713"/>
            <ac:spMk id="2" creationId="{3974CB06-DDD8-4C3F-B072-B3B39C56D6AB}"/>
          </ac:spMkLst>
        </pc:spChg>
        <pc:graphicFrameChg chg="mod">
          <ac:chgData name="Sam Mesel" userId="1ee7badb-5d1f-4872-89ae-dcf7b71f276a" providerId="ADAL" clId="{F84B9C97-996A-46F9-8EAC-C75BBA266FB1}" dt="2020-03-04T04:35:59.257" v="3294" actId="20577"/>
          <ac:graphicFrameMkLst>
            <pc:docMk/>
            <pc:sldMk cId="2581647386" sldId="713"/>
            <ac:graphicFrameMk id="5" creationId="{F509B256-D149-4EDB-9E8C-FA0A3C489D2E}"/>
          </ac:graphicFrameMkLst>
        </pc:graphicFrameChg>
      </pc:sldChg>
      <pc:sldChg chg="modSp mod">
        <pc:chgData name="Sam Mesel" userId="1ee7badb-5d1f-4872-89ae-dcf7b71f276a" providerId="ADAL" clId="{F84B9C97-996A-46F9-8EAC-C75BBA266FB1}" dt="2020-03-04T04:13:08.707" v="3011" actId="20577"/>
        <pc:sldMkLst>
          <pc:docMk/>
          <pc:sldMk cId="1860325513" sldId="714"/>
        </pc:sldMkLst>
        <pc:spChg chg="mod">
          <ac:chgData name="Sam Mesel" userId="1ee7badb-5d1f-4872-89ae-dcf7b71f276a" providerId="ADAL" clId="{F84B9C97-996A-46F9-8EAC-C75BBA266FB1}" dt="2020-03-04T04:12:21.243" v="2998" actId="20577"/>
          <ac:spMkLst>
            <pc:docMk/>
            <pc:sldMk cId="1860325513" sldId="714"/>
            <ac:spMk id="2" creationId="{118660B5-4C56-474E-AA9F-1881C6D84728}"/>
          </ac:spMkLst>
        </pc:spChg>
        <pc:spChg chg="mod">
          <ac:chgData name="Sam Mesel" userId="1ee7badb-5d1f-4872-89ae-dcf7b71f276a" providerId="ADAL" clId="{F84B9C97-996A-46F9-8EAC-C75BBA266FB1}" dt="2020-03-04T04:13:08.707" v="3011" actId="20577"/>
          <ac:spMkLst>
            <pc:docMk/>
            <pc:sldMk cId="1860325513" sldId="714"/>
            <ac:spMk id="4" creationId="{1CE9DF03-627E-4FC2-ADDA-F2C4085E1ECC}"/>
          </ac:spMkLst>
        </pc:spChg>
      </pc:sldChg>
      <pc:sldChg chg="modSp mod">
        <pc:chgData name="Sam Mesel" userId="1ee7badb-5d1f-4872-89ae-dcf7b71f276a" providerId="ADAL" clId="{F84B9C97-996A-46F9-8EAC-C75BBA266FB1}" dt="2020-03-04T04:13:24.916" v="3014" actId="6549"/>
        <pc:sldMkLst>
          <pc:docMk/>
          <pc:sldMk cId="3224995500" sldId="715"/>
        </pc:sldMkLst>
        <pc:spChg chg="mod">
          <ac:chgData name="Sam Mesel" userId="1ee7badb-5d1f-4872-89ae-dcf7b71f276a" providerId="ADAL" clId="{F84B9C97-996A-46F9-8EAC-C75BBA266FB1}" dt="2020-03-04T04:13:17.862" v="3012" actId="20577"/>
          <ac:spMkLst>
            <pc:docMk/>
            <pc:sldMk cId="3224995500" sldId="715"/>
            <ac:spMk id="2" creationId="{118660B5-4C56-474E-AA9F-1881C6D84728}"/>
          </ac:spMkLst>
        </pc:spChg>
        <pc:spChg chg="mod">
          <ac:chgData name="Sam Mesel" userId="1ee7badb-5d1f-4872-89ae-dcf7b71f276a" providerId="ADAL" clId="{F84B9C97-996A-46F9-8EAC-C75BBA266FB1}" dt="2020-03-04T04:13:24.916" v="3014" actId="6549"/>
          <ac:spMkLst>
            <pc:docMk/>
            <pc:sldMk cId="3224995500" sldId="715"/>
            <ac:spMk id="4" creationId="{1CE9DF03-627E-4FC2-ADDA-F2C4085E1ECC}"/>
          </ac:spMkLst>
        </pc:spChg>
      </pc:sldChg>
      <pc:sldChg chg="modSp mod">
        <pc:chgData name="Sam Mesel" userId="1ee7badb-5d1f-4872-89ae-dcf7b71f276a" providerId="ADAL" clId="{F84B9C97-996A-46F9-8EAC-C75BBA266FB1}" dt="2020-03-04T04:13:46.109" v="3019" actId="6549"/>
        <pc:sldMkLst>
          <pc:docMk/>
          <pc:sldMk cId="4205441629" sldId="716"/>
        </pc:sldMkLst>
        <pc:spChg chg="mod">
          <ac:chgData name="Sam Mesel" userId="1ee7badb-5d1f-4872-89ae-dcf7b71f276a" providerId="ADAL" clId="{F84B9C97-996A-46F9-8EAC-C75BBA266FB1}" dt="2020-03-04T04:13:39.910" v="3015" actId="20577"/>
          <ac:spMkLst>
            <pc:docMk/>
            <pc:sldMk cId="4205441629" sldId="716"/>
            <ac:spMk id="2" creationId="{118660B5-4C56-474E-AA9F-1881C6D84728}"/>
          </ac:spMkLst>
        </pc:spChg>
        <pc:spChg chg="mod">
          <ac:chgData name="Sam Mesel" userId="1ee7badb-5d1f-4872-89ae-dcf7b71f276a" providerId="ADAL" clId="{F84B9C97-996A-46F9-8EAC-C75BBA266FB1}" dt="2020-03-04T04:13:46.109" v="3019" actId="6549"/>
          <ac:spMkLst>
            <pc:docMk/>
            <pc:sldMk cId="4205441629" sldId="716"/>
            <ac:spMk id="4" creationId="{1CE9DF03-627E-4FC2-ADDA-F2C4085E1ECC}"/>
          </ac:spMkLst>
        </pc:spChg>
      </pc:sldChg>
      <pc:sldChg chg="modSp mod">
        <pc:chgData name="Sam Mesel" userId="1ee7badb-5d1f-4872-89ae-dcf7b71f276a" providerId="ADAL" clId="{F84B9C97-996A-46F9-8EAC-C75BBA266FB1}" dt="2020-03-03T21:55:24.547" v="622" actId="20577"/>
        <pc:sldMkLst>
          <pc:docMk/>
          <pc:sldMk cId="1531234105" sldId="720"/>
        </pc:sldMkLst>
        <pc:spChg chg="mod">
          <ac:chgData name="Sam Mesel" userId="1ee7badb-5d1f-4872-89ae-dcf7b71f276a" providerId="ADAL" clId="{F84B9C97-996A-46F9-8EAC-C75BBA266FB1}" dt="2020-03-03T21:55:24.547" v="622" actId="20577"/>
          <ac:spMkLst>
            <pc:docMk/>
            <pc:sldMk cId="1531234105" sldId="720"/>
            <ac:spMk id="4" creationId="{1FAEEDEF-2E89-4B83-A97C-A810601474EF}"/>
          </ac:spMkLst>
        </pc:spChg>
      </pc:sldChg>
      <pc:sldChg chg="modSp mod">
        <pc:chgData name="Sam Mesel" userId="1ee7badb-5d1f-4872-89ae-dcf7b71f276a" providerId="ADAL" clId="{F84B9C97-996A-46F9-8EAC-C75BBA266FB1}" dt="2020-03-03T23:44:02.122" v="647" actId="207"/>
        <pc:sldMkLst>
          <pc:docMk/>
          <pc:sldMk cId="3141979589" sldId="721"/>
        </pc:sldMkLst>
        <pc:spChg chg="mod">
          <ac:chgData name="Sam Mesel" userId="1ee7badb-5d1f-4872-89ae-dcf7b71f276a" providerId="ADAL" clId="{F84B9C97-996A-46F9-8EAC-C75BBA266FB1}" dt="2020-03-03T21:56:56.559" v="623" actId="13926"/>
          <ac:spMkLst>
            <pc:docMk/>
            <pc:sldMk cId="3141979589" sldId="721"/>
            <ac:spMk id="4" creationId="{1FAEEDEF-2E89-4B83-A97C-A810601474EF}"/>
          </ac:spMkLst>
        </pc:spChg>
        <pc:graphicFrameChg chg="mod">
          <ac:chgData name="Sam Mesel" userId="1ee7badb-5d1f-4872-89ae-dcf7b71f276a" providerId="ADAL" clId="{F84B9C97-996A-46F9-8EAC-C75BBA266FB1}" dt="2020-03-03T23:44:02.122" v="647" actId="207"/>
          <ac:graphicFrameMkLst>
            <pc:docMk/>
            <pc:sldMk cId="3141979589" sldId="721"/>
            <ac:graphicFrameMk id="8" creationId="{ED54D26F-4334-404E-9D78-F724007CDE90}"/>
          </ac:graphicFrameMkLst>
        </pc:graphicFrameChg>
      </pc:sldChg>
      <pc:sldChg chg="addSp delSp modSp mod modNotesTx">
        <pc:chgData name="Sam Mesel" userId="1ee7badb-5d1f-4872-89ae-dcf7b71f276a" providerId="ADAL" clId="{F84B9C97-996A-46F9-8EAC-C75BBA266FB1}" dt="2020-03-03T23:58:10.947" v="813" actId="1076"/>
        <pc:sldMkLst>
          <pc:docMk/>
          <pc:sldMk cId="3112427032" sldId="722"/>
        </pc:sldMkLst>
        <pc:spChg chg="mod">
          <ac:chgData name="Sam Mesel" userId="1ee7badb-5d1f-4872-89ae-dcf7b71f276a" providerId="ADAL" clId="{F84B9C97-996A-46F9-8EAC-C75BBA266FB1}" dt="2020-03-03T23:57:28.935" v="812" actId="403"/>
          <ac:spMkLst>
            <pc:docMk/>
            <pc:sldMk cId="3112427032" sldId="722"/>
            <ac:spMk id="4" creationId="{B93BA1DA-6489-4FFC-AF2A-B70913655403}"/>
          </ac:spMkLst>
        </pc:spChg>
        <pc:picChg chg="mod">
          <ac:chgData name="Sam Mesel" userId="1ee7badb-5d1f-4872-89ae-dcf7b71f276a" providerId="ADAL" clId="{F84B9C97-996A-46F9-8EAC-C75BBA266FB1}" dt="2020-03-03T23:57:04.082" v="803" actId="14100"/>
          <ac:picMkLst>
            <pc:docMk/>
            <pc:sldMk cId="3112427032" sldId="722"/>
            <ac:picMk id="5" creationId="{E1BDEB98-4958-4134-8800-796FD4F3D2C4}"/>
          </ac:picMkLst>
        </pc:picChg>
        <pc:picChg chg="add del mod">
          <ac:chgData name="Sam Mesel" userId="1ee7badb-5d1f-4872-89ae-dcf7b71f276a" providerId="ADAL" clId="{F84B9C97-996A-46F9-8EAC-C75BBA266FB1}" dt="2020-03-03T23:56:49.710" v="797" actId="478"/>
          <ac:picMkLst>
            <pc:docMk/>
            <pc:sldMk cId="3112427032" sldId="722"/>
            <ac:picMk id="6" creationId="{C2F08895-11E6-4008-8250-1448CF0EECA8}"/>
          </ac:picMkLst>
        </pc:picChg>
        <pc:picChg chg="add mod">
          <ac:chgData name="Sam Mesel" userId="1ee7badb-5d1f-4872-89ae-dcf7b71f276a" providerId="ADAL" clId="{F84B9C97-996A-46F9-8EAC-C75BBA266FB1}" dt="2020-03-03T23:58:10.947" v="813" actId="1076"/>
          <ac:picMkLst>
            <pc:docMk/>
            <pc:sldMk cId="3112427032" sldId="722"/>
            <ac:picMk id="7" creationId="{418F76F9-AE8B-4428-B02C-882C36F3AE7C}"/>
          </ac:picMkLst>
        </pc:picChg>
      </pc:sldChg>
      <pc:sldChg chg="modSp mod modNotesTx">
        <pc:chgData name="Sam Mesel" userId="1ee7badb-5d1f-4872-89ae-dcf7b71f276a" providerId="ADAL" clId="{F84B9C97-996A-46F9-8EAC-C75BBA266FB1}" dt="2020-03-20T19:59:17.827" v="4120" actId="6549"/>
        <pc:sldMkLst>
          <pc:docMk/>
          <pc:sldMk cId="1589491491" sldId="723"/>
        </pc:sldMkLst>
        <pc:spChg chg="mod">
          <ac:chgData name="Sam Mesel" userId="1ee7badb-5d1f-4872-89ae-dcf7b71f276a" providerId="ADAL" clId="{F84B9C97-996A-46F9-8EAC-C75BBA266FB1}" dt="2020-03-20T19:59:17.827" v="4120" actId="6549"/>
          <ac:spMkLst>
            <pc:docMk/>
            <pc:sldMk cId="1589491491" sldId="723"/>
            <ac:spMk id="6" creationId="{637E159C-9ACF-48AE-927A-D5FB13695C7F}"/>
          </ac:spMkLst>
        </pc:spChg>
      </pc:sldChg>
      <pc:sldChg chg="addSp delSp modSp mod modAnim">
        <pc:chgData name="Sam Mesel" userId="1ee7badb-5d1f-4872-89ae-dcf7b71f276a" providerId="ADAL" clId="{F84B9C97-996A-46F9-8EAC-C75BBA266FB1}" dt="2020-03-06T23:39:36.580" v="3733"/>
        <pc:sldMkLst>
          <pc:docMk/>
          <pc:sldMk cId="4218964462" sldId="724"/>
        </pc:sldMkLst>
        <pc:spChg chg="mod">
          <ac:chgData name="Sam Mesel" userId="1ee7badb-5d1f-4872-89ae-dcf7b71f276a" providerId="ADAL" clId="{F84B9C97-996A-46F9-8EAC-C75BBA266FB1}" dt="2020-03-05T20:28:32.741" v="3417" actId="14100"/>
          <ac:spMkLst>
            <pc:docMk/>
            <pc:sldMk cId="4218964462" sldId="724"/>
            <ac:spMk id="4" creationId="{DE5845F6-B68B-429D-B0C2-353CF2015E97}"/>
          </ac:spMkLst>
        </pc:spChg>
        <pc:spChg chg="add mod">
          <ac:chgData name="Sam Mesel" userId="1ee7badb-5d1f-4872-89ae-dcf7b71f276a" providerId="ADAL" clId="{F84B9C97-996A-46F9-8EAC-C75BBA266FB1}" dt="2020-03-05T20:31:54.597" v="3432"/>
          <ac:spMkLst>
            <pc:docMk/>
            <pc:sldMk cId="4218964462" sldId="724"/>
            <ac:spMk id="5" creationId="{199C1D37-45CD-4CA5-BFDE-01F2B71C9D97}"/>
          </ac:spMkLst>
        </pc:spChg>
        <pc:spChg chg="add mod">
          <ac:chgData name="Sam Mesel" userId="1ee7badb-5d1f-4872-89ae-dcf7b71f276a" providerId="ADAL" clId="{F84B9C97-996A-46F9-8EAC-C75BBA266FB1}" dt="2020-03-05T20:30:36.245" v="3427" actId="14100"/>
          <ac:spMkLst>
            <pc:docMk/>
            <pc:sldMk cId="4218964462" sldId="724"/>
            <ac:spMk id="7" creationId="{F546F847-C1E2-432B-9672-8FEF1B1DA90C}"/>
          </ac:spMkLst>
        </pc:spChg>
        <pc:spChg chg="add mod">
          <ac:chgData name="Sam Mesel" userId="1ee7badb-5d1f-4872-89ae-dcf7b71f276a" providerId="ADAL" clId="{F84B9C97-996A-46F9-8EAC-C75BBA266FB1}" dt="2020-03-05T20:30:36.245" v="3427" actId="14100"/>
          <ac:spMkLst>
            <pc:docMk/>
            <pc:sldMk cId="4218964462" sldId="724"/>
            <ac:spMk id="9" creationId="{8BAF0B3E-8880-4E29-9023-FB6E64C06CF2}"/>
          </ac:spMkLst>
        </pc:spChg>
        <pc:spChg chg="add mod">
          <ac:chgData name="Sam Mesel" userId="1ee7badb-5d1f-4872-89ae-dcf7b71f276a" providerId="ADAL" clId="{F84B9C97-996A-46F9-8EAC-C75BBA266FB1}" dt="2020-03-05T20:30:36.245" v="3427" actId="14100"/>
          <ac:spMkLst>
            <pc:docMk/>
            <pc:sldMk cId="4218964462" sldId="724"/>
            <ac:spMk id="11" creationId="{AB90A74D-DDA4-47F9-A4A3-4B90E4989047}"/>
          </ac:spMkLst>
        </pc:spChg>
        <pc:spChg chg="add mod">
          <ac:chgData name="Sam Mesel" userId="1ee7badb-5d1f-4872-89ae-dcf7b71f276a" providerId="ADAL" clId="{F84B9C97-996A-46F9-8EAC-C75BBA266FB1}" dt="2020-03-05T20:30:46.560" v="3429" actId="1076"/>
          <ac:spMkLst>
            <pc:docMk/>
            <pc:sldMk cId="4218964462" sldId="724"/>
            <ac:spMk id="13" creationId="{079AB67D-9D24-4A69-8C5E-CFF89CC1610A}"/>
          </ac:spMkLst>
        </pc:spChg>
        <pc:spChg chg="add mod">
          <ac:chgData name="Sam Mesel" userId="1ee7badb-5d1f-4872-89ae-dcf7b71f276a" providerId="ADAL" clId="{F84B9C97-996A-46F9-8EAC-C75BBA266FB1}" dt="2020-03-05T20:30:46.560" v="3429" actId="1076"/>
          <ac:spMkLst>
            <pc:docMk/>
            <pc:sldMk cId="4218964462" sldId="724"/>
            <ac:spMk id="15" creationId="{2E4D6710-B994-4DB8-B9DE-B02E31FF76E9}"/>
          </ac:spMkLst>
        </pc:spChg>
        <pc:spChg chg="add mod">
          <ac:chgData name="Sam Mesel" userId="1ee7badb-5d1f-4872-89ae-dcf7b71f276a" providerId="ADAL" clId="{F84B9C97-996A-46F9-8EAC-C75BBA266FB1}" dt="2020-03-05T20:30:46.560" v="3429" actId="1076"/>
          <ac:spMkLst>
            <pc:docMk/>
            <pc:sldMk cId="4218964462" sldId="724"/>
            <ac:spMk id="17" creationId="{D798CE7B-EA81-429F-9CE0-82F893051EA7}"/>
          </ac:spMkLst>
        </pc:spChg>
        <pc:spChg chg="add mod">
          <ac:chgData name="Sam Mesel" userId="1ee7badb-5d1f-4872-89ae-dcf7b71f276a" providerId="ADAL" clId="{F84B9C97-996A-46F9-8EAC-C75BBA266FB1}" dt="2020-03-05T20:30:46.560" v="3429" actId="1076"/>
          <ac:spMkLst>
            <pc:docMk/>
            <pc:sldMk cId="4218964462" sldId="724"/>
            <ac:spMk id="19" creationId="{BE78BC37-C4ED-4F4C-9231-01B96DD8020A}"/>
          </ac:spMkLst>
        </pc:spChg>
        <pc:spChg chg="add del mod">
          <ac:chgData name="Sam Mesel" userId="1ee7badb-5d1f-4872-89ae-dcf7b71f276a" providerId="ADAL" clId="{F84B9C97-996A-46F9-8EAC-C75BBA266FB1}" dt="2020-03-05T20:32:35.571" v="3438" actId="22"/>
          <ac:spMkLst>
            <pc:docMk/>
            <pc:sldMk cId="4218964462" sldId="724"/>
            <ac:spMk id="21" creationId="{92B5356C-CD85-40C4-9FA3-133308359B09}"/>
          </ac:spMkLst>
        </pc:spChg>
        <pc:spChg chg="add del mod">
          <ac:chgData name="Sam Mesel" userId="1ee7badb-5d1f-4872-89ae-dcf7b71f276a" providerId="ADAL" clId="{F84B9C97-996A-46F9-8EAC-C75BBA266FB1}" dt="2020-03-05T20:34:00.459" v="3444" actId="478"/>
          <ac:spMkLst>
            <pc:docMk/>
            <pc:sldMk cId="4218964462" sldId="724"/>
            <ac:spMk id="23" creationId="{EA53546C-4293-4A67-A196-BF949EC67BA8}"/>
          </ac:spMkLst>
        </pc:spChg>
        <pc:spChg chg="add del">
          <ac:chgData name="Sam Mesel" userId="1ee7badb-5d1f-4872-89ae-dcf7b71f276a" providerId="ADAL" clId="{F84B9C97-996A-46F9-8EAC-C75BBA266FB1}" dt="2020-03-05T20:34:25.631" v="3446" actId="478"/>
          <ac:spMkLst>
            <pc:docMk/>
            <pc:sldMk cId="4218964462" sldId="724"/>
            <ac:spMk id="24" creationId="{C6C509E1-F2B7-4660-B984-BA3A2854C687}"/>
          </ac:spMkLst>
        </pc:spChg>
        <pc:spChg chg="add">
          <ac:chgData name="Sam Mesel" userId="1ee7badb-5d1f-4872-89ae-dcf7b71f276a" providerId="ADAL" clId="{F84B9C97-996A-46F9-8EAC-C75BBA266FB1}" dt="2020-03-05T20:34:38.306" v="3447" actId="11529"/>
          <ac:spMkLst>
            <pc:docMk/>
            <pc:sldMk cId="4218964462" sldId="724"/>
            <ac:spMk id="25" creationId="{5C9B2E86-DA92-4C1E-AE87-5232948A5F7D}"/>
          </ac:spMkLst>
        </pc:spChg>
        <pc:spChg chg="add mod">
          <ac:chgData name="Sam Mesel" userId="1ee7badb-5d1f-4872-89ae-dcf7b71f276a" providerId="ADAL" clId="{F84B9C97-996A-46F9-8EAC-C75BBA266FB1}" dt="2020-03-05T20:34:53.734" v="3449" actId="1076"/>
          <ac:spMkLst>
            <pc:docMk/>
            <pc:sldMk cId="4218964462" sldId="724"/>
            <ac:spMk id="26" creationId="{A56EDC38-C351-4247-BBB8-724B1C35579B}"/>
          </ac:spMkLst>
        </pc:spChg>
        <pc:spChg chg="add mod">
          <ac:chgData name="Sam Mesel" userId="1ee7badb-5d1f-4872-89ae-dcf7b71f276a" providerId="ADAL" clId="{F84B9C97-996A-46F9-8EAC-C75BBA266FB1}" dt="2020-03-05T20:35:01.775" v="3451" actId="1076"/>
          <ac:spMkLst>
            <pc:docMk/>
            <pc:sldMk cId="4218964462" sldId="724"/>
            <ac:spMk id="28" creationId="{8FFB1CC2-57EF-4DEF-8797-4F2253DA1D5F}"/>
          </ac:spMkLst>
        </pc:spChg>
        <pc:spChg chg="add del mod">
          <ac:chgData name="Sam Mesel" userId="1ee7badb-5d1f-4872-89ae-dcf7b71f276a" providerId="ADAL" clId="{F84B9C97-996A-46F9-8EAC-C75BBA266FB1}" dt="2020-03-05T20:35:19.141" v="3454" actId="478"/>
          <ac:spMkLst>
            <pc:docMk/>
            <pc:sldMk cId="4218964462" sldId="724"/>
            <ac:spMk id="30" creationId="{3BC25814-7147-4BDC-B72A-0156558699E9}"/>
          </ac:spMkLst>
        </pc:spChg>
        <pc:spChg chg="add del mod">
          <ac:chgData name="Sam Mesel" userId="1ee7badb-5d1f-4872-89ae-dcf7b71f276a" providerId="ADAL" clId="{F84B9C97-996A-46F9-8EAC-C75BBA266FB1}" dt="2020-03-05T20:36:12.787" v="3464" actId="478"/>
          <ac:spMkLst>
            <pc:docMk/>
            <pc:sldMk cId="4218964462" sldId="724"/>
            <ac:spMk id="32" creationId="{0F5D9782-4DA7-439A-A177-2563B0E7F3F6}"/>
          </ac:spMkLst>
        </pc:spChg>
        <pc:graphicFrameChg chg="mod">
          <ac:chgData name="Sam Mesel" userId="1ee7badb-5d1f-4872-89ae-dcf7b71f276a" providerId="ADAL" clId="{F84B9C97-996A-46F9-8EAC-C75BBA266FB1}" dt="2020-03-05T20:36:17.008" v="3465" actId="1076"/>
          <ac:graphicFrameMkLst>
            <pc:docMk/>
            <pc:sldMk cId="4218964462" sldId="724"/>
            <ac:graphicFrameMk id="6" creationId="{C3B01580-9A0F-4A26-9DD9-8F1D2DFA6B4E}"/>
          </ac:graphicFrameMkLst>
        </pc:graphicFrameChg>
        <pc:picChg chg="mod">
          <ac:chgData name="Sam Mesel" userId="1ee7badb-5d1f-4872-89ae-dcf7b71f276a" providerId="ADAL" clId="{F84B9C97-996A-46F9-8EAC-C75BBA266FB1}" dt="2020-03-05T20:30:16.532" v="3425" actId="1076"/>
          <ac:picMkLst>
            <pc:docMk/>
            <pc:sldMk cId="4218964462" sldId="724"/>
            <ac:picMk id="3074" creationId="{08942DD5-B42D-40A5-B37D-D4872B562AFD}"/>
          </ac:picMkLst>
        </pc:picChg>
      </pc:sldChg>
      <pc:sldChg chg="addSp modSp add mod">
        <pc:chgData name="Sam Mesel" userId="1ee7badb-5d1f-4872-89ae-dcf7b71f276a" providerId="ADAL" clId="{F84B9C97-996A-46F9-8EAC-C75BBA266FB1}" dt="2020-03-03T21:21:44.804" v="540" actId="1076"/>
        <pc:sldMkLst>
          <pc:docMk/>
          <pc:sldMk cId="4273182634" sldId="739"/>
        </pc:sldMkLst>
        <pc:spChg chg="mod">
          <ac:chgData name="Sam Mesel" userId="1ee7badb-5d1f-4872-89ae-dcf7b71f276a" providerId="ADAL" clId="{F84B9C97-996A-46F9-8EAC-C75BBA266FB1}" dt="2020-03-03T21:20:53.517" v="526" actId="6549"/>
          <ac:spMkLst>
            <pc:docMk/>
            <pc:sldMk cId="4273182634" sldId="739"/>
            <ac:spMk id="2" creationId="{A8E6DCE9-9C89-4283-B0E0-34E0C1FB96DA}"/>
          </ac:spMkLst>
        </pc:spChg>
        <pc:spChg chg="mod">
          <ac:chgData name="Sam Mesel" userId="1ee7badb-5d1f-4872-89ae-dcf7b71f276a" providerId="ADAL" clId="{F84B9C97-996A-46F9-8EAC-C75BBA266FB1}" dt="2020-03-03T21:20:40.007" v="501" actId="27636"/>
          <ac:spMkLst>
            <pc:docMk/>
            <pc:sldMk cId="4273182634" sldId="739"/>
            <ac:spMk id="4" creationId="{EB8FEEE0-7D03-497F-99E3-2992983D127E}"/>
          </ac:spMkLst>
        </pc:spChg>
        <pc:picChg chg="add mod">
          <ac:chgData name="Sam Mesel" userId="1ee7badb-5d1f-4872-89ae-dcf7b71f276a" providerId="ADAL" clId="{F84B9C97-996A-46F9-8EAC-C75BBA266FB1}" dt="2020-03-03T21:21:44.804" v="540" actId="1076"/>
          <ac:picMkLst>
            <pc:docMk/>
            <pc:sldMk cId="4273182634" sldId="739"/>
            <ac:picMk id="6" creationId="{32EEFF7D-7B83-4E51-9C9D-CDCDD68B2E0B}"/>
          </ac:picMkLst>
        </pc:picChg>
      </pc:sldChg>
      <pc:sldChg chg="del">
        <pc:chgData name="Sam Mesel" userId="1ee7badb-5d1f-4872-89ae-dcf7b71f276a" providerId="ADAL" clId="{F84B9C97-996A-46F9-8EAC-C75BBA266FB1}" dt="2020-03-11T20:46:09.938" v="4075" actId="47"/>
        <pc:sldMkLst>
          <pc:docMk/>
          <pc:sldMk cId="2421906501" sldId="756"/>
        </pc:sldMkLst>
      </pc:sldChg>
      <pc:sldChg chg="del">
        <pc:chgData name="Sam Mesel" userId="1ee7badb-5d1f-4872-89ae-dcf7b71f276a" providerId="ADAL" clId="{F84B9C97-996A-46F9-8EAC-C75BBA266FB1}" dt="2020-03-06T23:41:03.231" v="3734" actId="47"/>
        <pc:sldMkLst>
          <pc:docMk/>
          <pc:sldMk cId="3406293586" sldId="766"/>
        </pc:sldMkLst>
      </pc:sldChg>
      <pc:sldChg chg="delSp add mod">
        <pc:chgData name="Sam Mesel" userId="1ee7badb-5d1f-4872-89ae-dcf7b71f276a" providerId="ADAL" clId="{F84B9C97-996A-46F9-8EAC-C75BBA266FB1}" dt="2020-03-06T23:34:53.516" v="3713" actId="478"/>
        <pc:sldMkLst>
          <pc:docMk/>
          <pc:sldMk cId="1741957811" sldId="768"/>
        </pc:sldMkLst>
        <pc:spChg chg="del">
          <ac:chgData name="Sam Mesel" userId="1ee7badb-5d1f-4872-89ae-dcf7b71f276a" providerId="ADAL" clId="{F84B9C97-996A-46F9-8EAC-C75BBA266FB1}" dt="2020-03-06T23:34:53.516" v="3713" actId="478"/>
          <ac:spMkLst>
            <pc:docMk/>
            <pc:sldMk cId="1741957811" sldId="768"/>
            <ac:spMk id="4" creationId="{12C2FFF7-7C6C-4F11-BD33-71901E41F13E}"/>
          </ac:spMkLst>
        </pc:spChg>
      </pc:sldChg>
    </pc:docChg>
  </pc:docChgLst>
  <pc:docChgLst>
    <pc:chgData name="Batuhan Yildiz" userId="90f344fc-4655-4923-aeaf-697bba59c1a7" providerId="ADAL" clId="{0254B5F4-966E-4F95-9283-C5214D39B1CA}"/>
    <pc:docChg chg="undo redo custSel addSld delSld modSld modSection">
      <pc:chgData name="Batuhan Yildiz" userId="90f344fc-4655-4923-aeaf-697bba59c1a7" providerId="ADAL" clId="{0254B5F4-966E-4F95-9283-C5214D39B1CA}" dt="2020-05-22T21:40:54.621" v="810" actId="1076"/>
      <pc:docMkLst>
        <pc:docMk/>
      </pc:docMkLst>
      <pc:sldChg chg="modSp mod modClrScheme chgLayout">
        <pc:chgData name="Batuhan Yildiz" userId="90f344fc-4655-4923-aeaf-697bba59c1a7" providerId="ADAL" clId="{0254B5F4-966E-4F95-9283-C5214D39B1CA}" dt="2020-05-22T01:33:33.061" v="8" actId="1076"/>
        <pc:sldMkLst>
          <pc:docMk/>
          <pc:sldMk cId="3235270007" sldId="257"/>
        </pc:sldMkLst>
        <pc:spChg chg="mod ord">
          <ac:chgData name="Batuhan Yildiz" userId="90f344fc-4655-4923-aeaf-697bba59c1a7" providerId="ADAL" clId="{0254B5F4-966E-4F95-9283-C5214D39B1CA}" dt="2020-05-22T01:33:26.317" v="7" actId="700"/>
          <ac:spMkLst>
            <pc:docMk/>
            <pc:sldMk cId="3235270007" sldId="257"/>
            <ac:spMk id="2" creationId="{EB67312A-9819-43C6-8D84-D9136E6CFFCC}"/>
          </ac:spMkLst>
        </pc:spChg>
        <pc:spChg chg="mod ord">
          <ac:chgData name="Batuhan Yildiz" userId="90f344fc-4655-4923-aeaf-697bba59c1a7" providerId="ADAL" clId="{0254B5F4-966E-4F95-9283-C5214D39B1CA}" dt="2020-05-22T01:33:26.317" v="7" actId="700"/>
          <ac:spMkLst>
            <pc:docMk/>
            <pc:sldMk cId="3235270007" sldId="257"/>
            <ac:spMk id="4" creationId="{F3616A99-090F-45E1-9334-58D58B148205}"/>
          </ac:spMkLst>
        </pc:spChg>
        <pc:grpChg chg="mod">
          <ac:chgData name="Batuhan Yildiz" userId="90f344fc-4655-4923-aeaf-697bba59c1a7" providerId="ADAL" clId="{0254B5F4-966E-4F95-9283-C5214D39B1CA}" dt="2020-05-22T01:33:33.061" v="8" actId="1076"/>
          <ac:grpSpMkLst>
            <pc:docMk/>
            <pc:sldMk cId="3235270007" sldId="257"/>
            <ac:grpSpMk id="13" creationId="{A22EF2A5-4FF4-46F7-B9B5-8DDC1C329478}"/>
          </ac:grpSpMkLst>
        </pc:grpChg>
      </pc:sldChg>
      <pc:sldChg chg="modSp">
        <pc:chgData name="Batuhan Yildiz" userId="90f344fc-4655-4923-aeaf-697bba59c1a7" providerId="ADAL" clId="{0254B5F4-966E-4F95-9283-C5214D39B1CA}" dt="2020-05-22T01:49:00.333" v="61" actId="12100"/>
        <pc:sldMkLst>
          <pc:docMk/>
          <pc:sldMk cId="4221783869" sldId="566"/>
        </pc:sldMkLst>
        <pc:graphicFrameChg chg="mod">
          <ac:chgData name="Batuhan Yildiz" userId="90f344fc-4655-4923-aeaf-697bba59c1a7" providerId="ADAL" clId="{0254B5F4-966E-4F95-9283-C5214D39B1CA}" dt="2020-05-22T01:49:00.333" v="61" actId="12100"/>
          <ac:graphicFrameMkLst>
            <pc:docMk/>
            <pc:sldMk cId="4221783869" sldId="566"/>
            <ac:graphicFrameMk id="5" creationId="{C1363F5E-683B-4FEB-B13E-3D9A4DF29C81}"/>
          </ac:graphicFrameMkLst>
        </pc:graphicFrameChg>
      </pc:sldChg>
      <pc:sldChg chg="modSp">
        <pc:chgData name="Batuhan Yildiz" userId="90f344fc-4655-4923-aeaf-697bba59c1a7" providerId="ADAL" clId="{0254B5F4-966E-4F95-9283-C5214D39B1CA}" dt="2020-05-22T01:53:52.005" v="103" actId="14100"/>
        <pc:sldMkLst>
          <pc:docMk/>
          <pc:sldMk cId="2346840044" sldId="570"/>
        </pc:sldMkLst>
        <pc:graphicFrameChg chg="mod">
          <ac:chgData name="Batuhan Yildiz" userId="90f344fc-4655-4923-aeaf-697bba59c1a7" providerId="ADAL" clId="{0254B5F4-966E-4F95-9283-C5214D39B1CA}" dt="2020-05-22T01:53:52.005" v="103" actId="14100"/>
          <ac:graphicFrameMkLst>
            <pc:docMk/>
            <pc:sldMk cId="2346840044" sldId="570"/>
            <ac:graphicFrameMk id="3" creationId="{9484E1FE-7534-495E-863C-657A46F5E628}"/>
          </ac:graphicFrameMkLst>
        </pc:graphicFrameChg>
      </pc:sldChg>
      <pc:sldChg chg="modSp mod modClrScheme chgLayout">
        <pc:chgData name="Batuhan Yildiz" userId="90f344fc-4655-4923-aeaf-697bba59c1a7" providerId="ADAL" clId="{0254B5F4-966E-4F95-9283-C5214D39B1CA}" dt="2020-05-22T02:21:35.564" v="296" actId="700"/>
        <pc:sldMkLst>
          <pc:docMk/>
          <pc:sldMk cId="57508058" sldId="608"/>
        </pc:sldMkLst>
        <pc:spChg chg="mod ord">
          <ac:chgData name="Batuhan Yildiz" userId="90f344fc-4655-4923-aeaf-697bba59c1a7" providerId="ADAL" clId="{0254B5F4-966E-4F95-9283-C5214D39B1CA}" dt="2020-05-22T02:21:35.564" v="296" actId="700"/>
          <ac:spMkLst>
            <pc:docMk/>
            <pc:sldMk cId="57508058" sldId="608"/>
            <ac:spMk id="2" creationId="{EB67312A-9819-43C6-8D84-D9136E6CFFCC}"/>
          </ac:spMkLst>
        </pc:spChg>
        <pc:graphicFrameChg chg="mod ord">
          <ac:chgData name="Batuhan Yildiz" userId="90f344fc-4655-4923-aeaf-697bba59c1a7" providerId="ADAL" clId="{0254B5F4-966E-4F95-9283-C5214D39B1CA}" dt="2020-05-22T02:21:35.564" v="296" actId="700"/>
          <ac:graphicFrameMkLst>
            <pc:docMk/>
            <pc:sldMk cId="57508058" sldId="608"/>
            <ac:graphicFrameMk id="10" creationId="{392FE5B8-B893-4B1E-9B29-2151F1892047}"/>
          </ac:graphicFrameMkLst>
        </pc:graphicFrameChg>
      </pc:sldChg>
      <pc:sldChg chg="addSp delSp modSp mod modClrScheme chgLayout">
        <pc:chgData name="Batuhan Yildiz" userId="90f344fc-4655-4923-aeaf-697bba59c1a7" providerId="ADAL" clId="{0254B5F4-966E-4F95-9283-C5214D39B1CA}" dt="2020-05-22T02:22:30.559" v="304" actId="14100"/>
        <pc:sldMkLst>
          <pc:docMk/>
          <pc:sldMk cId="2513964796" sldId="620"/>
        </pc:sldMkLst>
        <pc:spChg chg="mod ord">
          <ac:chgData name="Batuhan Yildiz" userId="90f344fc-4655-4923-aeaf-697bba59c1a7" providerId="ADAL" clId="{0254B5F4-966E-4F95-9283-C5214D39B1CA}" dt="2020-05-22T02:21:53.295" v="297" actId="700"/>
          <ac:spMkLst>
            <pc:docMk/>
            <pc:sldMk cId="2513964796" sldId="620"/>
            <ac:spMk id="2" creationId="{EB67312A-9819-43C6-8D84-D9136E6CFFCC}"/>
          </ac:spMkLst>
        </pc:spChg>
        <pc:spChg chg="add mod ord">
          <ac:chgData name="Batuhan Yildiz" userId="90f344fc-4655-4923-aeaf-697bba59c1a7" providerId="ADAL" clId="{0254B5F4-966E-4F95-9283-C5214D39B1CA}" dt="2020-05-22T02:22:08.365" v="301" actId="20577"/>
          <ac:spMkLst>
            <pc:docMk/>
            <pc:sldMk cId="2513964796" sldId="620"/>
            <ac:spMk id="3" creationId="{D5E1EE88-C0C6-4FB0-9B98-C1C0969FB6E9}"/>
          </ac:spMkLst>
        </pc:spChg>
        <pc:spChg chg="del">
          <ac:chgData name="Batuhan Yildiz" userId="90f344fc-4655-4923-aeaf-697bba59c1a7" providerId="ADAL" clId="{0254B5F4-966E-4F95-9283-C5214D39B1CA}" dt="2020-05-22T02:22:01.753" v="298" actId="478"/>
          <ac:spMkLst>
            <pc:docMk/>
            <pc:sldMk cId="2513964796" sldId="620"/>
            <ac:spMk id="7" creationId="{45E30E19-0D35-495C-B19B-7D0FC44C82C2}"/>
          </ac:spMkLst>
        </pc:spChg>
        <pc:graphicFrameChg chg="mod">
          <ac:chgData name="Batuhan Yildiz" userId="90f344fc-4655-4923-aeaf-697bba59c1a7" providerId="ADAL" clId="{0254B5F4-966E-4F95-9283-C5214D39B1CA}" dt="2020-05-22T02:22:30.559" v="304" actId="14100"/>
          <ac:graphicFrameMkLst>
            <pc:docMk/>
            <pc:sldMk cId="2513964796" sldId="620"/>
            <ac:graphicFrameMk id="39" creationId="{331F82BE-5309-4734-AF56-83324631F0DE}"/>
          </ac:graphicFrameMkLst>
        </pc:graphicFrameChg>
      </pc:sldChg>
      <pc:sldChg chg="addSp delSp modSp mod chgLayout">
        <pc:chgData name="Batuhan Yildiz" userId="90f344fc-4655-4923-aeaf-697bba59c1a7" providerId="ADAL" clId="{0254B5F4-966E-4F95-9283-C5214D39B1CA}" dt="2020-05-22T01:43:06.056" v="33" actId="14100"/>
        <pc:sldMkLst>
          <pc:docMk/>
          <pc:sldMk cId="3621061219" sldId="621"/>
        </pc:sldMkLst>
        <pc:spChg chg="mod ord">
          <ac:chgData name="Batuhan Yildiz" userId="90f344fc-4655-4923-aeaf-697bba59c1a7" providerId="ADAL" clId="{0254B5F4-966E-4F95-9283-C5214D39B1CA}" dt="2020-05-22T01:41:44.866" v="24" actId="700"/>
          <ac:spMkLst>
            <pc:docMk/>
            <pc:sldMk cId="3621061219" sldId="621"/>
            <ac:spMk id="2" creationId="{98E9979A-6B56-439A-AC85-1A915ECDFB7C}"/>
          </ac:spMkLst>
        </pc:spChg>
        <pc:spChg chg="add del mod ord">
          <ac:chgData name="Batuhan Yildiz" userId="90f344fc-4655-4923-aeaf-697bba59c1a7" providerId="ADAL" clId="{0254B5F4-966E-4F95-9283-C5214D39B1CA}" dt="2020-05-22T01:41:55.201" v="25" actId="478"/>
          <ac:spMkLst>
            <pc:docMk/>
            <pc:sldMk cId="3621061219" sldId="621"/>
            <ac:spMk id="3" creationId="{2EA0F58B-3754-4DC2-B9C8-004111DBA93C}"/>
          </ac:spMkLst>
        </pc:spChg>
        <pc:spChg chg="mod ord">
          <ac:chgData name="Batuhan Yildiz" userId="90f344fc-4655-4923-aeaf-697bba59c1a7" providerId="ADAL" clId="{0254B5F4-966E-4F95-9283-C5214D39B1CA}" dt="2020-05-22T01:41:44.866" v="24" actId="700"/>
          <ac:spMkLst>
            <pc:docMk/>
            <pc:sldMk cId="3621061219" sldId="621"/>
            <ac:spMk id="4" creationId="{AEEA4260-17E9-4E74-91A2-0BAABFCF61CD}"/>
          </ac:spMkLst>
        </pc:spChg>
        <pc:graphicFrameChg chg="mod">
          <ac:chgData name="Batuhan Yildiz" userId="90f344fc-4655-4923-aeaf-697bba59c1a7" providerId="ADAL" clId="{0254B5F4-966E-4F95-9283-C5214D39B1CA}" dt="2020-05-22T01:43:06.056" v="33" actId="14100"/>
          <ac:graphicFrameMkLst>
            <pc:docMk/>
            <pc:sldMk cId="3621061219" sldId="621"/>
            <ac:graphicFrameMk id="8" creationId="{F898D04E-C7D9-4424-A2BA-37A2DEF0FA9C}"/>
          </ac:graphicFrameMkLst>
        </pc:graphicFrameChg>
      </pc:sldChg>
      <pc:sldChg chg="addSp delSp modSp mod chgLayout">
        <pc:chgData name="Batuhan Yildiz" userId="90f344fc-4655-4923-aeaf-697bba59c1a7" providerId="ADAL" clId="{0254B5F4-966E-4F95-9283-C5214D39B1CA}" dt="2020-05-22T01:43:44.740" v="40" actId="12100"/>
        <pc:sldMkLst>
          <pc:docMk/>
          <pc:sldMk cId="3140255800" sldId="622"/>
        </pc:sldMkLst>
        <pc:spChg chg="mod ord">
          <ac:chgData name="Batuhan Yildiz" userId="90f344fc-4655-4923-aeaf-697bba59c1a7" providerId="ADAL" clId="{0254B5F4-966E-4F95-9283-C5214D39B1CA}" dt="2020-05-22T01:41:44.866" v="24" actId="700"/>
          <ac:spMkLst>
            <pc:docMk/>
            <pc:sldMk cId="3140255800" sldId="622"/>
            <ac:spMk id="2" creationId="{E139A44F-1B4D-4C6D-AAFF-415CE55A5181}"/>
          </ac:spMkLst>
        </pc:spChg>
        <pc:spChg chg="add del mod ord">
          <ac:chgData name="Batuhan Yildiz" userId="90f344fc-4655-4923-aeaf-697bba59c1a7" providerId="ADAL" clId="{0254B5F4-966E-4F95-9283-C5214D39B1CA}" dt="2020-05-22T01:43:39.039" v="39" actId="478"/>
          <ac:spMkLst>
            <pc:docMk/>
            <pc:sldMk cId="3140255800" sldId="622"/>
            <ac:spMk id="3" creationId="{426FA24F-F333-4D76-8FD2-A512076DA6D7}"/>
          </ac:spMkLst>
        </pc:spChg>
        <pc:graphicFrameChg chg="mod ord">
          <ac:chgData name="Batuhan Yildiz" userId="90f344fc-4655-4923-aeaf-697bba59c1a7" providerId="ADAL" clId="{0254B5F4-966E-4F95-9283-C5214D39B1CA}" dt="2020-05-22T01:43:44.740" v="40" actId="12100"/>
          <ac:graphicFrameMkLst>
            <pc:docMk/>
            <pc:sldMk cId="3140255800" sldId="622"/>
            <ac:graphicFrameMk id="5" creationId="{9A8B2A87-34DE-408D-9B8B-3D9749FD7615}"/>
          </ac:graphicFrameMkLst>
        </pc:graphicFrameChg>
      </pc:sldChg>
      <pc:sldChg chg="addSp delSp modSp mod chgLayout">
        <pc:chgData name="Batuhan Yildiz" userId="90f344fc-4655-4923-aeaf-697bba59c1a7" providerId="ADAL" clId="{0254B5F4-966E-4F95-9283-C5214D39B1CA}" dt="2020-05-22T01:43:34.607" v="38" actId="14100"/>
        <pc:sldMkLst>
          <pc:docMk/>
          <pc:sldMk cId="1796066029" sldId="623"/>
        </pc:sldMkLst>
        <pc:spChg chg="mod ord">
          <ac:chgData name="Batuhan Yildiz" userId="90f344fc-4655-4923-aeaf-697bba59c1a7" providerId="ADAL" clId="{0254B5F4-966E-4F95-9283-C5214D39B1CA}" dt="2020-05-22T01:41:44.866" v="24" actId="700"/>
          <ac:spMkLst>
            <pc:docMk/>
            <pc:sldMk cId="1796066029" sldId="623"/>
            <ac:spMk id="2" creationId="{D5D07671-6381-485B-8F3D-46127A56FE09}"/>
          </ac:spMkLst>
        </pc:spChg>
        <pc:spChg chg="add del mod ord">
          <ac:chgData name="Batuhan Yildiz" userId="90f344fc-4655-4923-aeaf-697bba59c1a7" providerId="ADAL" clId="{0254B5F4-966E-4F95-9283-C5214D39B1CA}" dt="2020-05-22T01:43:19.809" v="34" actId="478"/>
          <ac:spMkLst>
            <pc:docMk/>
            <pc:sldMk cId="1796066029" sldId="623"/>
            <ac:spMk id="3" creationId="{6ECB629A-78E8-4DA6-A550-D75F4BC1FB3D}"/>
          </ac:spMkLst>
        </pc:spChg>
        <pc:graphicFrameChg chg="mod ord">
          <ac:chgData name="Batuhan Yildiz" userId="90f344fc-4655-4923-aeaf-697bba59c1a7" providerId="ADAL" clId="{0254B5F4-966E-4F95-9283-C5214D39B1CA}" dt="2020-05-22T01:43:34.607" v="38" actId="14100"/>
          <ac:graphicFrameMkLst>
            <pc:docMk/>
            <pc:sldMk cId="1796066029" sldId="623"/>
            <ac:graphicFrameMk id="6" creationId="{87064D57-BB3B-4462-95AE-07724B78563C}"/>
          </ac:graphicFrameMkLst>
        </pc:graphicFrameChg>
      </pc:sldChg>
      <pc:sldChg chg="addSp delSp modSp mod modClrScheme chgLayout">
        <pc:chgData name="Batuhan Yildiz" userId="90f344fc-4655-4923-aeaf-697bba59c1a7" providerId="ADAL" clId="{0254B5F4-966E-4F95-9283-C5214D39B1CA}" dt="2020-05-22T01:55:45.053" v="118" actId="255"/>
        <pc:sldMkLst>
          <pc:docMk/>
          <pc:sldMk cId="120752799" sldId="624"/>
        </pc:sldMkLst>
        <pc:spChg chg="mod ord">
          <ac:chgData name="Batuhan Yildiz" userId="90f344fc-4655-4923-aeaf-697bba59c1a7" providerId="ADAL" clId="{0254B5F4-966E-4F95-9283-C5214D39B1CA}" dt="2020-05-22T01:54:14.734" v="106" actId="700"/>
          <ac:spMkLst>
            <pc:docMk/>
            <pc:sldMk cId="120752799" sldId="624"/>
            <ac:spMk id="2" creationId="{FF7AC70C-BA9A-4A62-B7BA-B5098227E4E9}"/>
          </ac:spMkLst>
        </pc:spChg>
        <pc:spChg chg="mod ord">
          <ac:chgData name="Batuhan Yildiz" userId="90f344fc-4655-4923-aeaf-697bba59c1a7" providerId="ADAL" clId="{0254B5F4-966E-4F95-9283-C5214D39B1CA}" dt="2020-05-22T01:54:14.734" v="106" actId="700"/>
          <ac:spMkLst>
            <pc:docMk/>
            <pc:sldMk cId="120752799" sldId="624"/>
            <ac:spMk id="3" creationId="{A269FBF2-C187-41DF-85F8-8E285981E942}"/>
          </ac:spMkLst>
        </pc:spChg>
        <pc:spChg chg="del mod ord">
          <ac:chgData name="Batuhan Yildiz" userId="90f344fc-4655-4923-aeaf-697bba59c1a7" providerId="ADAL" clId="{0254B5F4-966E-4F95-9283-C5214D39B1CA}" dt="2020-05-22T01:54:44.734" v="110" actId="12084"/>
          <ac:spMkLst>
            <pc:docMk/>
            <pc:sldMk cId="120752799" sldId="624"/>
            <ac:spMk id="4" creationId="{BB405A71-C0F9-4A11-817B-A32A7886BFE6}"/>
          </ac:spMkLst>
        </pc:spChg>
        <pc:graphicFrameChg chg="add mod">
          <ac:chgData name="Batuhan Yildiz" userId="90f344fc-4655-4923-aeaf-697bba59c1a7" providerId="ADAL" clId="{0254B5F4-966E-4F95-9283-C5214D39B1CA}" dt="2020-05-22T01:55:45.053" v="118" actId="255"/>
          <ac:graphicFrameMkLst>
            <pc:docMk/>
            <pc:sldMk cId="120752799" sldId="624"/>
            <ac:graphicFrameMk id="6" creationId="{A48064B6-0D02-4896-BD61-055791184F24}"/>
          </ac:graphicFrameMkLst>
        </pc:graphicFrameChg>
        <pc:picChg chg="mod">
          <ac:chgData name="Batuhan Yildiz" userId="90f344fc-4655-4923-aeaf-697bba59c1a7" providerId="ADAL" clId="{0254B5F4-966E-4F95-9283-C5214D39B1CA}" dt="2020-05-22T01:54:26.420" v="108" actId="1076"/>
          <ac:picMkLst>
            <pc:docMk/>
            <pc:sldMk cId="120752799" sldId="624"/>
            <ac:picMk id="5" creationId="{CF15D243-DF92-42B4-9084-776FD9724855}"/>
          </ac:picMkLst>
        </pc:picChg>
      </pc:sldChg>
      <pc:sldChg chg="modSp mod modClrScheme chgLayout">
        <pc:chgData name="Batuhan Yildiz" userId="90f344fc-4655-4923-aeaf-697bba59c1a7" providerId="ADAL" clId="{0254B5F4-966E-4F95-9283-C5214D39B1CA}" dt="2020-05-22T01:56:03.848" v="121" actId="700"/>
        <pc:sldMkLst>
          <pc:docMk/>
          <pc:sldMk cId="2862873360" sldId="625"/>
        </pc:sldMkLst>
        <pc:spChg chg="mod ord">
          <ac:chgData name="Batuhan Yildiz" userId="90f344fc-4655-4923-aeaf-697bba59c1a7" providerId="ADAL" clId="{0254B5F4-966E-4F95-9283-C5214D39B1CA}" dt="2020-05-22T01:56:03.848" v="121" actId="700"/>
          <ac:spMkLst>
            <pc:docMk/>
            <pc:sldMk cId="2862873360" sldId="625"/>
            <ac:spMk id="2" creationId="{228C6FC9-870B-49ED-AEFD-FFEAC2EEC55F}"/>
          </ac:spMkLst>
        </pc:spChg>
        <pc:spChg chg="mod ord">
          <ac:chgData name="Batuhan Yildiz" userId="90f344fc-4655-4923-aeaf-697bba59c1a7" providerId="ADAL" clId="{0254B5F4-966E-4F95-9283-C5214D39B1CA}" dt="2020-05-22T01:56:03.848" v="121" actId="700"/>
          <ac:spMkLst>
            <pc:docMk/>
            <pc:sldMk cId="2862873360" sldId="625"/>
            <ac:spMk id="3" creationId="{EDC058A2-232E-4778-B251-C4427A7F234A}"/>
          </ac:spMkLst>
        </pc:spChg>
        <pc:spChg chg="mod ord">
          <ac:chgData name="Batuhan Yildiz" userId="90f344fc-4655-4923-aeaf-697bba59c1a7" providerId="ADAL" clId="{0254B5F4-966E-4F95-9283-C5214D39B1CA}" dt="2020-05-22T01:56:03.848" v="121" actId="700"/>
          <ac:spMkLst>
            <pc:docMk/>
            <pc:sldMk cId="2862873360" sldId="625"/>
            <ac:spMk id="4" creationId="{756A39DF-E0F0-457E-9FD2-C55A02BE6026}"/>
          </ac:spMkLst>
        </pc:spChg>
      </pc:sldChg>
      <pc:sldChg chg="modSp modNotesTx">
        <pc:chgData name="Batuhan Yildiz" userId="90f344fc-4655-4923-aeaf-697bba59c1a7" providerId="ADAL" clId="{0254B5F4-966E-4F95-9283-C5214D39B1CA}" dt="2020-05-22T01:57:48.739" v="131" actId="6549"/>
        <pc:sldMkLst>
          <pc:docMk/>
          <pc:sldMk cId="738690530" sldId="626"/>
        </pc:sldMkLst>
        <pc:graphicFrameChg chg="mod">
          <ac:chgData name="Batuhan Yildiz" userId="90f344fc-4655-4923-aeaf-697bba59c1a7" providerId="ADAL" clId="{0254B5F4-966E-4F95-9283-C5214D39B1CA}" dt="2020-05-22T01:57:21.652" v="127" actId="12100"/>
          <ac:graphicFrameMkLst>
            <pc:docMk/>
            <pc:sldMk cId="738690530" sldId="626"/>
            <ac:graphicFrameMk id="5" creationId="{D48D6338-D593-460A-874C-4611E69E7AF0}"/>
          </ac:graphicFrameMkLst>
        </pc:graphicFrameChg>
      </pc:sldChg>
      <pc:sldChg chg="modSp mod chgLayout">
        <pc:chgData name="Batuhan Yildiz" userId="90f344fc-4655-4923-aeaf-697bba59c1a7" providerId="ADAL" clId="{0254B5F4-966E-4F95-9283-C5214D39B1CA}" dt="2020-05-22T01:58:41.888" v="137" actId="14100"/>
        <pc:sldMkLst>
          <pc:docMk/>
          <pc:sldMk cId="2665972638" sldId="627"/>
        </pc:sldMkLst>
        <pc:spChg chg="mod ord">
          <ac:chgData name="Batuhan Yildiz" userId="90f344fc-4655-4923-aeaf-697bba59c1a7" providerId="ADAL" clId="{0254B5F4-966E-4F95-9283-C5214D39B1CA}" dt="2020-05-22T01:58:06.398" v="133" actId="700"/>
          <ac:spMkLst>
            <pc:docMk/>
            <pc:sldMk cId="2665972638" sldId="627"/>
            <ac:spMk id="2" creationId="{ED9E99AA-37E3-44DC-AB64-31B17B8DCDEA}"/>
          </ac:spMkLst>
        </pc:spChg>
        <pc:spChg chg="mod ord">
          <ac:chgData name="Batuhan Yildiz" userId="90f344fc-4655-4923-aeaf-697bba59c1a7" providerId="ADAL" clId="{0254B5F4-966E-4F95-9283-C5214D39B1CA}" dt="2020-05-22T01:58:06.398" v="133" actId="700"/>
          <ac:spMkLst>
            <pc:docMk/>
            <pc:sldMk cId="2665972638" sldId="627"/>
            <ac:spMk id="3" creationId="{6C91DB35-7BB7-4B74-8D2E-28903142958D}"/>
          </ac:spMkLst>
        </pc:spChg>
        <pc:spChg chg="mod ord">
          <ac:chgData name="Batuhan Yildiz" userId="90f344fc-4655-4923-aeaf-697bba59c1a7" providerId="ADAL" clId="{0254B5F4-966E-4F95-9283-C5214D39B1CA}" dt="2020-05-22T01:58:06.398" v="133" actId="700"/>
          <ac:spMkLst>
            <pc:docMk/>
            <pc:sldMk cId="2665972638" sldId="627"/>
            <ac:spMk id="4" creationId="{86C8B48E-28BA-412C-BE61-5F48A4A0CF4C}"/>
          </ac:spMkLst>
        </pc:spChg>
        <pc:grpChg chg="mod">
          <ac:chgData name="Batuhan Yildiz" userId="90f344fc-4655-4923-aeaf-697bba59c1a7" providerId="ADAL" clId="{0254B5F4-966E-4F95-9283-C5214D39B1CA}" dt="2020-05-22T01:58:41.888" v="137" actId="14100"/>
          <ac:grpSpMkLst>
            <pc:docMk/>
            <pc:sldMk cId="2665972638" sldId="627"/>
            <ac:grpSpMk id="8" creationId="{79374558-C351-47AB-B978-17D8AFA84837}"/>
          </ac:grpSpMkLst>
        </pc:grpChg>
        <pc:picChg chg="mod">
          <ac:chgData name="Batuhan Yildiz" userId="90f344fc-4655-4923-aeaf-697bba59c1a7" providerId="ADAL" clId="{0254B5F4-966E-4F95-9283-C5214D39B1CA}" dt="2020-05-22T01:58:41.888" v="137" actId="14100"/>
          <ac:picMkLst>
            <pc:docMk/>
            <pc:sldMk cId="2665972638" sldId="627"/>
            <ac:picMk id="5" creationId="{5095AB11-AFCD-4335-91DE-CEC94C2773C7}"/>
          </ac:picMkLst>
        </pc:picChg>
        <pc:picChg chg="mod">
          <ac:chgData name="Batuhan Yildiz" userId="90f344fc-4655-4923-aeaf-697bba59c1a7" providerId="ADAL" clId="{0254B5F4-966E-4F95-9283-C5214D39B1CA}" dt="2020-05-22T01:58:41.888" v="137" actId="14100"/>
          <ac:picMkLst>
            <pc:docMk/>
            <pc:sldMk cId="2665972638" sldId="627"/>
            <ac:picMk id="6" creationId="{AF429B1E-7775-45B6-A97D-035B6D13EE06}"/>
          </ac:picMkLst>
        </pc:picChg>
        <pc:cxnChg chg="mod">
          <ac:chgData name="Batuhan Yildiz" userId="90f344fc-4655-4923-aeaf-697bba59c1a7" providerId="ADAL" clId="{0254B5F4-966E-4F95-9283-C5214D39B1CA}" dt="2020-05-22T01:58:41.888" v="137" actId="14100"/>
          <ac:cxnSpMkLst>
            <pc:docMk/>
            <pc:sldMk cId="2665972638" sldId="627"/>
            <ac:cxnSpMk id="7" creationId="{37CC9D34-8821-48F7-A3D8-ABD6EF0D4677}"/>
          </ac:cxnSpMkLst>
        </pc:cxnChg>
      </pc:sldChg>
      <pc:sldChg chg="modSp mod">
        <pc:chgData name="Batuhan Yildiz" userId="90f344fc-4655-4923-aeaf-697bba59c1a7" providerId="ADAL" clId="{0254B5F4-966E-4F95-9283-C5214D39B1CA}" dt="2020-05-22T01:58:32.459" v="135" actId="14100"/>
        <pc:sldMkLst>
          <pc:docMk/>
          <pc:sldMk cId="3814048964" sldId="628"/>
        </pc:sldMkLst>
        <pc:grpChg chg="mod">
          <ac:chgData name="Batuhan Yildiz" userId="90f344fc-4655-4923-aeaf-697bba59c1a7" providerId="ADAL" clId="{0254B5F4-966E-4F95-9283-C5214D39B1CA}" dt="2020-05-22T01:58:32.459" v="135" actId="14100"/>
          <ac:grpSpMkLst>
            <pc:docMk/>
            <pc:sldMk cId="3814048964" sldId="628"/>
            <ac:grpSpMk id="5" creationId="{F413E347-17BC-4786-9B5F-8CD084B7EDDB}"/>
          </ac:grpSpMkLst>
        </pc:grpChg>
      </pc:sldChg>
      <pc:sldChg chg="modSp mod">
        <pc:chgData name="Batuhan Yildiz" userId="90f344fc-4655-4923-aeaf-697bba59c1a7" providerId="ADAL" clId="{0254B5F4-966E-4F95-9283-C5214D39B1CA}" dt="2020-05-22T02:02:53.367" v="177" actId="1076"/>
        <pc:sldMkLst>
          <pc:docMk/>
          <pc:sldMk cId="477690210" sldId="629"/>
        </pc:sldMkLst>
        <pc:picChg chg="mod">
          <ac:chgData name="Batuhan Yildiz" userId="90f344fc-4655-4923-aeaf-697bba59c1a7" providerId="ADAL" clId="{0254B5F4-966E-4F95-9283-C5214D39B1CA}" dt="2020-05-22T02:02:53.367" v="177" actId="1076"/>
          <ac:picMkLst>
            <pc:docMk/>
            <pc:sldMk cId="477690210" sldId="629"/>
            <ac:picMk id="11" creationId="{51ADF6DC-D03B-4CE8-921F-59147DE93FA8}"/>
          </ac:picMkLst>
        </pc:picChg>
      </pc:sldChg>
      <pc:sldChg chg="modSp mod modClrScheme chgLayout">
        <pc:chgData name="Batuhan Yildiz" userId="90f344fc-4655-4923-aeaf-697bba59c1a7" providerId="ADAL" clId="{0254B5F4-966E-4F95-9283-C5214D39B1CA}" dt="2020-05-22T02:04:02.525" v="183" actId="255"/>
        <pc:sldMkLst>
          <pc:docMk/>
          <pc:sldMk cId="2579723068" sldId="630"/>
        </pc:sldMkLst>
        <pc:spChg chg="mod ord">
          <ac:chgData name="Batuhan Yildiz" userId="90f344fc-4655-4923-aeaf-697bba59c1a7" providerId="ADAL" clId="{0254B5F4-966E-4F95-9283-C5214D39B1CA}" dt="2020-05-22T02:03:47.323" v="182" actId="700"/>
          <ac:spMkLst>
            <pc:docMk/>
            <pc:sldMk cId="2579723068" sldId="630"/>
            <ac:spMk id="2" creationId="{314751D6-A0D5-48CB-8132-0BD0278E0AFB}"/>
          </ac:spMkLst>
        </pc:spChg>
        <pc:graphicFrameChg chg="mod ord">
          <ac:chgData name="Batuhan Yildiz" userId="90f344fc-4655-4923-aeaf-697bba59c1a7" providerId="ADAL" clId="{0254B5F4-966E-4F95-9283-C5214D39B1CA}" dt="2020-05-22T02:04:02.525" v="183" actId="255"/>
          <ac:graphicFrameMkLst>
            <pc:docMk/>
            <pc:sldMk cId="2579723068" sldId="630"/>
            <ac:graphicFrameMk id="5" creationId="{DBC46F64-1AA7-4968-9494-241F95F9231B}"/>
          </ac:graphicFrameMkLst>
        </pc:graphicFrameChg>
      </pc:sldChg>
      <pc:sldChg chg="modSp">
        <pc:chgData name="Batuhan Yildiz" userId="90f344fc-4655-4923-aeaf-697bba59c1a7" providerId="ADAL" clId="{0254B5F4-966E-4F95-9283-C5214D39B1CA}" dt="2020-05-22T02:03:25.107" v="179" actId="12100"/>
        <pc:sldMkLst>
          <pc:docMk/>
          <pc:sldMk cId="4019356817" sldId="631"/>
        </pc:sldMkLst>
        <pc:graphicFrameChg chg="mod">
          <ac:chgData name="Batuhan Yildiz" userId="90f344fc-4655-4923-aeaf-697bba59c1a7" providerId="ADAL" clId="{0254B5F4-966E-4F95-9283-C5214D39B1CA}" dt="2020-05-22T02:03:25.107" v="179" actId="12100"/>
          <ac:graphicFrameMkLst>
            <pc:docMk/>
            <pc:sldMk cId="4019356817" sldId="631"/>
            <ac:graphicFrameMk id="5" creationId="{FD07C3D9-32E8-4A8D-BBB5-CAF64E36BFD8}"/>
          </ac:graphicFrameMkLst>
        </pc:graphicFrameChg>
      </pc:sldChg>
      <pc:sldChg chg="delSp mod">
        <pc:chgData name="Batuhan Yildiz" userId="90f344fc-4655-4923-aeaf-697bba59c1a7" providerId="ADAL" clId="{0254B5F4-966E-4F95-9283-C5214D39B1CA}" dt="2020-05-22T02:03:02.783" v="178" actId="478"/>
        <pc:sldMkLst>
          <pc:docMk/>
          <pc:sldMk cId="2367546701" sldId="633"/>
        </pc:sldMkLst>
        <pc:spChg chg="del">
          <ac:chgData name="Batuhan Yildiz" userId="90f344fc-4655-4923-aeaf-697bba59c1a7" providerId="ADAL" clId="{0254B5F4-966E-4F95-9283-C5214D39B1CA}" dt="2020-05-22T02:03:02.783" v="178" actId="478"/>
          <ac:spMkLst>
            <pc:docMk/>
            <pc:sldMk cId="2367546701" sldId="633"/>
            <ac:spMk id="3" creationId="{C82981BC-187B-475A-B751-A100F7A3A84B}"/>
          </ac:spMkLst>
        </pc:spChg>
      </pc:sldChg>
      <pc:sldChg chg="addSp delSp modSp mod modClrScheme chgLayout">
        <pc:chgData name="Batuhan Yildiz" userId="90f344fc-4655-4923-aeaf-697bba59c1a7" providerId="ADAL" clId="{0254B5F4-966E-4F95-9283-C5214D39B1CA}" dt="2020-05-22T02:05:07.102" v="189" actId="478"/>
        <pc:sldMkLst>
          <pc:docMk/>
          <pc:sldMk cId="1933118630" sldId="637"/>
        </pc:sldMkLst>
        <pc:spChg chg="mod ord">
          <ac:chgData name="Batuhan Yildiz" userId="90f344fc-4655-4923-aeaf-697bba59c1a7" providerId="ADAL" clId="{0254B5F4-966E-4F95-9283-C5214D39B1CA}" dt="2020-05-22T02:04:58.867" v="187" actId="700"/>
          <ac:spMkLst>
            <pc:docMk/>
            <pc:sldMk cId="1933118630" sldId="637"/>
            <ac:spMk id="2" creationId="{5ED797DC-9097-49F5-B720-F4D3F562F734}"/>
          </ac:spMkLst>
        </pc:spChg>
        <pc:spChg chg="add del mod ord">
          <ac:chgData name="Batuhan Yildiz" userId="90f344fc-4655-4923-aeaf-697bba59c1a7" providerId="ADAL" clId="{0254B5F4-966E-4F95-9283-C5214D39B1CA}" dt="2020-05-22T02:05:07.102" v="189" actId="478"/>
          <ac:spMkLst>
            <pc:docMk/>
            <pc:sldMk cId="1933118630" sldId="637"/>
            <ac:spMk id="4" creationId="{F870F655-9BAC-478B-8E5C-1C2787E5D885}"/>
          </ac:spMkLst>
        </pc:spChg>
        <pc:spChg chg="add del mod">
          <ac:chgData name="Batuhan Yildiz" userId="90f344fc-4655-4923-aeaf-697bba59c1a7" providerId="ADAL" clId="{0254B5F4-966E-4F95-9283-C5214D39B1CA}" dt="2020-05-22T02:05:07.102" v="189" actId="478"/>
          <ac:spMkLst>
            <pc:docMk/>
            <pc:sldMk cId="1933118630" sldId="637"/>
            <ac:spMk id="5" creationId="{06E4FD6D-589F-41CF-94D0-C6E6A124E2A0}"/>
          </ac:spMkLst>
        </pc:spChg>
        <pc:graphicFrameChg chg="mod">
          <ac:chgData name="Batuhan Yildiz" userId="90f344fc-4655-4923-aeaf-697bba59c1a7" providerId="ADAL" clId="{0254B5F4-966E-4F95-9283-C5214D39B1CA}" dt="2020-05-22T02:04:47.028" v="186" actId="12100"/>
          <ac:graphicFrameMkLst>
            <pc:docMk/>
            <pc:sldMk cId="1933118630" sldId="637"/>
            <ac:graphicFrameMk id="6" creationId="{31F4957A-1517-4D10-8F57-453C911B10C6}"/>
          </ac:graphicFrameMkLst>
        </pc:graphicFrameChg>
      </pc:sldChg>
      <pc:sldChg chg="modSp mod modClrScheme chgLayout">
        <pc:chgData name="Batuhan Yildiz" userId="90f344fc-4655-4923-aeaf-697bba59c1a7" providerId="ADAL" clId="{0254B5F4-966E-4F95-9283-C5214D39B1CA}" dt="2020-05-22T02:05:30.763" v="190" actId="700"/>
        <pc:sldMkLst>
          <pc:docMk/>
          <pc:sldMk cId="3432635991" sldId="638"/>
        </pc:sldMkLst>
        <pc:spChg chg="mod ord">
          <ac:chgData name="Batuhan Yildiz" userId="90f344fc-4655-4923-aeaf-697bba59c1a7" providerId="ADAL" clId="{0254B5F4-966E-4F95-9283-C5214D39B1CA}" dt="2020-05-22T02:05:30.763" v="190" actId="700"/>
          <ac:spMkLst>
            <pc:docMk/>
            <pc:sldMk cId="3432635991" sldId="638"/>
            <ac:spMk id="2" creationId="{B281A5D9-963C-4317-B356-4A7E1A8D7D74}"/>
          </ac:spMkLst>
        </pc:spChg>
        <pc:spChg chg="mod ord">
          <ac:chgData name="Batuhan Yildiz" userId="90f344fc-4655-4923-aeaf-697bba59c1a7" providerId="ADAL" clId="{0254B5F4-966E-4F95-9283-C5214D39B1CA}" dt="2020-05-22T02:05:30.763" v="190" actId="700"/>
          <ac:spMkLst>
            <pc:docMk/>
            <pc:sldMk cId="3432635991" sldId="638"/>
            <ac:spMk id="4" creationId="{9E5F6C3F-32FD-41B0-AA7E-62673DD37149}"/>
          </ac:spMkLst>
        </pc:spChg>
      </pc:sldChg>
      <pc:sldChg chg="modSp mod modClrScheme chgLayout">
        <pc:chgData name="Batuhan Yildiz" userId="90f344fc-4655-4923-aeaf-697bba59c1a7" providerId="ADAL" clId="{0254B5F4-966E-4F95-9283-C5214D39B1CA}" dt="2020-05-22T02:05:30.763" v="190" actId="700"/>
        <pc:sldMkLst>
          <pc:docMk/>
          <pc:sldMk cId="1459992327" sldId="639"/>
        </pc:sldMkLst>
        <pc:spChg chg="mod ord">
          <ac:chgData name="Batuhan Yildiz" userId="90f344fc-4655-4923-aeaf-697bba59c1a7" providerId="ADAL" clId="{0254B5F4-966E-4F95-9283-C5214D39B1CA}" dt="2020-05-22T02:05:30.763" v="190" actId="700"/>
          <ac:spMkLst>
            <pc:docMk/>
            <pc:sldMk cId="1459992327" sldId="639"/>
            <ac:spMk id="2" creationId="{7D81DD6B-6EA5-42DA-942A-B374042ADE57}"/>
          </ac:spMkLst>
        </pc:spChg>
        <pc:spChg chg="mod ord">
          <ac:chgData name="Batuhan Yildiz" userId="90f344fc-4655-4923-aeaf-697bba59c1a7" providerId="ADAL" clId="{0254B5F4-966E-4F95-9283-C5214D39B1CA}" dt="2020-05-22T02:05:30.763" v="190" actId="700"/>
          <ac:spMkLst>
            <pc:docMk/>
            <pc:sldMk cId="1459992327" sldId="639"/>
            <ac:spMk id="4" creationId="{89E20844-C3D7-44B5-84C1-E64B49D8A330}"/>
          </ac:spMkLst>
        </pc:spChg>
      </pc:sldChg>
      <pc:sldChg chg="modSp mod modClrScheme chgLayout">
        <pc:chgData name="Batuhan Yildiz" userId="90f344fc-4655-4923-aeaf-697bba59c1a7" providerId="ADAL" clId="{0254B5F4-966E-4F95-9283-C5214D39B1CA}" dt="2020-05-22T02:05:43.646" v="191" actId="12100"/>
        <pc:sldMkLst>
          <pc:docMk/>
          <pc:sldMk cId="3588095766" sldId="640"/>
        </pc:sldMkLst>
        <pc:spChg chg="mod ord">
          <ac:chgData name="Batuhan Yildiz" userId="90f344fc-4655-4923-aeaf-697bba59c1a7" providerId="ADAL" clId="{0254B5F4-966E-4F95-9283-C5214D39B1CA}" dt="2020-05-22T02:05:30.763" v="190" actId="700"/>
          <ac:spMkLst>
            <pc:docMk/>
            <pc:sldMk cId="3588095766" sldId="640"/>
            <ac:spMk id="2" creationId="{60D595A5-A1AE-4387-829F-54CB6944A2E1}"/>
          </ac:spMkLst>
        </pc:spChg>
        <pc:graphicFrameChg chg="mod ord">
          <ac:chgData name="Batuhan Yildiz" userId="90f344fc-4655-4923-aeaf-697bba59c1a7" providerId="ADAL" clId="{0254B5F4-966E-4F95-9283-C5214D39B1CA}" dt="2020-05-22T02:05:43.646" v="191" actId="12100"/>
          <ac:graphicFrameMkLst>
            <pc:docMk/>
            <pc:sldMk cId="3588095766" sldId="640"/>
            <ac:graphicFrameMk id="5" creationId="{EF6236A6-6171-4711-B939-3BE774F4A615}"/>
          </ac:graphicFrameMkLst>
        </pc:graphicFrameChg>
      </pc:sldChg>
      <pc:sldChg chg="addSp delSp modSp mod modClrScheme chgLayout">
        <pc:chgData name="Batuhan Yildiz" userId="90f344fc-4655-4923-aeaf-697bba59c1a7" providerId="ADAL" clId="{0254B5F4-966E-4F95-9283-C5214D39B1CA}" dt="2020-05-22T02:05:57.499" v="192" actId="478"/>
        <pc:sldMkLst>
          <pc:docMk/>
          <pc:sldMk cId="291468127" sldId="641"/>
        </pc:sldMkLst>
        <pc:spChg chg="mod ord">
          <ac:chgData name="Batuhan Yildiz" userId="90f344fc-4655-4923-aeaf-697bba59c1a7" providerId="ADAL" clId="{0254B5F4-966E-4F95-9283-C5214D39B1CA}" dt="2020-05-22T02:05:30.763" v="190" actId="700"/>
          <ac:spMkLst>
            <pc:docMk/>
            <pc:sldMk cId="291468127" sldId="641"/>
            <ac:spMk id="2" creationId="{59E61D67-A463-43BA-8449-EB2E0ACE2C31}"/>
          </ac:spMkLst>
        </pc:spChg>
        <pc:spChg chg="add del mod ord">
          <ac:chgData name="Batuhan Yildiz" userId="90f344fc-4655-4923-aeaf-697bba59c1a7" providerId="ADAL" clId="{0254B5F4-966E-4F95-9283-C5214D39B1CA}" dt="2020-05-22T02:05:57.499" v="192" actId="478"/>
          <ac:spMkLst>
            <pc:docMk/>
            <pc:sldMk cId="291468127" sldId="641"/>
            <ac:spMk id="3" creationId="{BD0A9AD2-B738-4CE1-8A35-661DC5DEECB0}"/>
          </ac:spMkLst>
        </pc:spChg>
      </pc:sldChg>
      <pc:sldChg chg="modSp">
        <pc:chgData name="Batuhan Yildiz" userId="90f344fc-4655-4923-aeaf-697bba59c1a7" providerId="ADAL" clId="{0254B5F4-966E-4F95-9283-C5214D39B1CA}" dt="2020-05-22T02:04:29.459" v="185" actId="12100"/>
        <pc:sldMkLst>
          <pc:docMk/>
          <pc:sldMk cId="536156213" sldId="646"/>
        </pc:sldMkLst>
        <pc:graphicFrameChg chg="mod">
          <ac:chgData name="Batuhan Yildiz" userId="90f344fc-4655-4923-aeaf-697bba59c1a7" providerId="ADAL" clId="{0254B5F4-966E-4F95-9283-C5214D39B1CA}" dt="2020-05-22T02:04:29.459" v="185" actId="12100"/>
          <ac:graphicFrameMkLst>
            <pc:docMk/>
            <pc:sldMk cId="536156213" sldId="646"/>
            <ac:graphicFrameMk id="5" creationId="{951F87FE-A7DB-4594-9534-11EE3F5DEE97}"/>
          </ac:graphicFrameMkLst>
        </pc:graphicFrameChg>
      </pc:sldChg>
      <pc:sldChg chg="modSp">
        <pc:chgData name="Batuhan Yildiz" userId="90f344fc-4655-4923-aeaf-697bba59c1a7" providerId="ADAL" clId="{0254B5F4-966E-4F95-9283-C5214D39B1CA}" dt="2020-05-22T01:33:56.021" v="9" actId="12100"/>
        <pc:sldMkLst>
          <pc:docMk/>
          <pc:sldMk cId="653830727" sldId="650"/>
        </pc:sldMkLst>
        <pc:graphicFrameChg chg="mod">
          <ac:chgData name="Batuhan Yildiz" userId="90f344fc-4655-4923-aeaf-697bba59c1a7" providerId="ADAL" clId="{0254B5F4-966E-4F95-9283-C5214D39B1CA}" dt="2020-05-22T01:33:56.021" v="9" actId="12100"/>
          <ac:graphicFrameMkLst>
            <pc:docMk/>
            <pc:sldMk cId="653830727" sldId="650"/>
            <ac:graphicFrameMk id="5" creationId="{7BF6B113-9D4C-4D94-9A53-DD369DA9457A}"/>
          </ac:graphicFrameMkLst>
        </pc:graphicFrameChg>
      </pc:sldChg>
      <pc:sldChg chg="modSp">
        <pc:chgData name="Batuhan Yildiz" userId="90f344fc-4655-4923-aeaf-697bba59c1a7" providerId="ADAL" clId="{0254B5F4-966E-4F95-9283-C5214D39B1CA}" dt="2020-05-22T01:34:41.554" v="13"/>
        <pc:sldMkLst>
          <pc:docMk/>
          <pc:sldMk cId="3461735569" sldId="651"/>
        </pc:sldMkLst>
        <pc:graphicFrameChg chg="mod">
          <ac:chgData name="Batuhan Yildiz" userId="90f344fc-4655-4923-aeaf-697bba59c1a7" providerId="ADAL" clId="{0254B5F4-966E-4F95-9283-C5214D39B1CA}" dt="2020-05-22T01:34:41.554" v="13"/>
          <ac:graphicFrameMkLst>
            <pc:docMk/>
            <pc:sldMk cId="3461735569" sldId="651"/>
            <ac:graphicFrameMk id="5" creationId="{869613B2-81D2-475A-BE71-A3D1DE973570}"/>
          </ac:graphicFrameMkLst>
        </pc:graphicFrameChg>
      </pc:sldChg>
      <pc:sldChg chg="modSp mod chgLayout">
        <pc:chgData name="Batuhan Yildiz" userId="90f344fc-4655-4923-aeaf-697bba59c1a7" providerId="ADAL" clId="{0254B5F4-966E-4F95-9283-C5214D39B1CA}" dt="2020-05-22T01:32:31.477" v="4" actId="14100"/>
        <pc:sldMkLst>
          <pc:docMk/>
          <pc:sldMk cId="939928185" sldId="652"/>
        </pc:sldMkLst>
        <pc:spChg chg="mod ord">
          <ac:chgData name="Batuhan Yildiz" userId="90f344fc-4655-4923-aeaf-697bba59c1a7" providerId="ADAL" clId="{0254B5F4-966E-4F95-9283-C5214D39B1CA}" dt="2020-05-22T01:32:16.724" v="2" actId="700"/>
          <ac:spMkLst>
            <pc:docMk/>
            <pc:sldMk cId="939928185" sldId="652"/>
            <ac:spMk id="2" creationId="{EB67312A-9819-43C6-8D84-D9136E6CFFCC}"/>
          </ac:spMkLst>
        </pc:spChg>
        <pc:spChg chg="mod ord">
          <ac:chgData name="Batuhan Yildiz" userId="90f344fc-4655-4923-aeaf-697bba59c1a7" providerId="ADAL" clId="{0254B5F4-966E-4F95-9283-C5214D39B1CA}" dt="2020-05-22T01:32:16.724" v="2" actId="700"/>
          <ac:spMkLst>
            <pc:docMk/>
            <pc:sldMk cId="939928185" sldId="652"/>
            <ac:spMk id="3" creationId="{F35E8CBB-5A7D-4DEF-BAF7-8DD5D042F9E0}"/>
          </ac:spMkLst>
        </pc:spChg>
        <pc:graphicFrameChg chg="mod ord">
          <ac:chgData name="Batuhan Yildiz" userId="90f344fc-4655-4923-aeaf-697bba59c1a7" providerId="ADAL" clId="{0254B5F4-966E-4F95-9283-C5214D39B1CA}" dt="2020-05-22T01:32:31.477" v="4" actId="14100"/>
          <ac:graphicFrameMkLst>
            <pc:docMk/>
            <pc:sldMk cId="939928185" sldId="652"/>
            <ac:graphicFrameMk id="5" creationId="{F06C3C49-98DB-4B1F-90FC-72E180BA3310}"/>
          </ac:graphicFrameMkLst>
        </pc:graphicFrameChg>
        <pc:picChg chg="mod">
          <ac:chgData name="Batuhan Yildiz" userId="90f344fc-4655-4923-aeaf-697bba59c1a7" providerId="ADAL" clId="{0254B5F4-966E-4F95-9283-C5214D39B1CA}" dt="2020-05-22T01:32:25.040" v="3" actId="1076"/>
          <ac:picMkLst>
            <pc:docMk/>
            <pc:sldMk cId="939928185" sldId="652"/>
            <ac:picMk id="2050" creationId="{DA962296-F90D-458A-8D9A-1EF1B01E568B}"/>
          </ac:picMkLst>
        </pc:picChg>
      </pc:sldChg>
      <pc:sldChg chg="modSp mod chgLayout">
        <pc:chgData name="Batuhan Yildiz" userId="90f344fc-4655-4923-aeaf-697bba59c1a7" providerId="ADAL" clId="{0254B5F4-966E-4F95-9283-C5214D39B1CA}" dt="2020-05-22T01:32:54.051" v="6" actId="12100"/>
        <pc:sldMkLst>
          <pc:docMk/>
          <pc:sldMk cId="2155057141" sldId="653"/>
        </pc:sldMkLst>
        <pc:spChg chg="mod ord">
          <ac:chgData name="Batuhan Yildiz" userId="90f344fc-4655-4923-aeaf-697bba59c1a7" providerId="ADAL" clId="{0254B5F4-966E-4F95-9283-C5214D39B1CA}" dt="2020-05-22T01:32:45.059" v="5" actId="700"/>
          <ac:spMkLst>
            <pc:docMk/>
            <pc:sldMk cId="2155057141" sldId="653"/>
            <ac:spMk id="2" creationId="{EB67312A-9819-43C6-8D84-D9136E6CFFCC}"/>
          </ac:spMkLst>
        </pc:spChg>
        <pc:spChg chg="mod ord">
          <ac:chgData name="Batuhan Yildiz" userId="90f344fc-4655-4923-aeaf-697bba59c1a7" providerId="ADAL" clId="{0254B5F4-966E-4F95-9283-C5214D39B1CA}" dt="2020-05-22T01:32:45.059" v="5" actId="700"/>
          <ac:spMkLst>
            <pc:docMk/>
            <pc:sldMk cId="2155057141" sldId="653"/>
            <ac:spMk id="3" creationId="{F35E8CBB-5A7D-4DEF-BAF7-8DD5D042F9E0}"/>
          </ac:spMkLst>
        </pc:spChg>
        <pc:graphicFrameChg chg="mod ord">
          <ac:chgData name="Batuhan Yildiz" userId="90f344fc-4655-4923-aeaf-697bba59c1a7" providerId="ADAL" clId="{0254B5F4-966E-4F95-9283-C5214D39B1CA}" dt="2020-05-22T01:32:54.051" v="6" actId="12100"/>
          <ac:graphicFrameMkLst>
            <pc:docMk/>
            <pc:sldMk cId="2155057141" sldId="653"/>
            <ac:graphicFrameMk id="5" creationId="{291C9DC9-1986-483A-8AA7-02A5ABC9B810}"/>
          </ac:graphicFrameMkLst>
        </pc:graphicFrameChg>
      </pc:sldChg>
      <pc:sldChg chg="modSp del mod modClrScheme chgLayout">
        <pc:chgData name="Batuhan Yildiz" userId="90f344fc-4655-4923-aeaf-697bba59c1a7" providerId="ADAL" clId="{0254B5F4-966E-4F95-9283-C5214D39B1CA}" dt="2020-05-22T01:35:10.308" v="18" actId="2696"/>
        <pc:sldMkLst>
          <pc:docMk/>
          <pc:sldMk cId="424115361" sldId="660"/>
        </pc:sldMkLst>
        <pc:spChg chg="mod ord">
          <ac:chgData name="Batuhan Yildiz" userId="90f344fc-4655-4923-aeaf-697bba59c1a7" providerId="ADAL" clId="{0254B5F4-966E-4F95-9283-C5214D39B1CA}" dt="2020-05-22T01:34:57.213" v="14" actId="700"/>
          <ac:spMkLst>
            <pc:docMk/>
            <pc:sldMk cId="424115361" sldId="660"/>
            <ac:spMk id="2" creationId="{E2F6B3C5-2D03-472F-ADDE-BB817AB401D7}"/>
          </ac:spMkLst>
        </pc:spChg>
        <pc:spChg chg="mod ord">
          <ac:chgData name="Batuhan Yildiz" userId="90f344fc-4655-4923-aeaf-697bba59c1a7" providerId="ADAL" clId="{0254B5F4-966E-4F95-9283-C5214D39B1CA}" dt="2020-05-22T01:35:08.145" v="16" actId="12"/>
          <ac:spMkLst>
            <pc:docMk/>
            <pc:sldMk cId="424115361" sldId="660"/>
            <ac:spMk id="4" creationId="{D5861A11-DA26-4FEC-99B1-AA665EE14FF6}"/>
          </ac:spMkLst>
        </pc:spChg>
      </pc:sldChg>
      <pc:sldChg chg="modSp mod">
        <pc:chgData name="Batuhan Yildiz" userId="90f344fc-4655-4923-aeaf-697bba59c1a7" providerId="ADAL" clId="{0254B5F4-966E-4F95-9283-C5214D39B1CA}" dt="2020-05-22T01:59:39.125" v="139" actId="1076"/>
        <pc:sldMkLst>
          <pc:docMk/>
          <pc:sldMk cId="2208586234" sldId="661"/>
        </pc:sldMkLst>
        <pc:grpChg chg="mod">
          <ac:chgData name="Batuhan Yildiz" userId="90f344fc-4655-4923-aeaf-697bba59c1a7" providerId="ADAL" clId="{0254B5F4-966E-4F95-9283-C5214D39B1CA}" dt="2020-05-22T01:59:39.125" v="139" actId="1076"/>
          <ac:grpSpMkLst>
            <pc:docMk/>
            <pc:sldMk cId="2208586234" sldId="661"/>
            <ac:grpSpMk id="31" creationId="{E56A4359-739B-4F12-B664-887260FE8583}"/>
          </ac:grpSpMkLst>
        </pc:grpChg>
      </pc:sldChg>
      <pc:sldChg chg="modSp mod modClrScheme chgLayout">
        <pc:chgData name="Batuhan Yildiz" userId="90f344fc-4655-4923-aeaf-697bba59c1a7" providerId="ADAL" clId="{0254B5F4-966E-4F95-9283-C5214D39B1CA}" dt="2020-05-22T01:59:58.765" v="162" actId="700"/>
        <pc:sldMkLst>
          <pc:docMk/>
          <pc:sldMk cId="3467512254" sldId="662"/>
        </pc:sldMkLst>
        <pc:spChg chg="mod ord">
          <ac:chgData name="Batuhan Yildiz" userId="90f344fc-4655-4923-aeaf-697bba59c1a7" providerId="ADAL" clId="{0254B5F4-966E-4F95-9283-C5214D39B1CA}" dt="2020-05-22T01:59:58.765" v="162" actId="700"/>
          <ac:spMkLst>
            <pc:docMk/>
            <pc:sldMk cId="3467512254" sldId="662"/>
            <ac:spMk id="2" creationId="{94839F5D-162F-4769-AB09-6F694188AA4C}"/>
          </ac:spMkLst>
        </pc:spChg>
        <pc:graphicFrameChg chg="mod ord modGraphic">
          <ac:chgData name="Batuhan Yildiz" userId="90f344fc-4655-4923-aeaf-697bba59c1a7" providerId="ADAL" clId="{0254B5F4-966E-4F95-9283-C5214D39B1CA}" dt="2020-05-22T01:59:58.765" v="162" actId="700"/>
          <ac:graphicFrameMkLst>
            <pc:docMk/>
            <pc:sldMk cId="3467512254" sldId="662"/>
            <ac:graphicFrameMk id="9" creationId="{7211203A-06D1-4275-BE0B-A6F63E7764AC}"/>
          </ac:graphicFrameMkLst>
        </pc:graphicFrameChg>
      </pc:sldChg>
      <pc:sldChg chg="addSp delSp modSp mod modClrScheme chgLayout">
        <pc:chgData name="Batuhan Yildiz" userId="90f344fc-4655-4923-aeaf-697bba59c1a7" providerId="ADAL" clId="{0254B5F4-966E-4F95-9283-C5214D39B1CA}" dt="2020-05-22T02:01:04.519" v="171" actId="12100"/>
        <pc:sldMkLst>
          <pc:docMk/>
          <pc:sldMk cId="3669873639" sldId="664"/>
        </pc:sldMkLst>
        <pc:spChg chg="mod ord">
          <ac:chgData name="Batuhan Yildiz" userId="90f344fc-4655-4923-aeaf-697bba59c1a7" providerId="ADAL" clId="{0254B5F4-966E-4F95-9283-C5214D39B1CA}" dt="2020-05-22T02:00:26.036" v="163" actId="700"/>
          <ac:spMkLst>
            <pc:docMk/>
            <pc:sldMk cId="3669873639" sldId="664"/>
            <ac:spMk id="2" creationId="{7C3670C4-5C26-4C91-81F6-5A68ED111745}"/>
          </ac:spMkLst>
        </pc:spChg>
        <pc:spChg chg="del mod ord">
          <ac:chgData name="Batuhan Yildiz" userId="90f344fc-4655-4923-aeaf-697bba59c1a7" providerId="ADAL" clId="{0254B5F4-966E-4F95-9283-C5214D39B1CA}" dt="2020-05-22T02:00:56.935" v="169" actId="12084"/>
          <ac:spMkLst>
            <pc:docMk/>
            <pc:sldMk cId="3669873639" sldId="664"/>
            <ac:spMk id="4" creationId="{FEF0851C-FF3A-4F4A-9D57-9DACC0215059}"/>
          </ac:spMkLst>
        </pc:spChg>
        <pc:graphicFrameChg chg="add mod">
          <ac:chgData name="Batuhan Yildiz" userId="90f344fc-4655-4923-aeaf-697bba59c1a7" providerId="ADAL" clId="{0254B5F4-966E-4F95-9283-C5214D39B1CA}" dt="2020-05-22T02:01:04.519" v="171" actId="12100"/>
          <ac:graphicFrameMkLst>
            <pc:docMk/>
            <pc:sldMk cId="3669873639" sldId="664"/>
            <ac:graphicFrameMk id="3" creationId="{62B52ACE-4E8A-453B-8F85-83F8E6EB38AB}"/>
          </ac:graphicFrameMkLst>
        </pc:graphicFrameChg>
      </pc:sldChg>
      <pc:sldChg chg="modSp mod chgLayout">
        <pc:chgData name="Batuhan Yildiz" userId="90f344fc-4655-4923-aeaf-697bba59c1a7" providerId="ADAL" clId="{0254B5F4-966E-4F95-9283-C5214D39B1CA}" dt="2020-05-22T02:01:43.317" v="175" actId="1076"/>
        <pc:sldMkLst>
          <pc:docMk/>
          <pc:sldMk cId="3151014712" sldId="669"/>
        </pc:sldMkLst>
        <pc:spChg chg="mod ord">
          <ac:chgData name="Batuhan Yildiz" userId="90f344fc-4655-4923-aeaf-697bba59c1a7" providerId="ADAL" clId="{0254B5F4-966E-4F95-9283-C5214D39B1CA}" dt="2020-05-22T02:01:15.901" v="172" actId="700"/>
          <ac:spMkLst>
            <pc:docMk/>
            <pc:sldMk cId="3151014712" sldId="669"/>
            <ac:spMk id="2" creationId="{A38C0A7B-81E0-4AD6-8CB1-79618B186971}"/>
          </ac:spMkLst>
        </pc:spChg>
        <pc:spChg chg="mod ord">
          <ac:chgData name="Batuhan Yildiz" userId="90f344fc-4655-4923-aeaf-697bba59c1a7" providerId="ADAL" clId="{0254B5F4-966E-4F95-9283-C5214D39B1CA}" dt="2020-05-22T02:01:15.901" v="172" actId="700"/>
          <ac:spMkLst>
            <pc:docMk/>
            <pc:sldMk cId="3151014712" sldId="669"/>
            <ac:spMk id="3" creationId="{80079579-A2FF-4181-B21D-2CF51E5D6122}"/>
          </ac:spMkLst>
        </pc:spChg>
        <pc:spChg chg="mod ord">
          <ac:chgData name="Batuhan Yildiz" userId="90f344fc-4655-4923-aeaf-697bba59c1a7" providerId="ADAL" clId="{0254B5F4-966E-4F95-9283-C5214D39B1CA}" dt="2020-05-22T02:01:15.901" v="172" actId="700"/>
          <ac:spMkLst>
            <pc:docMk/>
            <pc:sldMk cId="3151014712" sldId="669"/>
            <ac:spMk id="4" creationId="{8FE185CA-318A-471D-BC96-F43921339391}"/>
          </ac:spMkLst>
        </pc:spChg>
        <pc:graphicFrameChg chg="mod">
          <ac:chgData name="Batuhan Yildiz" userId="90f344fc-4655-4923-aeaf-697bba59c1a7" providerId="ADAL" clId="{0254B5F4-966E-4F95-9283-C5214D39B1CA}" dt="2020-05-22T02:01:43.317" v="175" actId="1076"/>
          <ac:graphicFrameMkLst>
            <pc:docMk/>
            <pc:sldMk cId="3151014712" sldId="669"/>
            <ac:graphicFrameMk id="7" creationId="{2B65C78B-CE07-4797-B221-0ED002C91B89}"/>
          </ac:graphicFrameMkLst>
        </pc:graphicFrameChg>
        <pc:picChg chg="mod">
          <ac:chgData name="Batuhan Yildiz" userId="90f344fc-4655-4923-aeaf-697bba59c1a7" providerId="ADAL" clId="{0254B5F4-966E-4F95-9283-C5214D39B1CA}" dt="2020-05-22T02:01:31.003" v="173" actId="1076"/>
          <ac:picMkLst>
            <pc:docMk/>
            <pc:sldMk cId="3151014712" sldId="669"/>
            <ac:picMk id="8" creationId="{A4A8EB61-1353-4292-B3A9-312105526473}"/>
          </ac:picMkLst>
        </pc:picChg>
      </pc:sldChg>
      <pc:sldChg chg="addSp delSp modSp mod chgLayout">
        <pc:chgData name="Batuhan Yildiz" userId="90f344fc-4655-4923-aeaf-697bba59c1a7" providerId="ADAL" clId="{0254B5F4-966E-4F95-9283-C5214D39B1CA}" dt="2020-05-22T01:45:49.499" v="49" actId="12100"/>
        <pc:sldMkLst>
          <pc:docMk/>
          <pc:sldMk cId="3777781783" sldId="670"/>
        </pc:sldMkLst>
        <pc:spChg chg="mod ord">
          <ac:chgData name="Batuhan Yildiz" userId="90f344fc-4655-4923-aeaf-697bba59c1a7" providerId="ADAL" clId="{0254B5F4-966E-4F95-9283-C5214D39B1CA}" dt="2020-05-22T01:41:44.866" v="24" actId="700"/>
          <ac:spMkLst>
            <pc:docMk/>
            <pc:sldMk cId="3777781783" sldId="670"/>
            <ac:spMk id="2" creationId="{A8E6DCE9-9C89-4283-B0E0-34E0C1FB96DA}"/>
          </ac:spMkLst>
        </pc:spChg>
        <pc:spChg chg="add del mod ord">
          <ac:chgData name="Batuhan Yildiz" userId="90f344fc-4655-4923-aeaf-697bba59c1a7" providerId="ADAL" clId="{0254B5F4-966E-4F95-9283-C5214D39B1CA}" dt="2020-05-22T01:45:18.178" v="47" actId="478"/>
          <ac:spMkLst>
            <pc:docMk/>
            <pc:sldMk cId="3777781783" sldId="670"/>
            <ac:spMk id="3" creationId="{4C97CE91-056E-4323-B397-ABB9EFADE597}"/>
          </ac:spMkLst>
        </pc:spChg>
        <pc:spChg chg="add del mod ord">
          <ac:chgData name="Batuhan Yildiz" userId="90f344fc-4655-4923-aeaf-697bba59c1a7" providerId="ADAL" clId="{0254B5F4-966E-4F95-9283-C5214D39B1CA}" dt="2020-05-22T01:45:24.964" v="48" actId="478"/>
          <ac:spMkLst>
            <pc:docMk/>
            <pc:sldMk cId="3777781783" sldId="670"/>
            <ac:spMk id="4" creationId="{EEECE0F6-9843-4C7A-A345-37F101C8836A}"/>
          </ac:spMkLst>
        </pc:spChg>
        <pc:graphicFrameChg chg="mod">
          <ac:chgData name="Batuhan Yildiz" userId="90f344fc-4655-4923-aeaf-697bba59c1a7" providerId="ADAL" clId="{0254B5F4-966E-4F95-9283-C5214D39B1CA}" dt="2020-05-22T01:45:49.499" v="49" actId="12100"/>
          <ac:graphicFrameMkLst>
            <pc:docMk/>
            <pc:sldMk cId="3777781783" sldId="670"/>
            <ac:graphicFrameMk id="8" creationId="{2F32D89F-7A25-444D-9F39-FF1BE00E16DC}"/>
          </ac:graphicFrameMkLst>
        </pc:graphicFrameChg>
      </pc:sldChg>
      <pc:sldChg chg="modSp mod modClrScheme chgLayout">
        <pc:chgData name="Batuhan Yildiz" userId="90f344fc-4655-4923-aeaf-697bba59c1a7" providerId="ADAL" clId="{0254B5F4-966E-4F95-9283-C5214D39B1CA}" dt="2020-05-22T02:07:05.842" v="197" actId="12100"/>
        <pc:sldMkLst>
          <pc:docMk/>
          <pc:sldMk cId="2593387472" sldId="672"/>
        </pc:sldMkLst>
        <pc:spChg chg="mod ord">
          <ac:chgData name="Batuhan Yildiz" userId="90f344fc-4655-4923-aeaf-697bba59c1a7" providerId="ADAL" clId="{0254B5F4-966E-4F95-9283-C5214D39B1CA}" dt="2020-05-22T02:06:43.515" v="193" actId="700"/>
          <ac:spMkLst>
            <pc:docMk/>
            <pc:sldMk cId="2593387472" sldId="672"/>
            <ac:spMk id="2" creationId="{CE8D4DB0-F727-42CD-BB55-06368E4BD1DA}"/>
          </ac:spMkLst>
        </pc:spChg>
        <pc:graphicFrameChg chg="mod ord">
          <ac:chgData name="Batuhan Yildiz" userId="90f344fc-4655-4923-aeaf-697bba59c1a7" providerId="ADAL" clId="{0254B5F4-966E-4F95-9283-C5214D39B1CA}" dt="2020-05-22T02:07:05.842" v="197" actId="12100"/>
          <ac:graphicFrameMkLst>
            <pc:docMk/>
            <pc:sldMk cId="2593387472" sldId="672"/>
            <ac:graphicFrameMk id="6" creationId="{7F0E37CA-36B5-4A4B-9588-5AFF7E11045C}"/>
          </ac:graphicFrameMkLst>
        </pc:graphicFrameChg>
      </pc:sldChg>
      <pc:sldChg chg="addSp delSp modSp mod modClrScheme chgLayout">
        <pc:chgData name="Batuhan Yildiz" userId="90f344fc-4655-4923-aeaf-697bba59c1a7" providerId="ADAL" clId="{0254B5F4-966E-4F95-9283-C5214D39B1CA}" dt="2020-05-22T02:07:18.467" v="198" actId="478"/>
        <pc:sldMkLst>
          <pc:docMk/>
          <pc:sldMk cId="3473839749" sldId="673"/>
        </pc:sldMkLst>
        <pc:spChg chg="mod ord">
          <ac:chgData name="Batuhan Yildiz" userId="90f344fc-4655-4923-aeaf-697bba59c1a7" providerId="ADAL" clId="{0254B5F4-966E-4F95-9283-C5214D39B1CA}" dt="2020-05-22T02:06:43.515" v="193" actId="700"/>
          <ac:spMkLst>
            <pc:docMk/>
            <pc:sldMk cId="3473839749" sldId="673"/>
            <ac:spMk id="2" creationId="{A4C41FE1-60B1-41C8-A0BC-64AE4EFCFD1B}"/>
          </ac:spMkLst>
        </pc:spChg>
        <pc:spChg chg="add del mod ord">
          <ac:chgData name="Batuhan Yildiz" userId="90f344fc-4655-4923-aeaf-697bba59c1a7" providerId="ADAL" clId="{0254B5F4-966E-4F95-9283-C5214D39B1CA}" dt="2020-05-22T02:07:18.467" v="198" actId="478"/>
          <ac:spMkLst>
            <pc:docMk/>
            <pc:sldMk cId="3473839749" sldId="673"/>
            <ac:spMk id="3" creationId="{C2FA48F0-6F11-47EF-9E6B-D38CE7440861}"/>
          </ac:spMkLst>
        </pc:spChg>
      </pc:sldChg>
      <pc:sldChg chg="modSp mod modClrScheme chgLayout">
        <pc:chgData name="Batuhan Yildiz" userId="90f344fc-4655-4923-aeaf-697bba59c1a7" providerId="ADAL" clId="{0254B5F4-966E-4F95-9283-C5214D39B1CA}" dt="2020-05-22T02:06:43.515" v="193" actId="700"/>
        <pc:sldMkLst>
          <pc:docMk/>
          <pc:sldMk cId="1300762399" sldId="674"/>
        </pc:sldMkLst>
        <pc:spChg chg="mod ord">
          <ac:chgData name="Batuhan Yildiz" userId="90f344fc-4655-4923-aeaf-697bba59c1a7" providerId="ADAL" clId="{0254B5F4-966E-4F95-9283-C5214D39B1CA}" dt="2020-05-22T02:06:43.515" v="193" actId="700"/>
          <ac:spMkLst>
            <pc:docMk/>
            <pc:sldMk cId="1300762399" sldId="674"/>
            <ac:spMk id="2" creationId="{DF0EF99E-7833-478B-AFB6-53D15EC85F31}"/>
          </ac:spMkLst>
        </pc:spChg>
        <pc:spChg chg="mod ord">
          <ac:chgData name="Batuhan Yildiz" userId="90f344fc-4655-4923-aeaf-697bba59c1a7" providerId="ADAL" clId="{0254B5F4-966E-4F95-9283-C5214D39B1CA}" dt="2020-05-22T02:06:43.515" v="193" actId="700"/>
          <ac:spMkLst>
            <pc:docMk/>
            <pc:sldMk cId="1300762399" sldId="674"/>
            <ac:spMk id="4" creationId="{A917FD24-2EAC-48F0-BAF8-082E2FA65575}"/>
          </ac:spMkLst>
        </pc:spChg>
      </pc:sldChg>
      <pc:sldChg chg="modSp mod modClrScheme chgLayout">
        <pc:chgData name="Batuhan Yildiz" userId="90f344fc-4655-4923-aeaf-697bba59c1a7" providerId="ADAL" clId="{0254B5F4-966E-4F95-9283-C5214D39B1CA}" dt="2020-05-22T02:06:43.515" v="193" actId="700"/>
        <pc:sldMkLst>
          <pc:docMk/>
          <pc:sldMk cId="1851708808" sldId="675"/>
        </pc:sldMkLst>
        <pc:spChg chg="mod ord">
          <ac:chgData name="Batuhan Yildiz" userId="90f344fc-4655-4923-aeaf-697bba59c1a7" providerId="ADAL" clId="{0254B5F4-966E-4F95-9283-C5214D39B1CA}" dt="2020-05-22T02:06:43.515" v="193" actId="700"/>
          <ac:spMkLst>
            <pc:docMk/>
            <pc:sldMk cId="1851708808" sldId="675"/>
            <ac:spMk id="2" creationId="{518943CA-FA7C-4DEA-88B5-B372CD452089}"/>
          </ac:spMkLst>
        </pc:spChg>
        <pc:spChg chg="mod ord">
          <ac:chgData name="Batuhan Yildiz" userId="90f344fc-4655-4923-aeaf-697bba59c1a7" providerId="ADAL" clId="{0254B5F4-966E-4F95-9283-C5214D39B1CA}" dt="2020-05-22T02:06:43.515" v="193" actId="700"/>
          <ac:spMkLst>
            <pc:docMk/>
            <pc:sldMk cId="1851708808" sldId="675"/>
            <ac:spMk id="4" creationId="{F8DD0E4E-51B5-40C3-BB52-CF0E5591B6C3}"/>
          </ac:spMkLst>
        </pc:spChg>
      </pc:sldChg>
      <pc:sldChg chg="modSp mod modClrScheme chgLayout">
        <pc:chgData name="Batuhan Yildiz" userId="90f344fc-4655-4923-aeaf-697bba59c1a7" providerId="ADAL" clId="{0254B5F4-966E-4F95-9283-C5214D39B1CA}" dt="2020-05-22T02:06:43.515" v="193" actId="700"/>
        <pc:sldMkLst>
          <pc:docMk/>
          <pc:sldMk cId="3299218633" sldId="676"/>
        </pc:sldMkLst>
        <pc:spChg chg="mod ord">
          <ac:chgData name="Batuhan Yildiz" userId="90f344fc-4655-4923-aeaf-697bba59c1a7" providerId="ADAL" clId="{0254B5F4-966E-4F95-9283-C5214D39B1CA}" dt="2020-05-22T02:06:43.515" v="193" actId="700"/>
          <ac:spMkLst>
            <pc:docMk/>
            <pc:sldMk cId="3299218633" sldId="676"/>
            <ac:spMk id="2" creationId="{263D25D5-3AA4-410E-BB9F-EFCBB69D8791}"/>
          </ac:spMkLst>
        </pc:spChg>
        <pc:spChg chg="mod ord">
          <ac:chgData name="Batuhan Yildiz" userId="90f344fc-4655-4923-aeaf-697bba59c1a7" providerId="ADAL" clId="{0254B5F4-966E-4F95-9283-C5214D39B1CA}" dt="2020-05-22T02:06:43.515" v="193" actId="700"/>
          <ac:spMkLst>
            <pc:docMk/>
            <pc:sldMk cId="3299218633" sldId="676"/>
            <ac:spMk id="4" creationId="{A9D1E6B2-00CD-46D7-B956-32AAE3A5FBF1}"/>
          </ac:spMkLst>
        </pc:spChg>
      </pc:sldChg>
      <pc:sldChg chg="modSp mod modClrScheme chgLayout">
        <pc:chgData name="Batuhan Yildiz" userId="90f344fc-4655-4923-aeaf-697bba59c1a7" providerId="ADAL" clId="{0254B5F4-966E-4F95-9283-C5214D39B1CA}" dt="2020-05-22T02:06:43.515" v="193" actId="700"/>
        <pc:sldMkLst>
          <pc:docMk/>
          <pc:sldMk cId="3299027233" sldId="677"/>
        </pc:sldMkLst>
        <pc:spChg chg="mod ord">
          <ac:chgData name="Batuhan Yildiz" userId="90f344fc-4655-4923-aeaf-697bba59c1a7" providerId="ADAL" clId="{0254B5F4-966E-4F95-9283-C5214D39B1CA}" dt="2020-05-22T02:06:43.515" v="193" actId="700"/>
          <ac:spMkLst>
            <pc:docMk/>
            <pc:sldMk cId="3299027233" sldId="677"/>
            <ac:spMk id="2" creationId="{EB8C4969-B6CC-48B4-AD04-99E863C0991F}"/>
          </ac:spMkLst>
        </pc:spChg>
        <pc:spChg chg="mod ord">
          <ac:chgData name="Batuhan Yildiz" userId="90f344fc-4655-4923-aeaf-697bba59c1a7" providerId="ADAL" clId="{0254B5F4-966E-4F95-9283-C5214D39B1CA}" dt="2020-05-22T02:06:43.515" v="193" actId="700"/>
          <ac:spMkLst>
            <pc:docMk/>
            <pc:sldMk cId="3299027233" sldId="677"/>
            <ac:spMk id="4" creationId="{7EC35A15-26A4-4D84-8636-6034C78CF9DD}"/>
          </ac:spMkLst>
        </pc:spChg>
      </pc:sldChg>
      <pc:sldChg chg="modSp mod modClrScheme chgLayout">
        <pc:chgData name="Batuhan Yildiz" userId="90f344fc-4655-4923-aeaf-697bba59c1a7" providerId="ADAL" clId="{0254B5F4-966E-4F95-9283-C5214D39B1CA}" dt="2020-05-22T02:07:43.721" v="199" actId="12100"/>
        <pc:sldMkLst>
          <pc:docMk/>
          <pc:sldMk cId="3596346425" sldId="678"/>
        </pc:sldMkLst>
        <pc:spChg chg="mod ord">
          <ac:chgData name="Batuhan Yildiz" userId="90f344fc-4655-4923-aeaf-697bba59c1a7" providerId="ADAL" clId="{0254B5F4-966E-4F95-9283-C5214D39B1CA}" dt="2020-05-22T02:06:43.515" v="193" actId="700"/>
          <ac:spMkLst>
            <pc:docMk/>
            <pc:sldMk cId="3596346425" sldId="678"/>
            <ac:spMk id="2" creationId="{D1E452B6-E2D9-4808-A13E-5597AEE2B65E}"/>
          </ac:spMkLst>
        </pc:spChg>
        <pc:graphicFrameChg chg="mod ord">
          <ac:chgData name="Batuhan Yildiz" userId="90f344fc-4655-4923-aeaf-697bba59c1a7" providerId="ADAL" clId="{0254B5F4-966E-4F95-9283-C5214D39B1CA}" dt="2020-05-22T02:07:43.721" v="199" actId="12100"/>
          <ac:graphicFrameMkLst>
            <pc:docMk/>
            <pc:sldMk cId="3596346425" sldId="678"/>
            <ac:graphicFrameMk id="5" creationId="{D2C649BE-99B2-4F64-9715-9F84DFE57F63}"/>
          </ac:graphicFrameMkLst>
        </pc:graphicFrameChg>
      </pc:sldChg>
      <pc:sldChg chg="modSp mod modClrScheme chgLayout">
        <pc:chgData name="Batuhan Yildiz" userId="90f344fc-4655-4923-aeaf-697bba59c1a7" providerId="ADAL" clId="{0254B5F4-966E-4F95-9283-C5214D39B1CA}" dt="2020-05-22T02:07:56.229" v="200" actId="12385"/>
        <pc:sldMkLst>
          <pc:docMk/>
          <pc:sldMk cId="2695069304" sldId="679"/>
        </pc:sldMkLst>
        <pc:spChg chg="mod ord">
          <ac:chgData name="Batuhan Yildiz" userId="90f344fc-4655-4923-aeaf-697bba59c1a7" providerId="ADAL" clId="{0254B5F4-966E-4F95-9283-C5214D39B1CA}" dt="2020-05-22T02:06:43.515" v="193" actId="700"/>
          <ac:spMkLst>
            <pc:docMk/>
            <pc:sldMk cId="2695069304" sldId="679"/>
            <ac:spMk id="2" creationId="{D4D67A8C-1571-4560-AD72-2E77B10AF292}"/>
          </ac:spMkLst>
        </pc:spChg>
        <pc:spChg chg="mod ord">
          <ac:chgData name="Batuhan Yildiz" userId="90f344fc-4655-4923-aeaf-697bba59c1a7" providerId="ADAL" clId="{0254B5F4-966E-4F95-9283-C5214D39B1CA}" dt="2020-05-22T02:06:43.515" v="193" actId="700"/>
          <ac:spMkLst>
            <pc:docMk/>
            <pc:sldMk cId="2695069304" sldId="679"/>
            <ac:spMk id="4" creationId="{B965750F-ED6F-4D17-9B4A-BDF5BAF51D26}"/>
          </ac:spMkLst>
        </pc:spChg>
        <pc:graphicFrameChg chg="modGraphic">
          <ac:chgData name="Batuhan Yildiz" userId="90f344fc-4655-4923-aeaf-697bba59c1a7" providerId="ADAL" clId="{0254B5F4-966E-4F95-9283-C5214D39B1CA}" dt="2020-05-22T02:07:56.229" v="200" actId="12385"/>
          <ac:graphicFrameMkLst>
            <pc:docMk/>
            <pc:sldMk cId="2695069304" sldId="679"/>
            <ac:graphicFrameMk id="6" creationId="{7946A3CD-2207-4CF8-9AC8-0B5177E59961}"/>
          </ac:graphicFrameMkLst>
        </pc:graphicFrameChg>
      </pc:sldChg>
      <pc:sldChg chg="modSp mod modClrScheme chgLayout">
        <pc:chgData name="Batuhan Yildiz" userId="90f344fc-4655-4923-aeaf-697bba59c1a7" providerId="ADAL" clId="{0254B5F4-966E-4F95-9283-C5214D39B1CA}" dt="2020-05-22T02:09:21.506" v="204" actId="255"/>
        <pc:sldMkLst>
          <pc:docMk/>
          <pc:sldMk cId="884684850" sldId="680"/>
        </pc:sldMkLst>
        <pc:spChg chg="mod ord">
          <ac:chgData name="Batuhan Yildiz" userId="90f344fc-4655-4923-aeaf-697bba59c1a7" providerId="ADAL" clId="{0254B5F4-966E-4F95-9283-C5214D39B1CA}" dt="2020-05-22T02:08:33.788" v="201" actId="700"/>
          <ac:spMkLst>
            <pc:docMk/>
            <pc:sldMk cId="884684850" sldId="680"/>
            <ac:spMk id="2" creationId="{9D440642-DF47-4B69-8B63-BDCAE2C95EEA}"/>
          </ac:spMkLst>
        </pc:spChg>
        <pc:spChg chg="mod ord">
          <ac:chgData name="Batuhan Yildiz" userId="90f344fc-4655-4923-aeaf-697bba59c1a7" providerId="ADAL" clId="{0254B5F4-966E-4F95-9283-C5214D39B1CA}" dt="2020-05-22T02:08:33.788" v="201" actId="700"/>
          <ac:spMkLst>
            <pc:docMk/>
            <pc:sldMk cId="884684850" sldId="680"/>
            <ac:spMk id="4" creationId="{CC841386-82FA-420D-8403-6C2CD800EB0A}"/>
          </ac:spMkLst>
        </pc:spChg>
        <pc:spChg chg="mod">
          <ac:chgData name="Batuhan Yildiz" userId="90f344fc-4655-4923-aeaf-697bba59c1a7" providerId="ADAL" clId="{0254B5F4-966E-4F95-9283-C5214D39B1CA}" dt="2020-05-22T02:09:21.506" v="204" actId="255"/>
          <ac:spMkLst>
            <pc:docMk/>
            <pc:sldMk cId="884684850" sldId="680"/>
            <ac:spMk id="6" creationId="{B5B47066-5E4A-4C0A-A6AB-56A1C28C0252}"/>
          </ac:spMkLst>
        </pc:spChg>
        <pc:graphicFrameChg chg="mod">
          <ac:chgData name="Batuhan Yildiz" userId="90f344fc-4655-4923-aeaf-697bba59c1a7" providerId="ADAL" clId="{0254B5F4-966E-4F95-9283-C5214D39B1CA}" dt="2020-05-22T02:08:41.534" v="202" actId="12100"/>
          <ac:graphicFrameMkLst>
            <pc:docMk/>
            <pc:sldMk cId="884684850" sldId="680"/>
            <ac:graphicFrameMk id="8" creationId="{2B644F61-6104-4899-89A9-C7E06B79D2AF}"/>
          </ac:graphicFrameMkLst>
        </pc:graphicFrameChg>
      </pc:sldChg>
      <pc:sldChg chg="modSp mod modClrScheme chgLayout">
        <pc:chgData name="Batuhan Yildiz" userId="90f344fc-4655-4923-aeaf-697bba59c1a7" providerId="ADAL" clId="{0254B5F4-966E-4F95-9283-C5214D39B1CA}" dt="2020-05-22T02:09:31.789" v="205" actId="6549"/>
        <pc:sldMkLst>
          <pc:docMk/>
          <pc:sldMk cId="2155388841" sldId="681"/>
        </pc:sldMkLst>
        <pc:spChg chg="mod ord">
          <ac:chgData name="Batuhan Yildiz" userId="90f344fc-4655-4923-aeaf-697bba59c1a7" providerId="ADAL" clId="{0254B5F4-966E-4F95-9283-C5214D39B1CA}" dt="2020-05-22T02:08:33.788" v="201" actId="700"/>
          <ac:spMkLst>
            <pc:docMk/>
            <pc:sldMk cId="2155388841" sldId="681"/>
            <ac:spMk id="2" creationId="{099D1E49-FC67-49B6-A251-E78DAFC1EEDB}"/>
          </ac:spMkLst>
        </pc:spChg>
        <pc:spChg chg="mod ord">
          <ac:chgData name="Batuhan Yildiz" userId="90f344fc-4655-4923-aeaf-697bba59c1a7" providerId="ADAL" clId="{0254B5F4-966E-4F95-9283-C5214D39B1CA}" dt="2020-05-22T02:09:31.789" v="205" actId="6549"/>
          <ac:spMkLst>
            <pc:docMk/>
            <pc:sldMk cId="2155388841" sldId="681"/>
            <ac:spMk id="4" creationId="{14ADA88D-5C95-40FD-A465-AB1818DE47FB}"/>
          </ac:spMkLst>
        </pc:spChg>
      </pc:sldChg>
      <pc:sldChg chg="addSp modSp mod modClrScheme chgLayout">
        <pc:chgData name="Batuhan Yildiz" userId="90f344fc-4655-4923-aeaf-697bba59c1a7" providerId="ADAL" clId="{0254B5F4-966E-4F95-9283-C5214D39B1CA}" dt="2020-05-22T02:08:33.788" v="201" actId="700"/>
        <pc:sldMkLst>
          <pc:docMk/>
          <pc:sldMk cId="1699401867" sldId="682"/>
        </pc:sldMkLst>
        <pc:spChg chg="mod ord">
          <ac:chgData name="Batuhan Yildiz" userId="90f344fc-4655-4923-aeaf-697bba59c1a7" providerId="ADAL" clId="{0254B5F4-966E-4F95-9283-C5214D39B1CA}" dt="2020-05-22T02:08:33.788" v="201" actId="700"/>
          <ac:spMkLst>
            <pc:docMk/>
            <pc:sldMk cId="1699401867" sldId="682"/>
            <ac:spMk id="2" creationId="{20A7E63E-82B4-483C-839F-3904AAA83EED}"/>
          </ac:spMkLst>
        </pc:spChg>
        <pc:spChg chg="add mod ord">
          <ac:chgData name="Batuhan Yildiz" userId="90f344fc-4655-4923-aeaf-697bba59c1a7" providerId="ADAL" clId="{0254B5F4-966E-4F95-9283-C5214D39B1CA}" dt="2020-05-22T02:08:33.788" v="201" actId="700"/>
          <ac:spMkLst>
            <pc:docMk/>
            <pc:sldMk cId="1699401867" sldId="682"/>
            <ac:spMk id="3" creationId="{2FC69AD4-23DC-45DA-A226-F6C6D9D086D3}"/>
          </ac:spMkLst>
        </pc:spChg>
      </pc:sldChg>
      <pc:sldChg chg="modSp mod modClrScheme chgLayout">
        <pc:chgData name="Batuhan Yildiz" userId="90f344fc-4655-4923-aeaf-697bba59c1a7" providerId="ADAL" clId="{0254B5F4-966E-4F95-9283-C5214D39B1CA}" dt="2020-05-22T02:10:04.344" v="206" actId="700"/>
        <pc:sldMkLst>
          <pc:docMk/>
          <pc:sldMk cId="1755439722" sldId="688"/>
        </pc:sldMkLst>
        <pc:spChg chg="mod ord">
          <ac:chgData name="Batuhan Yildiz" userId="90f344fc-4655-4923-aeaf-697bba59c1a7" providerId="ADAL" clId="{0254B5F4-966E-4F95-9283-C5214D39B1CA}" dt="2020-05-22T02:10:04.344" v="206" actId="700"/>
          <ac:spMkLst>
            <pc:docMk/>
            <pc:sldMk cId="1755439722" sldId="688"/>
            <ac:spMk id="2" creationId="{46E95934-6017-4EBF-9EFA-A72556437BE2}"/>
          </ac:spMkLst>
        </pc:spChg>
        <pc:spChg chg="mod ord">
          <ac:chgData name="Batuhan Yildiz" userId="90f344fc-4655-4923-aeaf-697bba59c1a7" providerId="ADAL" clId="{0254B5F4-966E-4F95-9283-C5214D39B1CA}" dt="2020-05-22T02:10:04.344" v="206" actId="700"/>
          <ac:spMkLst>
            <pc:docMk/>
            <pc:sldMk cId="1755439722" sldId="688"/>
            <ac:spMk id="4" creationId="{98B9BDCF-4EA8-43B4-83C6-79FFD7EB6433}"/>
          </ac:spMkLst>
        </pc:spChg>
      </pc:sldChg>
      <pc:sldChg chg="modSp mod modClrScheme chgLayout">
        <pc:chgData name="Batuhan Yildiz" userId="90f344fc-4655-4923-aeaf-697bba59c1a7" providerId="ADAL" clId="{0254B5F4-966E-4F95-9283-C5214D39B1CA}" dt="2020-05-22T02:10:45.333" v="210" actId="1076"/>
        <pc:sldMkLst>
          <pc:docMk/>
          <pc:sldMk cId="4158935505" sldId="689"/>
        </pc:sldMkLst>
        <pc:spChg chg="mod ord">
          <ac:chgData name="Batuhan Yildiz" userId="90f344fc-4655-4923-aeaf-697bba59c1a7" providerId="ADAL" clId="{0254B5F4-966E-4F95-9283-C5214D39B1CA}" dt="2020-05-22T02:10:04.344" v="206" actId="700"/>
          <ac:spMkLst>
            <pc:docMk/>
            <pc:sldMk cId="4158935505" sldId="689"/>
            <ac:spMk id="2" creationId="{A1F8F13A-CC0F-407C-965D-B80F3170A778}"/>
          </ac:spMkLst>
        </pc:spChg>
        <pc:spChg chg="mod ord">
          <ac:chgData name="Batuhan Yildiz" userId="90f344fc-4655-4923-aeaf-697bba59c1a7" providerId="ADAL" clId="{0254B5F4-966E-4F95-9283-C5214D39B1CA}" dt="2020-05-22T02:10:04.344" v="206" actId="700"/>
          <ac:spMkLst>
            <pc:docMk/>
            <pc:sldMk cId="4158935505" sldId="689"/>
            <ac:spMk id="4" creationId="{A7F46172-B34A-4642-9EAA-994133FC9B4B}"/>
          </ac:spMkLst>
        </pc:spChg>
        <pc:spChg chg="mod">
          <ac:chgData name="Batuhan Yildiz" userId="90f344fc-4655-4923-aeaf-697bba59c1a7" providerId="ADAL" clId="{0254B5F4-966E-4F95-9283-C5214D39B1CA}" dt="2020-05-22T02:10:45.333" v="210" actId="1076"/>
          <ac:spMkLst>
            <pc:docMk/>
            <pc:sldMk cId="4158935505" sldId="689"/>
            <ac:spMk id="6" creationId="{E57E0C42-6BE8-475B-9877-9EA01F142013}"/>
          </ac:spMkLst>
        </pc:spChg>
        <pc:grpChg chg="mod">
          <ac:chgData name="Batuhan Yildiz" userId="90f344fc-4655-4923-aeaf-697bba59c1a7" providerId="ADAL" clId="{0254B5F4-966E-4F95-9283-C5214D39B1CA}" dt="2020-05-22T02:10:45.333" v="210" actId="1076"/>
          <ac:grpSpMkLst>
            <pc:docMk/>
            <pc:sldMk cId="4158935505" sldId="689"/>
            <ac:grpSpMk id="10" creationId="{0445B9B2-057A-43EC-BA9E-C0EA616E5BCD}"/>
          </ac:grpSpMkLst>
        </pc:grpChg>
        <pc:graphicFrameChg chg="mod">
          <ac:chgData name="Batuhan Yildiz" userId="90f344fc-4655-4923-aeaf-697bba59c1a7" providerId="ADAL" clId="{0254B5F4-966E-4F95-9283-C5214D39B1CA}" dt="2020-05-22T02:10:39.283" v="209" actId="1076"/>
          <ac:graphicFrameMkLst>
            <pc:docMk/>
            <pc:sldMk cId="4158935505" sldId="689"/>
            <ac:graphicFrameMk id="12" creationId="{0705DED7-D743-4AFE-BC06-2CD31E9C9725}"/>
          </ac:graphicFrameMkLst>
        </pc:graphicFrameChg>
      </pc:sldChg>
      <pc:sldChg chg="modSp mod modClrScheme chgLayout">
        <pc:chgData name="Batuhan Yildiz" userId="90f344fc-4655-4923-aeaf-697bba59c1a7" providerId="ADAL" clId="{0254B5F4-966E-4F95-9283-C5214D39B1CA}" dt="2020-05-22T02:11:22.551" v="211" actId="12100"/>
        <pc:sldMkLst>
          <pc:docMk/>
          <pc:sldMk cId="1044664172" sldId="690"/>
        </pc:sldMkLst>
        <pc:spChg chg="mod ord">
          <ac:chgData name="Batuhan Yildiz" userId="90f344fc-4655-4923-aeaf-697bba59c1a7" providerId="ADAL" clId="{0254B5F4-966E-4F95-9283-C5214D39B1CA}" dt="2020-05-22T02:10:04.344" v="206" actId="700"/>
          <ac:spMkLst>
            <pc:docMk/>
            <pc:sldMk cId="1044664172" sldId="690"/>
            <ac:spMk id="2" creationId="{FCFD9E7A-9528-492C-80D0-E4F6837C6A5D}"/>
          </ac:spMkLst>
        </pc:spChg>
        <pc:graphicFrameChg chg="mod ord">
          <ac:chgData name="Batuhan Yildiz" userId="90f344fc-4655-4923-aeaf-697bba59c1a7" providerId="ADAL" clId="{0254B5F4-966E-4F95-9283-C5214D39B1CA}" dt="2020-05-22T02:11:22.551" v="211" actId="12100"/>
          <ac:graphicFrameMkLst>
            <pc:docMk/>
            <pc:sldMk cId="1044664172" sldId="690"/>
            <ac:graphicFrameMk id="5" creationId="{B3F00977-3ED8-4826-A0B4-9C1ACFF50218}"/>
          </ac:graphicFrameMkLst>
        </pc:graphicFrameChg>
      </pc:sldChg>
      <pc:sldChg chg="addSp delSp modSp mod modClrScheme chgLayout">
        <pc:chgData name="Batuhan Yildiz" userId="90f344fc-4655-4923-aeaf-697bba59c1a7" providerId="ADAL" clId="{0254B5F4-966E-4F95-9283-C5214D39B1CA}" dt="2020-05-22T02:11:34.639" v="212" actId="478"/>
        <pc:sldMkLst>
          <pc:docMk/>
          <pc:sldMk cId="3445907994" sldId="691"/>
        </pc:sldMkLst>
        <pc:spChg chg="mod ord">
          <ac:chgData name="Batuhan Yildiz" userId="90f344fc-4655-4923-aeaf-697bba59c1a7" providerId="ADAL" clId="{0254B5F4-966E-4F95-9283-C5214D39B1CA}" dt="2020-05-22T02:10:04.344" v="206" actId="700"/>
          <ac:spMkLst>
            <pc:docMk/>
            <pc:sldMk cId="3445907994" sldId="691"/>
            <ac:spMk id="2" creationId="{1CFA5191-CE52-4574-9BD8-F8E72C575508}"/>
          </ac:spMkLst>
        </pc:spChg>
        <pc:spChg chg="add del mod ord">
          <ac:chgData name="Batuhan Yildiz" userId="90f344fc-4655-4923-aeaf-697bba59c1a7" providerId="ADAL" clId="{0254B5F4-966E-4F95-9283-C5214D39B1CA}" dt="2020-05-22T02:11:34.639" v="212" actId="478"/>
          <ac:spMkLst>
            <pc:docMk/>
            <pc:sldMk cId="3445907994" sldId="691"/>
            <ac:spMk id="3" creationId="{8F149369-2FFD-4E5D-86AE-B038CDF8703B}"/>
          </ac:spMkLst>
        </pc:spChg>
      </pc:sldChg>
      <pc:sldChg chg="modSp mod modClrScheme chgLayout">
        <pc:chgData name="Batuhan Yildiz" userId="90f344fc-4655-4923-aeaf-697bba59c1a7" providerId="ADAL" clId="{0254B5F4-966E-4F95-9283-C5214D39B1CA}" dt="2020-05-22T02:10:21.295" v="207" actId="12100"/>
        <pc:sldMkLst>
          <pc:docMk/>
          <pc:sldMk cId="585167659" sldId="692"/>
        </pc:sldMkLst>
        <pc:spChg chg="mod ord">
          <ac:chgData name="Batuhan Yildiz" userId="90f344fc-4655-4923-aeaf-697bba59c1a7" providerId="ADAL" clId="{0254B5F4-966E-4F95-9283-C5214D39B1CA}" dt="2020-05-22T02:10:04.344" v="206" actId="700"/>
          <ac:spMkLst>
            <pc:docMk/>
            <pc:sldMk cId="585167659" sldId="692"/>
            <ac:spMk id="2" creationId="{CB962EC3-1097-4746-975F-4FA1BB2FE1AC}"/>
          </ac:spMkLst>
        </pc:spChg>
        <pc:graphicFrameChg chg="mod ord">
          <ac:chgData name="Batuhan Yildiz" userId="90f344fc-4655-4923-aeaf-697bba59c1a7" providerId="ADAL" clId="{0254B5F4-966E-4F95-9283-C5214D39B1CA}" dt="2020-05-22T02:10:21.295" v="207" actId="12100"/>
          <ac:graphicFrameMkLst>
            <pc:docMk/>
            <pc:sldMk cId="585167659" sldId="692"/>
            <ac:graphicFrameMk id="5" creationId="{EE1313F9-7B12-4D52-B0D3-4624768F7EEF}"/>
          </ac:graphicFrameMkLst>
        </pc:graphicFrameChg>
      </pc:sldChg>
      <pc:sldChg chg="addSp delSp modSp mod modClrScheme chgLayout">
        <pc:chgData name="Batuhan Yildiz" userId="90f344fc-4655-4923-aeaf-697bba59c1a7" providerId="ADAL" clId="{0254B5F4-966E-4F95-9283-C5214D39B1CA}" dt="2020-05-22T02:15:12.037" v="256" actId="1076"/>
        <pc:sldMkLst>
          <pc:docMk/>
          <pc:sldMk cId="3063153254" sldId="696"/>
        </pc:sldMkLst>
        <pc:spChg chg="mod ord">
          <ac:chgData name="Batuhan Yildiz" userId="90f344fc-4655-4923-aeaf-697bba59c1a7" providerId="ADAL" clId="{0254B5F4-966E-4F95-9283-C5214D39B1CA}" dt="2020-05-22T02:13:16.773" v="221" actId="700"/>
          <ac:spMkLst>
            <pc:docMk/>
            <pc:sldMk cId="3063153254" sldId="696"/>
            <ac:spMk id="2" creationId="{93B8A72A-7AFE-4B76-9FFB-48312C3F9641}"/>
          </ac:spMkLst>
        </pc:spChg>
        <pc:spChg chg="add del mod ord">
          <ac:chgData name="Batuhan Yildiz" userId="90f344fc-4655-4923-aeaf-697bba59c1a7" providerId="ADAL" clId="{0254B5F4-966E-4F95-9283-C5214D39B1CA}" dt="2020-05-22T02:14:57.024" v="235" actId="478"/>
          <ac:spMkLst>
            <pc:docMk/>
            <pc:sldMk cId="3063153254" sldId="696"/>
            <ac:spMk id="3" creationId="{784279A6-04BA-4EA6-B93A-CE846F95B8DC}"/>
          </ac:spMkLst>
        </pc:spChg>
        <pc:graphicFrameChg chg="mod ord modGraphic">
          <ac:chgData name="Batuhan Yildiz" userId="90f344fc-4655-4923-aeaf-697bba59c1a7" providerId="ADAL" clId="{0254B5F4-966E-4F95-9283-C5214D39B1CA}" dt="2020-05-22T02:15:05.616" v="255" actId="947"/>
          <ac:graphicFrameMkLst>
            <pc:docMk/>
            <pc:sldMk cId="3063153254" sldId="696"/>
            <ac:graphicFrameMk id="5" creationId="{EC86D27A-8B18-42B7-81D9-F0811600F100}"/>
          </ac:graphicFrameMkLst>
        </pc:graphicFrameChg>
        <pc:graphicFrameChg chg="mod">
          <ac:chgData name="Batuhan Yildiz" userId="90f344fc-4655-4923-aeaf-697bba59c1a7" providerId="ADAL" clId="{0254B5F4-966E-4F95-9283-C5214D39B1CA}" dt="2020-05-22T02:15:12.037" v="256" actId="1076"/>
          <ac:graphicFrameMkLst>
            <pc:docMk/>
            <pc:sldMk cId="3063153254" sldId="696"/>
            <ac:graphicFrameMk id="8" creationId="{A7EE6CFF-945F-43A0-998B-B11DE045A313}"/>
          </ac:graphicFrameMkLst>
        </pc:graphicFrameChg>
      </pc:sldChg>
      <pc:sldChg chg="addSp delSp modSp mod modClrScheme chgLayout">
        <pc:chgData name="Batuhan Yildiz" userId="90f344fc-4655-4923-aeaf-697bba59c1a7" providerId="ADAL" clId="{0254B5F4-966E-4F95-9283-C5214D39B1CA}" dt="2020-05-22T02:15:35.914" v="258" actId="12100"/>
        <pc:sldMkLst>
          <pc:docMk/>
          <pc:sldMk cId="2947359390" sldId="697"/>
        </pc:sldMkLst>
        <pc:spChg chg="mod ord">
          <ac:chgData name="Batuhan Yildiz" userId="90f344fc-4655-4923-aeaf-697bba59c1a7" providerId="ADAL" clId="{0254B5F4-966E-4F95-9283-C5214D39B1CA}" dt="2020-05-22T02:13:16.773" v="221" actId="700"/>
          <ac:spMkLst>
            <pc:docMk/>
            <pc:sldMk cId="2947359390" sldId="697"/>
            <ac:spMk id="2" creationId="{A9F2BA8D-B686-4596-A141-0D96C54F1F26}"/>
          </ac:spMkLst>
        </pc:spChg>
        <pc:spChg chg="add del mod ord">
          <ac:chgData name="Batuhan Yildiz" userId="90f344fc-4655-4923-aeaf-697bba59c1a7" providerId="ADAL" clId="{0254B5F4-966E-4F95-9283-C5214D39B1CA}" dt="2020-05-22T02:15:22.659" v="257" actId="478"/>
          <ac:spMkLst>
            <pc:docMk/>
            <pc:sldMk cId="2947359390" sldId="697"/>
            <ac:spMk id="3" creationId="{C7EF535B-35C3-4728-BF4E-DF3FE46A0CC6}"/>
          </ac:spMkLst>
        </pc:spChg>
        <pc:graphicFrameChg chg="mod ord">
          <ac:chgData name="Batuhan Yildiz" userId="90f344fc-4655-4923-aeaf-697bba59c1a7" providerId="ADAL" clId="{0254B5F4-966E-4F95-9283-C5214D39B1CA}" dt="2020-05-22T02:15:35.914" v="258" actId="12100"/>
          <ac:graphicFrameMkLst>
            <pc:docMk/>
            <pc:sldMk cId="2947359390" sldId="697"/>
            <ac:graphicFrameMk id="5" creationId="{E2091831-A0CF-4E08-8116-37E2BBC99DB7}"/>
          </ac:graphicFrameMkLst>
        </pc:graphicFrameChg>
      </pc:sldChg>
      <pc:sldChg chg="modSp mod modClrScheme chgLayout">
        <pc:chgData name="Batuhan Yildiz" userId="90f344fc-4655-4923-aeaf-697bba59c1a7" providerId="ADAL" clId="{0254B5F4-966E-4F95-9283-C5214D39B1CA}" dt="2020-05-22T02:15:51.958" v="259" actId="12100"/>
        <pc:sldMkLst>
          <pc:docMk/>
          <pc:sldMk cId="2253491729" sldId="700"/>
        </pc:sldMkLst>
        <pc:spChg chg="mod ord">
          <ac:chgData name="Batuhan Yildiz" userId="90f344fc-4655-4923-aeaf-697bba59c1a7" providerId="ADAL" clId="{0254B5F4-966E-4F95-9283-C5214D39B1CA}" dt="2020-05-22T02:13:16.773" v="221" actId="700"/>
          <ac:spMkLst>
            <pc:docMk/>
            <pc:sldMk cId="2253491729" sldId="700"/>
            <ac:spMk id="2" creationId="{F9611247-9F89-41BF-9833-A4CE5410B71D}"/>
          </ac:spMkLst>
        </pc:spChg>
        <pc:spChg chg="mod ord">
          <ac:chgData name="Batuhan Yildiz" userId="90f344fc-4655-4923-aeaf-697bba59c1a7" providerId="ADAL" clId="{0254B5F4-966E-4F95-9283-C5214D39B1CA}" dt="2020-05-22T02:13:16.773" v="221" actId="700"/>
          <ac:spMkLst>
            <pc:docMk/>
            <pc:sldMk cId="2253491729" sldId="700"/>
            <ac:spMk id="3" creationId="{D36BB783-07B8-4AD0-A639-C2D9266F6456}"/>
          </ac:spMkLst>
        </pc:spChg>
        <pc:graphicFrameChg chg="mod ord">
          <ac:chgData name="Batuhan Yildiz" userId="90f344fc-4655-4923-aeaf-697bba59c1a7" providerId="ADAL" clId="{0254B5F4-966E-4F95-9283-C5214D39B1CA}" dt="2020-05-22T02:15:51.958" v="259" actId="12100"/>
          <ac:graphicFrameMkLst>
            <pc:docMk/>
            <pc:sldMk cId="2253491729" sldId="700"/>
            <ac:graphicFrameMk id="8" creationId="{CCC48916-0DD2-4211-871E-6E8C9B800B6E}"/>
          </ac:graphicFrameMkLst>
        </pc:graphicFrameChg>
      </pc:sldChg>
      <pc:sldChg chg="addSp delSp modSp mod modClrScheme chgLayout">
        <pc:chgData name="Batuhan Yildiz" userId="90f344fc-4655-4923-aeaf-697bba59c1a7" providerId="ADAL" clId="{0254B5F4-966E-4F95-9283-C5214D39B1CA}" dt="2020-05-22T02:16:41.869" v="267" actId="20577"/>
        <pc:sldMkLst>
          <pc:docMk/>
          <pc:sldMk cId="3967432046" sldId="701"/>
        </pc:sldMkLst>
        <pc:spChg chg="mod ord">
          <ac:chgData name="Batuhan Yildiz" userId="90f344fc-4655-4923-aeaf-697bba59c1a7" providerId="ADAL" clId="{0254B5F4-966E-4F95-9283-C5214D39B1CA}" dt="2020-05-22T02:13:16.773" v="221" actId="700"/>
          <ac:spMkLst>
            <pc:docMk/>
            <pc:sldMk cId="3967432046" sldId="701"/>
            <ac:spMk id="2" creationId="{F41DF63D-FDEA-4537-9B4D-DBBC3291D3A4}"/>
          </ac:spMkLst>
        </pc:spChg>
        <pc:spChg chg="del mod ord">
          <ac:chgData name="Batuhan Yildiz" userId="90f344fc-4655-4923-aeaf-697bba59c1a7" providerId="ADAL" clId="{0254B5F4-966E-4F95-9283-C5214D39B1CA}" dt="2020-05-22T02:16:37.161" v="264" actId="478"/>
          <ac:spMkLst>
            <pc:docMk/>
            <pc:sldMk cId="3967432046" sldId="701"/>
            <ac:spMk id="3" creationId="{D5BFB836-1B09-42FB-B0DB-CD753E509C49}"/>
          </ac:spMkLst>
        </pc:spChg>
        <pc:spChg chg="mod ord">
          <ac:chgData name="Batuhan Yildiz" userId="90f344fc-4655-4923-aeaf-697bba59c1a7" providerId="ADAL" clId="{0254B5F4-966E-4F95-9283-C5214D39B1CA}" dt="2020-05-22T02:16:21.769" v="263" actId="14100"/>
          <ac:spMkLst>
            <pc:docMk/>
            <pc:sldMk cId="3967432046" sldId="701"/>
            <ac:spMk id="4" creationId="{04377342-784F-4985-84B3-67FB3795FB37}"/>
          </ac:spMkLst>
        </pc:spChg>
        <pc:spChg chg="add mod">
          <ac:chgData name="Batuhan Yildiz" userId="90f344fc-4655-4923-aeaf-697bba59c1a7" providerId="ADAL" clId="{0254B5F4-966E-4F95-9283-C5214D39B1CA}" dt="2020-05-22T02:16:41.869" v="267" actId="20577"/>
          <ac:spMkLst>
            <pc:docMk/>
            <pc:sldMk cId="3967432046" sldId="701"/>
            <ac:spMk id="7" creationId="{F6D3F754-0871-4375-8912-DC5691AF18CB}"/>
          </ac:spMkLst>
        </pc:spChg>
        <pc:picChg chg="mod">
          <ac:chgData name="Batuhan Yildiz" userId="90f344fc-4655-4923-aeaf-697bba59c1a7" providerId="ADAL" clId="{0254B5F4-966E-4F95-9283-C5214D39B1CA}" dt="2020-05-22T02:16:18.302" v="262" actId="1076"/>
          <ac:picMkLst>
            <pc:docMk/>
            <pc:sldMk cId="3967432046" sldId="701"/>
            <ac:picMk id="6" creationId="{1C9FB71D-4A80-4272-BD4C-C7FA4A461FC4}"/>
          </ac:picMkLst>
        </pc:picChg>
      </pc:sldChg>
      <pc:sldChg chg="addSp delSp modSp mod modClrScheme chgLayout">
        <pc:chgData name="Batuhan Yildiz" userId="90f344fc-4655-4923-aeaf-697bba59c1a7" providerId="ADAL" clId="{0254B5F4-966E-4F95-9283-C5214D39B1CA}" dt="2020-05-22T02:17:32.541" v="274" actId="20577"/>
        <pc:sldMkLst>
          <pc:docMk/>
          <pc:sldMk cId="4197261083" sldId="703"/>
        </pc:sldMkLst>
        <pc:spChg chg="mod ord">
          <ac:chgData name="Batuhan Yildiz" userId="90f344fc-4655-4923-aeaf-697bba59c1a7" providerId="ADAL" clId="{0254B5F4-966E-4F95-9283-C5214D39B1CA}" dt="2020-05-22T02:13:16.773" v="221" actId="700"/>
          <ac:spMkLst>
            <pc:docMk/>
            <pc:sldMk cId="4197261083" sldId="703"/>
            <ac:spMk id="2" creationId="{F9611247-9F89-41BF-9833-A4CE5410B71D}"/>
          </ac:spMkLst>
        </pc:spChg>
        <pc:spChg chg="del mod ord">
          <ac:chgData name="Batuhan Yildiz" userId="90f344fc-4655-4923-aeaf-697bba59c1a7" providerId="ADAL" clId="{0254B5F4-966E-4F95-9283-C5214D39B1CA}" dt="2020-05-22T02:17:28.923" v="272" actId="478"/>
          <ac:spMkLst>
            <pc:docMk/>
            <pc:sldMk cId="4197261083" sldId="703"/>
            <ac:spMk id="3" creationId="{D36BB783-07B8-4AD0-A639-C2D9266F6456}"/>
          </ac:spMkLst>
        </pc:spChg>
        <pc:spChg chg="add del mod ord">
          <ac:chgData name="Batuhan Yildiz" userId="90f344fc-4655-4923-aeaf-697bba59c1a7" providerId="ADAL" clId="{0254B5F4-966E-4F95-9283-C5214D39B1CA}" dt="2020-05-22T02:17:15.135" v="269" actId="478"/>
          <ac:spMkLst>
            <pc:docMk/>
            <pc:sldMk cId="4197261083" sldId="703"/>
            <ac:spMk id="4" creationId="{33C1E7F4-BD69-434B-8997-E917B5E37711}"/>
          </ac:spMkLst>
        </pc:spChg>
        <pc:spChg chg="add mod">
          <ac:chgData name="Batuhan Yildiz" userId="90f344fc-4655-4923-aeaf-697bba59c1a7" providerId="ADAL" clId="{0254B5F4-966E-4F95-9283-C5214D39B1CA}" dt="2020-05-22T02:17:32.541" v="274" actId="20577"/>
          <ac:spMkLst>
            <pc:docMk/>
            <pc:sldMk cId="4197261083" sldId="703"/>
            <ac:spMk id="7" creationId="{39A82CB2-47A7-406B-916A-C228ECD5EC71}"/>
          </ac:spMkLst>
        </pc:spChg>
        <pc:graphicFrameChg chg="mod">
          <ac:chgData name="Batuhan Yildiz" userId="90f344fc-4655-4923-aeaf-697bba59c1a7" providerId="ADAL" clId="{0254B5F4-966E-4F95-9283-C5214D39B1CA}" dt="2020-05-22T02:17:22.663" v="271" actId="14100"/>
          <ac:graphicFrameMkLst>
            <pc:docMk/>
            <pc:sldMk cId="4197261083" sldId="703"/>
            <ac:graphicFrameMk id="6" creationId="{301F672D-67ED-4604-BB6A-C9620676B49E}"/>
          </ac:graphicFrameMkLst>
        </pc:graphicFrameChg>
      </pc:sldChg>
      <pc:sldChg chg="addSp delSp modSp mod modClrScheme chgLayout">
        <pc:chgData name="Batuhan Yildiz" userId="90f344fc-4655-4923-aeaf-697bba59c1a7" providerId="ADAL" clId="{0254B5F4-966E-4F95-9283-C5214D39B1CA}" dt="2020-05-22T02:14:30.545" v="232" actId="255"/>
        <pc:sldMkLst>
          <pc:docMk/>
          <pc:sldMk cId="241800346" sldId="704"/>
        </pc:sldMkLst>
        <pc:spChg chg="mod ord">
          <ac:chgData name="Batuhan Yildiz" userId="90f344fc-4655-4923-aeaf-697bba59c1a7" providerId="ADAL" clId="{0254B5F4-966E-4F95-9283-C5214D39B1CA}" dt="2020-05-22T02:13:16.773" v="221" actId="700"/>
          <ac:spMkLst>
            <pc:docMk/>
            <pc:sldMk cId="241800346" sldId="704"/>
            <ac:spMk id="2" creationId="{D0655443-3A8B-474A-A0B6-27739179DE8F}"/>
          </ac:spMkLst>
        </pc:spChg>
        <pc:spChg chg="add del mod ord">
          <ac:chgData name="Batuhan Yildiz" userId="90f344fc-4655-4923-aeaf-697bba59c1a7" providerId="ADAL" clId="{0254B5F4-966E-4F95-9283-C5214D39B1CA}" dt="2020-05-22T02:13:23.388" v="222" actId="478"/>
          <ac:spMkLst>
            <pc:docMk/>
            <pc:sldMk cId="241800346" sldId="704"/>
            <ac:spMk id="3" creationId="{67F1957F-1D05-4866-8749-E12481C4F934}"/>
          </ac:spMkLst>
        </pc:spChg>
        <pc:graphicFrameChg chg="mod ord">
          <ac:chgData name="Batuhan Yildiz" userId="90f344fc-4655-4923-aeaf-697bba59c1a7" providerId="ADAL" clId="{0254B5F4-966E-4F95-9283-C5214D39B1CA}" dt="2020-05-22T02:14:30.545" v="232" actId="255"/>
          <ac:graphicFrameMkLst>
            <pc:docMk/>
            <pc:sldMk cId="241800346" sldId="704"/>
            <ac:graphicFrameMk id="5" creationId="{04CBBDA1-E1FB-4E16-BE17-7A07D75BC01B}"/>
          </ac:graphicFrameMkLst>
        </pc:graphicFrameChg>
      </pc:sldChg>
      <pc:sldChg chg="addSp delSp modSp mod modClrScheme chgLayout">
        <pc:chgData name="Batuhan Yildiz" userId="90f344fc-4655-4923-aeaf-697bba59c1a7" providerId="ADAL" clId="{0254B5F4-966E-4F95-9283-C5214D39B1CA}" dt="2020-05-22T02:14:43.236" v="234" actId="12100"/>
        <pc:sldMkLst>
          <pc:docMk/>
          <pc:sldMk cId="3631232456" sldId="705"/>
        </pc:sldMkLst>
        <pc:spChg chg="mod ord">
          <ac:chgData name="Batuhan Yildiz" userId="90f344fc-4655-4923-aeaf-697bba59c1a7" providerId="ADAL" clId="{0254B5F4-966E-4F95-9283-C5214D39B1CA}" dt="2020-05-22T02:13:16.773" v="221" actId="700"/>
          <ac:spMkLst>
            <pc:docMk/>
            <pc:sldMk cId="3631232456" sldId="705"/>
            <ac:spMk id="2" creationId="{B64F1B8C-92DF-49A1-9556-51CAD9105FF9}"/>
          </ac:spMkLst>
        </pc:spChg>
        <pc:spChg chg="add del mod ord">
          <ac:chgData name="Batuhan Yildiz" userId="90f344fc-4655-4923-aeaf-697bba59c1a7" providerId="ADAL" clId="{0254B5F4-966E-4F95-9283-C5214D39B1CA}" dt="2020-05-22T02:14:37.494" v="233" actId="478"/>
          <ac:spMkLst>
            <pc:docMk/>
            <pc:sldMk cId="3631232456" sldId="705"/>
            <ac:spMk id="3" creationId="{64351591-69DC-4445-8516-0DBE428E52D1}"/>
          </ac:spMkLst>
        </pc:spChg>
        <pc:graphicFrameChg chg="mod ord">
          <ac:chgData name="Batuhan Yildiz" userId="90f344fc-4655-4923-aeaf-697bba59c1a7" providerId="ADAL" clId="{0254B5F4-966E-4F95-9283-C5214D39B1CA}" dt="2020-05-22T02:14:43.236" v="234" actId="12100"/>
          <ac:graphicFrameMkLst>
            <pc:docMk/>
            <pc:sldMk cId="3631232456" sldId="705"/>
            <ac:graphicFrameMk id="5" creationId="{E833510A-A091-4440-96D0-AFFAB6B3D994}"/>
          </ac:graphicFrameMkLst>
        </pc:graphicFrameChg>
      </pc:sldChg>
      <pc:sldChg chg="modSp mod modClrScheme chgLayout">
        <pc:chgData name="Batuhan Yildiz" userId="90f344fc-4655-4923-aeaf-697bba59c1a7" providerId="ADAL" clId="{0254B5F4-966E-4F95-9283-C5214D39B1CA}" dt="2020-05-22T02:18:29.064" v="277" actId="700"/>
        <pc:sldMkLst>
          <pc:docMk/>
          <pc:sldMk cId="3460419959" sldId="709"/>
        </pc:sldMkLst>
        <pc:spChg chg="mod ord">
          <ac:chgData name="Batuhan Yildiz" userId="90f344fc-4655-4923-aeaf-697bba59c1a7" providerId="ADAL" clId="{0254B5F4-966E-4F95-9283-C5214D39B1CA}" dt="2020-05-22T02:18:29.064" v="277" actId="700"/>
          <ac:spMkLst>
            <pc:docMk/>
            <pc:sldMk cId="3460419959" sldId="709"/>
            <ac:spMk id="2" creationId="{6054E23D-C7A6-4B2E-BDDC-D187CA2EFA49}"/>
          </ac:spMkLst>
        </pc:spChg>
        <pc:spChg chg="mod ord">
          <ac:chgData name="Batuhan Yildiz" userId="90f344fc-4655-4923-aeaf-697bba59c1a7" providerId="ADAL" clId="{0254B5F4-966E-4F95-9283-C5214D39B1CA}" dt="2020-05-22T02:18:29.064" v="277" actId="700"/>
          <ac:spMkLst>
            <pc:docMk/>
            <pc:sldMk cId="3460419959" sldId="709"/>
            <ac:spMk id="4" creationId="{7799828A-259B-4897-B224-1AE166C0BAF0}"/>
          </ac:spMkLst>
        </pc:spChg>
      </pc:sldChg>
      <pc:sldChg chg="modSp">
        <pc:chgData name="Batuhan Yildiz" userId="90f344fc-4655-4923-aeaf-697bba59c1a7" providerId="ADAL" clId="{0254B5F4-966E-4F95-9283-C5214D39B1CA}" dt="2020-05-22T02:21:06.327" v="291" actId="12100"/>
        <pc:sldMkLst>
          <pc:docMk/>
          <pc:sldMk cId="4186570228" sldId="710"/>
        </pc:sldMkLst>
        <pc:graphicFrameChg chg="mod">
          <ac:chgData name="Batuhan Yildiz" userId="90f344fc-4655-4923-aeaf-697bba59c1a7" providerId="ADAL" clId="{0254B5F4-966E-4F95-9283-C5214D39B1CA}" dt="2020-05-22T02:21:06.327" v="291" actId="12100"/>
          <ac:graphicFrameMkLst>
            <pc:docMk/>
            <pc:sldMk cId="4186570228" sldId="710"/>
            <ac:graphicFrameMk id="5" creationId="{E1009878-258F-464B-863B-2498AFE10C4E}"/>
          </ac:graphicFrameMkLst>
        </pc:graphicFrameChg>
      </pc:sldChg>
      <pc:sldChg chg="modSp">
        <pc:chgData name="Batuhan Yildiz" userId="90f344fc-4655-4923-aeaf-697bba59c1a7" providerId="ADAL" clId="{0254B5F4-966E-4F95-9283-C5214D39B1CA}" dt="2020-05-22T02:18:13.917" v="276" actId="255"/>
        <pc:sldMkLst>
          <pc:docMk/>
          <pc:sldMk cId="1735595973" sldId="711"/>
        </pc:sldMkLst>
        <pc:graphicFrameChg chg="mod">
          <ac:chgData name="Batuhan Yildiz" userId="90f344fc-4655-4923-aeaf-697bba59c1a7" providerId="ADAL" clId="{0254B5F4-966E-4F95-9283-C5214D39B1CA}" dt="2020-05-22T02:18:13.917" v="276" actId="255"/>
          <ac:graphicFrameMkLst>
            <pc:docMk/>
            <pc:sldMk cId="1735595973" sldId="711"/>
            <ac:graphicFrameMk id="6" creationId="{E6CFACA9-C357-4871-9875-85364DAD9FC1}"/>
          </ac:graphicFrameMkLst>
        </pc:graphicFrameChg>
      </pc:sldChg>
      <pc:sldChg chg="modSp">
        <pc:chgData name="Batuhan Yildiz" userId="90f344fc-4655-4923-aeaf-697bba59c1a7" providerId="ADAL" clId="{0254B5F4-966E-4F95-9283-C5214D39B1CA}" dt="2020-05-22T02:22:56.273" v="307" actId="14100"/>
        <pc:sldMkLst>
          <pc:docMk/>
          <pc:sldMk cId="2581647386" sldId="713"/>
        </pc:sldMkLst>
        <pc:graphicFrameChg chg="mod">
          <ac:chgData name="Batuhan Yildiz" userId="90f344fc-4655-4923-aeaf-697bba59c1a7" providerId="ADAL" clId="{0254B5F4-966E-4F95-9283-C5214D39B1CA}" dt="2020-05-22T02:22:56.273" v="307" actId="14100"/>
          <ac:graphicFrameMkLst>
            <pc:docMk/>
            <pc:sldMk cId="2581647386" sldId="713"/>
            <ac:graphicFrameMk id="5" creationId="{F509B256-D149-4EDB-9E8C-FA0A3C489D2E}"/>
          </ac:graphicFrameMkLst>
        </pc:graphicFrameChg>
      </pc:sldChg>
      <pc:sldChg chg="modSp mod modClrScheme chgLayout">
        <pc:chgData name="Batuhan Yildiz" userId="90f344fc-4655-4923-aeaf-697bba59c1a7" providerId="ADAL" clId="{0254B5F4-966E-4F95-9283-C5214D39B1CA}" dt="2020-05-22T02:19:12.701" v="281" actId="1076"/>
        <pc:sldMkLst>
          <pc:docMk/>
          <pc:sldMk cId="1860325513" sldId="714"/>
        </pc:sldMkLst>
        <pc:spChg chg="mod ord">
          <ac:chgData name="Batuhan Yildiz" userId="90f344fc-4655-4923-aeaf-697bba59c1a7" providerId="ADAL" clId="{0254B5F4-966E-4F95-9283-C5214D39B1CA}" dt="2020-05-22T02:18:29.064" v="277" actId="700"/>
          <ac:spMkLst>
            <pc:docMk/>
            <pc:sldMk cId="1860325513" sldId="714"/>
            <ac:spMk id="2" creationId="{118660B5-4C56-474E-AA9F-1881C6D84728}"/>
          </ac:spMkLst>
        </pc:spChg>
        <pc:spChg chg="mod ord">
          <ac:chgData name="Batuhan Yildiz" userId="90f344fc-4655-4923-aeaf-697bba59c1a7" providerId="ADAL" clId="{0254B5F4-966E-4F95-9283-C5214D39B1CA}" dt="2020-05-22T02:18:48.576" v="278" actId="5793"/>
          <ac:spMkLst>
            <pc:docMk/>
            <pc:sldMk cId="1860325513" sldId="714"/>
            <ac:spMk id="4" creationId="{1CE9DF03-627E-4FC2-ADDA-F2C4085E1ECC}"/>
          </ac:spMkLst>
        </pc:spChg>
        <pc:picChg chg="mod">
          <ac:chgData name="Batuhan Yildiz" userId="90f344fc-4655-4923-aeaf-697bba59c1a7" providerId="ADAL" clId="{0254B5F4-966E-4F95-9283-C5214D39B1CA}" dt="2020-05-22T02:19:12.701" v="281" actId="1076"/>
          <ac:picMkLst>
            <pc:docMk/>
            <pc:sldMk cId="1860325513" sldId="714"/>
            <ac:picMk id="6" creationId="{C4C5F89B-B940-41E6-8758-5BD426196A6F}"/>
          </ac:picMkLst>
        </pc:picChg>
      </pc:sldChg>
      <pc:sldChg chg="modSp mod modClrScheme chgLayout">
        <pc:chgData name="Batuhan Yildiz" userId="90f344fc-4655-4923-aeaf-697bba59c1a7" providerId="ADAL" clId="{0254B5F4-966E-4F95-9283-C5214D39B1CA}" dt="2020-05-22T02:19:45.169" v="284" actId="14100"/>
        <pc:sldMkLst>
          <pc:docMk/>
          <pc:sldMk cId="3224995500" sldId="715"/>
        </pc:sldMkLst>
        <pc:spChg chg="mod ord">
          <ac:chgData name="Batuhan Yildiz" userId="90f344fc-4655-4923-aeaf-697bba59c1a7" providerId="ADAL" clId="{0254B5F4-966E-4F95-9283-C5214D39B1CA}" dt="2020-05-22T02:18:29.064" v="277" actId="700"/>
          <ac:spMkLst>
            <pc:docMk/>
            <pc:sldMk cId="3224995500" sldId="715"/>
            <ac:spMk id="2" creationId="{118660B5-4C56-474E-AA9F-1881C6D84728}"/>
          </ac:spMkLst>
        </pc:spChg>
        <pc:spChg chg="mod ord">
          <ac:chgData name="Batuhan Yildiz" userId="90f344fc-4655-4923-aeaf-697bba59c1a7" providerId="ADAL" clId="{0254B5F4-966E-4F95-9283-C5214D39B1CA}" dt="2020-05-22T02:19:38.638" v="282" actId="5793"/>
          <ac:spMkLst>
            <pc:docMk/>
            <pc:sldMk cId="3224995500" sldId="715"/>
            <ac:spMk id="4" creationId="{1CE9DF03-627E-4FC2-ADDA-F2C4085E1ECC}"/>
          </ac:spMkLst>
        </pc:spChg>
        <pc:picChg chg="mod">
          <ac:chgData name="Batuhan Yildiz" userId="90f344fc-4655-4923-aeaf-697bba59c1a7" providerId="ADAL" clId="{0254B5F4-966E-4F95-9283-C5214D39B1CA}" dt="2020-05-22T02:19:45.169" v="284" actId="14100"/>
          <ac:picMkLst>
            <pc:docMk/>
            <pc:sldMk cId="3224995500" sldId="715"/>
            <ac:picMk id="8" creationId="{C3F500EF-15FC-42E3-B104-C50B70183DB5}"/>
          </ac:picMkLst>
        </pc:picChg>
      </pc:sldChg>
      <pc:sldChg chg="modSp mod modClrScheme chgLayout">
        <pc:chgData name="Batuhan Yildiz" userId="90f344fc-4655-4923-aeaf-697bba59c1a7" providerId="ADAL" clId="{0254B5F4-966E-4F95-9283-C5214D39B1CA}" dt="2020-05-22T02:20:12.888" v="288" actId="1076"/>
        <pc:sldMkLst>
          <pc:docMk/>
          <pc:sldMk cId="4205441629" sldId="716"/>
        </pc:sldMkLst>
        <pc:spChg chg="mod ord">
          <ac:chgData name="Batuhan Yildiz" userId="90f344fc-4655-4923-aeaf-697bba59c1a7" providerId="ADAL" clId="{0254B5F4-966E-4F95-9283-C5214D39B1CA}" dt="2020-05-22T02:18:29.064" v="277" actId="700"/>
          <ac:spMkLst>
            <pc:docMk/>
            <pc:sldMk cId="4205441629" sldId="716"/>
            <ac:spMk id="2" creationId="{118660B5-4C56-474E-AA9F-1881C6D84728}"/>
          </ac:spMkLst>
        </pc:spChg>
        <pc:spChg chg="mod ord">
          <ac:chgData name="Batuhan Yildiz" userId="90f344fc-4655-4923-aeaf-697bba59c1a7" providerId="ADAL" clId="{0254B5F4-966E-4F95-9283-C5214D39B1CA}" dt="2020-05-22T02:20:07.853" v="287" actId="167"/>
          <ac:spMkLst>
            <pc:docMk/>
            <pc:sldMk cId="4205441629" sldId="716"/>
            <ac:spMk id="4" creationId="{1CE9DF03-627E-4FC2-ADDA-F2C4085E1ECC}"/>
          </ac:spMkLst>
        </pc:spChg>
        <pc:spChg chg="mod">
          <ac:chgData name="Batuhan Yildiz" userId="90f344fc-4655-4923-aeaf-697bba59c1a7" providerId="ADAL" clId="{0254B5F4-966E-4F95-9283-C5214D39B1CA}" dt="2020-05-22T02:20:12.888" v="288" actId="1076"/>
          <ac:spMkLst>
            <pc:docMk/>
            <pc:sldMk cId="4205441629" sldId="716"/>
            <ac:spMk id="6" creationId="{50A6C54E-61B3-40E2-8EDD-5EC8F48131B7}"/>
          </ac:spMkLst>
        </pc:spChg>
      </pc:sldChg>
      <pc:sldChg chg="modSp mod modClrScheme chgLayout">
        <pc:chgData name="Batuhan Yildiz" userId="90f344fc-4655-4923-aeaf-697bba59c1a7" providerId="ADAL" clId="{0254B5F4-966E-4F95-9283-C5214D39B1CA}" dt="2020-05-22T01:50:11.248" v="67" actId="14100"/>
        <pc:sldMkLst>
          <pc:docMk/>
          <pc:sldMk cId="1727005961" sldId="717"/>
        </pc:sldMkLst>
        <pc:spChg chg="mod ord">
          <ac:chgData name="Batuhan Yildiz" userId="90f344fc-4655-4923-aeaf-697bba59c1a7" providerId="ADAL" clId="{0254B5F4-966E-4F95-9283-C5214D39B1CA}" dt="2020-05-22T01:49:40.821" v="63" actId="700"/>
          <ac:spMkLst>
            <pc:docMk/>
            <pc:sldMk cId="1727005961" sldId="717"/>
            <ac:spMk id="2" creationId="{FEC773F6-10C9-4F70-8259-7971F33D9BE8}"/>
          </ac:spMkLst>
        </pc:spChg>
        <pc:graphicFrameChg chg="mod ord modGraphic">
          <ac:chgData name="Batuhan Yildiz" userId="90f344fc-4655-4923-aeaf-697bba59c1a7" providerId="ADAL" clId="{0254B5F4-966E-4F95-9283-C5214D39B1CA}" dt="2020-05-22T01:50:11.248" v="67" actId="14100"/>
          <ac:graphicFrameMkLst>
            <pc:docMk/>
            <pc:sldMk cId="1727005961" sldId="717"/>
            <ac:graphicFrameMk id="10" creationId="{891AE6D3-BB51-4D16-92C5-56B5093D2FCD}"/>
          </ac:graphicFrameMkLst>
        </pc:graphicFrameChg>
      </pc:sldChg>
      <pc:sldChg chg="modSp mod modClrScheme chgLayout">
        <pc:chgData name="Batuhan Yildiz" userId="90f344fc-4655-4923-aeaf-697bba59c1a7" providerId="ADAL" clId="{0254B5F4-966E-4F95-9283-C5214D39B1CA}" dt="2020-05-22T01:49:14.587" v="62" actId="700"/>
        <pc:sldMkLst>
          <pc:docMk/>
          <pc:sldMk cId="306519833" sldId="718"/>
        </pc:sldMkLst>
        <pc:spChg chg="mod ord">
          <ac:chgData name="Batuhan Yildiz" userId="90f344fc-4655-4923-aeaf-697bba59c1a7" providerId="ADAL" clId="{0254B5F4-966E-4F95-9283-C5214D39B1CA}" dt="2020-05-22T01:49:14.587" v="62" actId="700"/>
          <ac:spMkLst>
            <pc:docMk/>
            <pc:sldMk cId="306519833" sldId="718"/>
            <ac:spMk id="2" creationId="{A8F2B25F-8997-43C5-963E-06A68867F71A}"/>
          </ac:spMkLst>
        </pc:spChg>
        <pc:graphicFrameChg chg="mod ord modGraphic">
          <ac:chgData name="Batuhan Yildiz" userId="90f344fc-4655-4923-aeaf-697bba59c1a7" providerId="ADAL" clId="{0254B5F4-966E-4F95-9283-C5214D39B1CA}" dt="2020-05-22T01:49:14.587" v="62" actId="700"/>
          <ac:graphicFrameMkLst>
            <pc:docMk/>
            <pc:sldMk cId="306519833" sldId="718"/>
            <ac:graphicFrameMk id="5" creationId="{C2B48973-B27E-4DF3-961A-ADF391476DBF}"/>
          </ac:graphicFrameMkLst>
        </pc:graphicFrameChg>
      </pc:sldChg>
      <pc:sldChg chg="modSp">
        <pc:chgData name="Batuhan Yildiz" userId="90f344fc-4655-4923-aeaf-697bba59c1a7" providerId="ADAL" clId="{0254B5F4-966E-4F95-9283-C5214D39B1CA}" dt="2020-05-22T01:50:52.532" v="69" actId="12100"/>
        <pc:sldMkLst>
          <pc:docMk/>
          <pc:sldMk cId="1531234105" sldId="720"/>
        </pc:sldMkLst>
        <pc:graphicFrameChg chg="mod">
          <ac:chgData name="Batuhan Yildiz" userId="90f344fc-4655-4923-aeaf-697bba59c1a7" providerId="ADAL" clId="{0254B5F4-966E-4F95-9283-C5214D39B1CA}" dt="2020-05-22T01:50:49.701" v="68" actId="12100"/>
          <ac:graphicFrameMkLst>
            <pc:docMk/>
            <pc:sldMk cId="1531234105" sldId="720"/>
            <ac:graphicFrameMk id="5" creationId="{F2BEC36A-D6B1-419A-B3EB-B740D912717E}"/>
          </ac:graphicFrameMkLst>
        </pc:graphicFrameChg>
        <pc:graphicFrameChg chg="mod">
          <ac:chgData name="Batuhan Yildiz" userId="90f344fc-4655-4923-aeaf-697bba59c1a7" providerId="ADAL" clId="{0254B5F4-966E-4F95-9283-C5214D39B1CA}" dt="2020-05-22T01:50:52.532" v="69" actId="12100"/>
          <ac:graphicFrameMkLst>
            <pc:docMk/>
            <pc:sldMk cId="1531234105" sldId="720"/>
            <ac:graphicFrameMk id="7" creationId="{52D216F9-4AEA-48B4-8FA9-18E396F41C0D}"/>
          </ac:graphicFrameMkLst>
        </pc:graphicFrameChg>
      </pc:sldChg>
      <pc:sldChg chg="modSp mod modClrScheme chgLayout">
        <pc:chgData name="Batuhan Yildiz" userId="90f344fc-4655-4923-aeaf-697bba59c1a7" providerId="ADAL" clId="{0254B5F4-966E-4F95-9283-C5214D39B1CA}" dt="2020-05-22T01:51:38.571" v="71" actId="12100"/>
        <pc:sldMkLst>
          <pc:docMk/>
          <pc:sldMk cId="3141979589" sldId="721"/>
        </pc:sldMkLst>
        <pc:spChg chg="mod ord">
          <ac:chgData name="Batuhan Yildiz" userId="90f344fc-4655-4923-aeaf-697bba59c1a7" providerId="ADAL" clId="{0254B5F4-966E-4F95-9283-C5214D39B1CA}" dt="2020-05-22T01:51:26.662" v="70" actId="700"/>
          <ac:spMkLst>
            <pc:docMk/>
            <pc:sldMk cId="3141979589" sldId="721"/>
            <ac:spMk id="2" creationId="{3997BF31-07E7-47B0-BCAE-F8CA3067FF8A}"/>
          </ac:spMkLst>
        </pc:spChg>
        <pc:spChg chg="mod ord">
          <ac:chgData name="Batuhan Yildiz" userId="90f344fc-4655-4923-aeaf-697bba59c1a7" providerId="ADAL" clId="{0254B5F4-966E-4F95-9283-C5214D39B1CA}" dt="2020-05-22T01:51:26.662" v="70" actId="700"/>
          <ac:spMkLst>
            <pc:docMk/>
            <pc:sldMk cId="3141979589" sldId="721"/>
            <ac:spMk id="4" creationId="{1FAEEDEF-2E89-4B83-A97C-A810601474EF}"/>
          </ac:spMkLst>
        </pc:spChg>
        <pc:graphicFrameChg chg="mod">
          <ac:chgData name="Batuhan Yildiz" userId="90f344fc-4655-4923-aeaf-697bba59c1a7" providerId="ADAL" clId="{0254B5F4-966E-4F95-9283-C5214D39B1CA}" dt="2020-05-22T01:51:38.571" v="71" actId="12100"/>
          <ac:graphicFrameMkLst>
            <pc:docMk/>
            <pc:sldMk cId="3141979589" sldId="721"/>
            <ac:graphicFrameMk id="8" creationId="{ED54D26F-4334-404E-9D78-F724007CDE90}"/>
          </ac:graphicFrameMkLst>
        </pc:graphicFrameChg>
      </pc:sldChg>
      <pc:sldChg chg="modSp mod modClrScheme chgLayout">
        <pc:chgData name="Batuhan Yildiz" userId="90f344fc-4655-4923-aeaf-697bba59c1a7" providerId="ADAL" clId="{0254B5F4-966E-4F95-9283-C5214D39B1CA}" dt="2020-05-22T01:53:16.275" v="102" actId="1076"/>
        <pc:sldMkLst>
          <pc:docMk/>
          <pc:sldMk cId="3112427032" sldId="722"/>
        </pc:sldMkLst>
        <pc:spChg chg="mod ord">
          <ac:chgData name="Batuhan Yildiz" userId="90f344fc-4655-4923-aeaf-697bba59c1a7" providerId="ADAL" clId="{0254B5F4-966E-4F95-9283-C5214D39B1CA}" dt="2020-05-22T01:52:02.888" v="74" actId="700"/>
          <ac:spMkLst>
            <pc:docMk/>
            <pc:sldMk cId="3112427032" sldId="722"/>
            <ac:spMk id="2" creationId="{12875C81-F600-4B0E-91CA-BE473A8C47DF}"/>
          </ac:spMkLst>
        </pc:spChg>
        <pc:spChg chg="mod ord">
          <ac:chgData name="Batuhan Yildiz" userId="90f344fc-4655-4923-aeaf-697bba59c1a7" providerId="ADAL" clId="{0254B5F4-966E-4F95-9283-C5214D39B1CA}" dt="2020-05-22T01:53:06.636" v="101" actId="14100"/>
          <ac:spMkLst>
            <pc:docMk/>
            <pc:sldMk cId="3112427032" sldId="722"/>
            <ac:spMk id="4" creationId="{B93BA1DA-6489-4FFC-AF2A-B70913655403}"/>
          </ac:spMkLst>
        </pc:spChg>
        <pc:picChg chg="mod">
          <ac:chgData name="Batuhan Yildiz" userId="90f344fc-4655-4923-aeaf-697bba59c1a7" providerId="ADAL" clId="{0254B5F4-966E-4F95-9283-C5214D39B1CA}" dt="2020-05-22T01:53:03.126" v="100" actId="14100"/>
          <ac:picMkLst>
            <pc:docMk/>
            <pc:sldMk cId="3112427032" sldId="722"/>
            <ac:picMk id="5" creationId="{E1BDEB98-4958-4134-8800-796FD4F3D2C4}"/>
          </ac:picMkLst>
        </pc:picChg>
        <pc:picChg chg="mod">
          <ac:chgData name="Batuhan Yildiz" userId="90f344fc-4655-4923-aeaf-697bba59c1a7" providerId="ADAL" clId="{0254B5F4-966E-4F95-9283-C5214D39B1CA}" dt="2020-05-22T01:53:16.275" v="102" actId="1076"/>
          <ac:picMkLst>
            <pc:docMk/>
            <pc:sldMk cId="3112427032" sldId="722"/>
            <ac:picMk id="7" creationId="{418F76F9-AE8B-4428-B02C-882C36F3AE7C}"/>
          </ac:picMkLst>
        </pc:picChg>
      </pc:sldChg>
      <pc:sldChg chg="modSp mod modClrScheme chgLayout">
        <pc:chgData name="Batuhan Yildiz" userId="90f344fc-4655-4923-aeaf-697bba59c1a7" providerId="ADAL" clId="{0254B5F4-966E-4F95-9283-C5214D39B1CA}" dt="2020-05-22T02:13:16.773" v="221" actId="700"/>
        <pc:sldMkLst>
          <pc:docMk/>
          <pc:sldMk cId="4218964462" sldId="724"/>
        </pc:sldMkLst>
        <pc:spChg chg="mod ord">
          <ac:chgData name="Batuhan Yildiz" userId="90f344fc-4655-4923-aeaf-697bba59c1a7" providerId="ADAL" clId="{0254B5F4-966E-4F95-9283-C5214D39B1CA}" dt="2020-05-22T02:13:16.773" v="221" actId="700"/>
          <ac:spMkLst>
            <pc:docMk/>
            <pc:sldMk cId="4218964462" sldId="724"/>
            <ac:spMk id="2" creationId="{840C36D3-A394-47C0-B9C4-01C6A7160087}"/>
          </ac:spMkLst>
        </pc:spChg>
        <pc:spChg chg="mod ord">
          <ac:chgData name="Batuhan Yildiz" userId="90f344fc-4655-4923-aeaf-697bba59c1a7" providerId="ADAL" clId="{0254B5F4-966E-4F95-9283-C5214D39B1CA}" dt="2020-05-22T02:13:16.773" v="221" actId="700"/>
          <ac:spMkLst>
            <pc:docMk/>
            <pc:sldMk cId="4218964462" sldId="724"/>
            <ac:spMk id="3" creationId="{B9A5ABA0-0A95-4736-876E-E3E1F85B156E}"/>
          </ac:spMkLst>
        </pc:spChg>
        <pc:spChg chg="mod ord">
          <ac:chgData name="Batuhan Yildiz" userId="90f344fc-4655-4923-aeaf-697bba59c1a7" providerId="ADAL" clId="{0254B5F4-966E-4F95-9283-C5214D39B1CA}" dt="2020-05-22T02:13:16.773" v="221" actId="700"/>
          <ac:spMkLst>
            <pc:docMk/>
            <pc:sldMk cId="4218964462" sldId="724"/>
            <ac:spMk id="4" creationId="{DE5845F6-B68B-429D-B0C2-353CF2015E97}"/>
          </ac:spMkLst>
        </pc:spChg>
      </pc:sldChg>
      <pc:sldChg chg="del">
        <pc:chgData name="Batuhan Yildiz" userId="90f344fc-4655-4923-aeaf-697bba59c1a7" providerId="ADAL" clId="{0254B5F4-966E-4F95-9283-C5214D39B1CA}" dt="2020-05-22T01:57:55.715" v="132" actId="47"/>
        <pc:sldMkLst>
          <pc:docMk/>
          <pc:sldMk cId="3040929960" sldId="726"/>
        </pc:sldMkLst>
      </pc:sldChg>
      <pc:sldChg chg="addSp delSp modSp mod chgLayout">
        <pc:chgData name="Batuhan Yildiz" userId="90f344fc-4655-4923-aeaf-697bba59c1a7" providerId="ADAL" clId="{0254B5F4-966E-4F95-9283-C5214D39B1CA}" dt="2020-05-22T01:47:14.433" v="59" actId="14100"/>
        <pc:sldMkLst>
          <pc:docMk/>
          <pc:sldMk cId="4273182634" sldId="739"/>
        </pc:sldMkLst>
        <pc:spChg chg="mod ord">
          <ac:chgData name="Batuhan Yildiz" userId="90f344fc-4655-4923-aeaf-697bba59c1a7" providerId="ADAL" clId="{0254B5F4-966E-4F95-9283-C5214D39B1CA}" dt="2020-05-22T01:41:44.866" v="24" actId="700"/>
          <ac:spMkLst>
            <pc:docMk/>
            <pc:sldMk cId="4273182634" sldId="739"/>
            <ac:spMk id="2" creationId="{A8E6DCE9-9C89-4283-B0E0-34E0C1FB96DA}"/>
          </ac:spMkLst>
        </pc:spChg>
        <pc:spChg chg="add del mod ord">
          <ac:chgData name="Batuhan Yildiz" userId="90f344fc-4655-4923-aeaf-697bba59c1a7" providerId="ADAL" clId="{0254B5F4-966E-4F95-9283-C5214D39B1CA}" dt="2020-05-22T01:46:23.816" v="50" actId="478"/>
          <ac:spMkLst>
            <pc:docMk/>
            <pc:sldMk cId="4273182634" sldId="739"/>
            <ac:spMk id="3" creationId="{5B41035C-6934-4CA3-BD4F-F2CD76E02F13}"/>
          </ac:spMkLst>
        </pc:spChg>
        <pc:spChg chg="del mod ord">
          <ac:chgData name="Batuhan Yildiz" userId="90f344fc-4655-4923-aeaf-697bba59c1a7" providerId="ADAL" clId="{0254B5F4-966E-4F95-9283-C5214D39B1CA}" dt="2020-05-22T01:46:43.268" v="51" actId="12084"/>
          <ac:spMkLst>
            <pc:docMk/>
            <pc:sldMk cId="4273182634" sldId="739"/>
            <ac:spMk id="4" creationId="{EB8FEEE0-7D03-497F-99E3-2992983D127E}"/>
          </ac:spMkLst>
        </pc:spChg>
        <pc:graphicFrameChg chg="add mod">
          <ac:chgData name="Batuhan Yildiz" userId="90f344fc-4655-4923-aeaf-697bba59c1a7" providerId="ADAL" clId="{0254B5F4-966E-4F95-9283-C5214D39B1CA}" dt="2020-05-22T01:47:14.433" v="59" actId="14100"/>
          <ac:graphicFrameMkLst>
            <pc:docMk/>
            <pc:sldMk cId="4273182634" sldId="739"/>
            <ac:graphicFrameMk id="5" creationId="{DEDD7C00-E6DD-49FC-B002-58AF8BE78D13}"/>
          </ac:graphicFrameMkLst>
        </pc:graphicFrameChg>
        <pc:picChg chg="mod">
          <ac:chgData name="Batuhan Yildiz" userId="90f344fc-4655-4923-aeaf-697bba59c1a7" providerId="ADAL" clId="{0254B5F4-966E-4F95-9283-C5214D39B1CA}" dt="2020-05-22T01:47:10.123" v="58" actId="1076"/>
          <ac:picMkLst>
            <pc:docMk/>
            <pc:sldMk cId="4273182634" sldId="739"/>
            <ac:picMk id="6" creationId="{32EEFF7D-7B83-4E51-9C9D-CDCDD68B2E0B}"/>
          </ac:picMkLst>
        </pc:picChg>
      </pc:sldChg>
      <pc:sldChg chg="addSp delSp modSp mod chgLayout">
        <pc:chgData name="Batuhan Yildiz" userId="90f344fc-4655-4923-aeaf-697bba59c1a7" providerId="ADAL" clId="{0254B5F4-966E-4F95-9283-C5214D39B1CA}" dt="2020-05-22T20:53:02.373" v="365" actId="478"/>
        <pc:sldMkLst>
          <pc:docMk/>
          <pc:sldMk cId="3519215731" sldId="740"/>
        </pc:sldMkLst>
        <pc:spChg chg="mod ord">
          <ac:chgData name="Batuhan Yildiz" userId="90f344fc-4655-4923-aeaf-697bba59c1a7" providerId="ADAL" clId="{0254B5F4-966E-4F95-9283-C5214D39B1CA}" dt="2020-05-22T20:52:57.347" v="364" actId="700"/>
          <ac:spMkLst>
            <pc:docMk/>
            <pc:sldMk cId="3519215731" sldId="740"/>
            <ac:spMk id="2" creationId="{1A8C9BAD-C468-4051-8E6A-AC3581038BBF}"/>
          </ac:spMkLst>
        </pc:spChg>
        <pc:spChg chg="del">
          <ac:chgData name="Batuhan Yildiz" userId="90f344fc-4655-4923-aeaf-697bba59c1a7" providerId="ADAL" clId="{0254B5F4-966E-4F95-9283-C5214D39B1CA}" dt="2020-05-22T20:51:35.357" v="346" actId="700"/>
          <ac:spMkLst>
            <pc:docMk/>
            <pc:sldMk cId="3519215731" sldId="740"/>
            <ac:spMk id="3" creationId="{F9DE8284-7D2A-4EA6-BDA8-F513178D258A}"/>
          </ac:spMkLst>
        </pc:spChg>
        <pc:spChg chg="del mod ord">
          <ac:chgData name="Batuhan Yildiz" userId="90f344fc-4655-4923-aeaf-697bba59c1a7" providerId="ADAL" clId="{0254B5F4-966E-4F95-9283-C5214D39B1CA}" dt="2020-05-22T20:51:35.357" v="346" actId="700"/>
          <ac:spMkLst>
            <pc:docMk/>
            <pc:sldMk cId="3519215731" sldId="740"/>
            <ac:spMk id="4" creationId="{85ED5025-EBF6-477A-BA40-261D32000A12}"/>
          </ac:spMkLst>
        </pc:spChg>
        <pc:spChg chg="add del mod ord">
          <ac:chgData name="Batuhan Yildiz" userId="90f344fc-4655-4923-aeaf-697bba59c1a7" providerId="ADAL" clId="{0254B5F4-966E-4F95-9283-C5214D39B1CA}" dt="2020-05-22T20:52:57.347" v="364" actId="700"/>
          <ac:spMkLst>
            <pc:docMk/>
            <pc:sldMk cId="3519215731" sldId="740"/>
            <ac:spMk id="5" creationId="{B699D351-66A7-427B-AD08-0E18061076B9}"/>
          </ac:spMkLst>
        </pc:spChg>
        <pc:spChg chg="add mod ord">
          <ac:chgData name="Batuhan Yildiz" userId="90f344fc-4655-4923-aeaf-697bba59c1a7" providerId="ADAL" clId="{0254B5F4-966E-4F95-9283-C5214D39B1CA}" dt="2020-05-22T20:52:57.347" v="364" actId="700"/>
          <ac:spMkLst>
            <pc:docMk/>
            <pc:sldMk cId="3519215731" sldId="740"/>
            <ac:spMk id="6" creationId="{0011B027-421F-4D6D-AFFC-640ED3932C45}"/>
          </ac:spMkLst>
        </pc:spChg>
        <pc:spChg chg="add del mod ord">
          <ac:chgData name="Batuhan Yildiz" userId="90f344fc-4655-4923-aeaf-697bba59c1a7" providerId="ADAL" clId="{0254B5F4-966E-4F95-9283-C5214D39B1CA}" dt="2020-05-22T20:53:02.373" v="365" actId="478"/>
          <ac:spMkLst>
            <pc:docMk/>
            <pc:sldMk cId="3519215731" sldId="740"/>
            <ac:spMk id="7" creationId="{643D32FF-5BC3-4B2F-BEB0-7D718046431B}"/>
          </ac:spMkLst>
        </pc:spChg>
        <pc:spChg chg="mod">
          <ac:chgData name="Batuhan Yildiz" userId="90f344fc-4655-4923-aeaf-697bba59c1a7" providerId="ADAL" clId="{0254B5F4-966E-4F95-9283-C5214D39B1CA}" dt="2020-05-22T20:52:43.291" v="363" actId="1076"/>
          <ac:spMkLst>
            <pc:docMk/>
            <pc:sldMk cId="3519215731" sldId="740"/>
            <ac:spMk id="15" creationId="{FDC7E110-D604-4E9D-86C6-536B2F7151C5}"/>
          </ac:spMkLst>
        </pc:spChg>
        <pc:picChg chg="mod">
          <ac:chgData name="Batuhan Yildiz" userId="90f344fc-4655-4923-aeaf-697bba59c1a7" providerId="ADAL" clId="{0254B5F4-966E-4F95-9283-C5214D39B1CA}" dt="2020-05-22T20:52:08.145" v="362" actId="1076"/>
          <ac:picMkLst>
            <pc:docMk/>
            <pc:sldMk cId="3519215731" sldId="740"/>
            <ac:picMk id="12" creationId="{107A8065-BFAC-4878-934C-5F35CC55CC84}"/>
          </ac:picMkLst>
        </pc:picChg>
        <pc:picChg chg="mod">
          <ac:chgData name="Batuhan Yildiz" userId="90f344fc-4655-4923-aeaf-697bba59c1a7" providerId="ADAL" clId="{0254B5F4-966E-4F95-9283-C5214D39B1CA}" dt="2020-05-22T20:51:48.578" v="349" actId="1076"/>
          <ac:picMkLst>
            <pc:docMk/>
            <pc:sldMk cId="3519215731" sldId="740"/>
            <ac:picMk id="13" creationId="{23A18E50-3D76-4429-B990-FC4BDBDE611A}"/>
          </ac:picMkLst>
        </pc:picChg>
        <pc:cxnChg chg="mod">
          <ac:chgData name="Batuhan Yildiz" userId="90f344fc-4655-4923-aeaf-697bba59c1a7" providerId="ADAL" clId="{0254B5F4-966E-4F95-9283-C5214D39B1CA}" dt="2020-05-22T20:51:52.542" v="350" actId="1076"/>
          <ac:cxnSpMkLst>
            <pc:docMk/>
            <pc:sldMk cId="3519215731" sldId="740"/>
            <ac:cxnSpMk id="14" creationId="{C730233B-0298-4444-A866-AFFE1A05160F}"/>
          </ac:cxnSpMkLst>
        </pc:cxnChg>
      </pc:sldChg>
      <pc:sldChg chg="addSp delSp modSp mod chgLayout">
        <pc:chgData name="Batuhan Yildiz" userId="90f344fc-4655-4923-aeaf-697bba59c1a7" providerId="ADAL" clId="{0254B5F4-966E-4F95-9283-C5214D39B1CA}" dt="2020-05-22T20:56:39.657" v="388" actId="478"/>
        <pc:sldMkLst>
          <pc:docMk/>
          <pc:sldMk cId="4059037730" sldId="741"/>
        </pc:sldMkLst>
        <pc:spChg chg="add del mod ord">
          <ac:chgData name="Batuhan Yildiz" userId="90f344fc-4655-4923-aeaf-697bba59c1a7" providerId="ADAL" clId="{0254B5F4-966E-4F95-9283-C5214D39B1CA}" dt="2020-05-22T20:56:27.340" v="386" actId="478"/>
          <ac:spMkLst>
            <pc:docMk/>
            <pc:sldMk cId="4059037730" sldId="741"/>
            <ac:spMk id="2" creationId="{277E00B8-5CDE-4187-8CC6-38DCE1BACB27}"/>
          </ac:spMkLst>
        </pc:spChg>
        <pc:spChg chg="add del mod ord">
          <ac:chgData name="Batuhan Yildiz" userId="90f344fc-4655-4923-aeaf-697bba59c1a7" providerId="ADAL" clId="{0254B5F4-966E-4F95-9283-C5214D39B1CA}" dt="2020-05-22T20:55:48.600" v="383" actId="700"/>
          <ac:spMkLst>
            <pc:docMk/>
            <pc:sldMk cId="4059037730" sldId="741"/>
            <ac:spMk id="3" creationId="{50C47AA0-3DEF-4525-BF08-60CD005139CB}"/>
          </ac:spMkLst>
        </pc:spChg>
        <pc:spChg chg="del mod ord">
          <ac:chgData name="Batuhan Yildiz" userId="90f344fc-4655-4923-aeaf-697bba59c1a7" providerId="ADAL" clId="{0254B5F4-966E-4F95-9283-C5214D39B1CA}" dt="2020-05-22T20:53:20.157" v="366" actId="700"/>
          <ac:spMkLst>
            <pc:docMk/>
            <pc:sldMk cId="4059037730" sldId="741"/>
            <ac:spMk id="4" creationId="{88D228A3-32DD-487E-A208-3D8DDCDFB251}"/>
          </ac:spMkLst>
        </pc:spChg>
        <pc:spChg chg="add del mod ord">
          <ac:chgData name="Batuhan Yildiz" userId="90f344fc-4655-4923-aeaf-697bba59c1a7" providerId="ADAL" clId="{0254B5F4-966E-4F95-9283-C5214D39B1CA}" dt="2020-05-22T20:55:51.846" v="384" actId="478"/>
          <ac:spMkLst>
            <pc:docMk/>
            <pc:sldMk cId="4059037730" sldId="741"/>
            <ac:spMk id="10" creationId="{528559C7-C945-487D-A91A-B244AF2B9E94}"/>
          </ac:spMkLst>
        </pc:spChg>
        <pc:spChg chg="add del mod ord">
          <ac:chgData name="Batuhan Yildiz" userId="90f344fc-4655-4923-aeaf-697bba59c1a7" providerId="ADAL" clId="{0254B5F4-966E-4F95-9283-C5214D39B1CA}" dt="2020-05-22T20:56:34.974" v="387" actId="700"/>
          <ac:spMkLst>
            <pc:docMk/>
            <pc:sldMk cId="4059037730" sldId="741"/>
            <ac:spMk id="11" creationId="{9D3E17E2-4911-42E2-8EE9-ED6692C3A91A}"/>
          </ac:spMkLst>
        </pc:spChg>
        <pc:spChg chg="add del mod ord">
          <ac:chgData name="Batuhan Yildiz" userId="90f344fc-4655-4923-aeaf-697bba59c1a7" providerId="ADAL" clId="{0254B5F4-966E-4F95-9283-C5214D39B1CA}" dt="2020-05-22T20:56:34.974" v="387" actId="700"/>
          <ac:spMkLst>
            <pc:docMk/>
            <pc:sldMk cId="4059037730" sldId="741"/>
            <ac:spMk id="13" creationId="{09FF5296-2086-4664-99A8-871EFC3570C1}"/>
          </ac:spMkLst>
        </pc:spChg>
        <pc:spChg chg="add mod ord">
          <ac:chgData name="Batuhan Yildiz" userId="90f344fc-4655-4923-aeaf-697bba59c1a7" providerId="ADAL" clId="{0254B5F4-966E-4F95-9283-C5214D39B1CA}" dt="2020-05-22T20:56:34.974" v="387" actId="700"/>
          <ac:spMkLst>
            <pc:docMk/>
            <pc:sldMk cId="4059037730" sldId="741"/>
            <ac:spMk id="14" creationId="{13DD713D-C879-4966-B7BD-8EEB150C824E}"/>
          </ac:spMkLst>
        </pc:spChg>
        <pc:spChg chg="add del mod ord">
          <ac:chgData name="Batuhan Yildiz" userId="90f344fc-4655-4923-aeaf-697bba59c1a7" providerId="ADAL" clId="{0254B5F4-966E-4F95-9283-C5214D39B1CA}" dt="2020-05-22T20:56:39.657" v="388" actId="478"/>
          <ac:spMkLst>
            <pc:docMk/>
            <pc:sldMk cId="4059037730" sldId="741"/>
            <ac:spMk id="15" creationId="{3B212523-A49E-49DB-BE23-78D799114DB4}"/>
          </ac:spMkLst>
        </pc:spChg>
        <pc:spChg chg="mod ord">
          <ac:chgData name="Batuhan Yildiz" userId="90f344fc-4655-4923-aeaf-697bba59c1a7" providerId="ADAL" clId="{0254B5F4-966E-4F95-9283-C5214D39B1CA}" dt="2020-05-22T20:56:34.974" v="387" actId="700"/>
          <ac:spMkLst>
            <pc:docMk/>
            <pc:sldMk cId="4059037730" sldId="741"/>
            <ac:spMk id="28" creationId="{924AFD01-78BD-4194-8F24-879A252A63B2}"/>
          </ac:spMkLst>
        </pc:spChg>
        <pc:spChg chg="del">
          <ac:chgData name="Batuhan Yildiz" userId="90f344fc-4655-4923-aeaf-697bba59c1a7" providerId="ADAL" clId="{0254B5F4-966E-4F95-9283-C5214D39B1CA}" dt="2020-05-22T20:53:30.772" v="367" actId="478"/>
          <ac:spMkLst>
            <pc:docMk/>
            <pc:sldMk cId="4059037730" sldId="741"/>
            <ac:spMk id="29" creationId="{ABD7374B-D6F5-425C-A5EC-406CCE931F4E}"/>
          </ac:spMkLst>
        </pc:spChg>
        <pc:spChg chg="mod">
          <ac:chgData name="Batuhan Yildiz" userId="90f344fc-4655-4923-aeaf-697bba59c1a7" providerId="ADAL" clId="{0254B5F4-966E-4F95-9283-C5214D39B1CA}" dt="2020-05-22T20:54:54.135" v="380" actId="14100"/>
          <ac:spMkLst>
            <pc:docMk/>
            <pc:sldMk cId="4059037730" sldId="741"/>
            <ac:spMk id="31" creationId="{412EFE38-F60F-4CF7-81D0-ACFA877DD9FC}"/>
          </ac:spMkLst>
        </pc:spChg>
        <pc:grpChg chg="mod">
          <ac:chgData name="Batuhan Yildiz" userId="90f344fc-4655-4923-aeaf-697bba59c1a7" providerId="ADAL" clId="{0254B5F4-966E-4F95-9283-C5214D39B1CA}" dt="2020-05-22T20:53:54.105" v="371" actId="1076"/>
          <ac:grpSpMkLst>
            <pc:docMk/>
            <pc:sldMk cId="4059037730" sldId="741"/>
            <ac:grpSpMk id="33" creationId="{645A8C74-9BEF-4596-BE0F-C9CB534DB752}"/>
          </ac:grpSpMkLst>
        </pc:grpChg>
        <pc:grpChg chg="mod">
          <ac:chgData name="Batuhan Yildiz" userId="90f344fc-4655-4923-aeaf-697bba59c1a7" providerId="ADAL" clId="{0254B5F4-966E-4F95-9283-C5214D39B1CA}" dt="2020-05-22T20:55:38.084" v="382" actId="1076"/>
          <ac:grpSpMkLst>
            <pc:docMk/>
            <pc:sldMk cId="4059037730" sldId="741"/>
            <ac:grpSpMk id="40" creationId="{3EB354AC-D039-4296-ACFE-A5822A694423}"/>
          </ac:grpSpMkLst>
        </pc:grpChg>
        <pc:picChg chg="mod">
          <ac:chgData name="Batuhan Yildiz" userId="90f344fc-4655-4923-aeaf-697bba59c1a7" providerId="ADAL" clId="{0254B5F4-966E-4F95-9283-C5214D39B1CA}" dt="2020-05-22T20:53:43.567" v="370" actId="1076"/>
          <ac:picMkLst>
            <pc:docMk/>
            <pc:sldMk cId="4059037730" sldId="741"/>
            <ac:picMk id="27" creationId="{6DDE1B27-479A-4FFF-96D1-0CD76DC4E2AE}"/>
          </ac:picMkLst>
        </pc:picChg>
        <pc:picChg chg="mod">
          <ac:chgData name="Batuhan Yildiz" userId="90f344fc-4655-4923-aeaf-697bba59c1a7" providerId="ADAL" clId="{0254B5F4-966E-4F95-9283-C5214D39B1CA}" dt="2020-05-22T20:53:59.632" v="372" actId="1076"/>
          <ac:picMkLst>
            <pc:docMk/>
            <pc:sldMk cId="4059037730" sldId="741"/>
            <ac:picMk id="32" creationId="{F0A0558F-4383-438F-8B1D-EBA1371B0D5A}"/>
          </ac:picMkLst>
        </pc:picChg>
        <pc:cxnChg chg="mod">
          <ac:chgData name="Batuhan Yildiz" userId="90f344fc-4655-4923-aeaf-697bba59c1a7" providerId="ADAL" clId="{0254B5F4-966E-4F95-9283-C5214D39B1CA}" dt="2020-05-22T20:54:40.495" v="379" actId="14100"/>
          <ac:cxnSpMkLst>
            <pc:docMk/>
            <pc:sldMk cId="4059037730" sldId="741"/>
            <ac:cxnSpMk id="30" creationId="{34628DF2-0317-4F25-B5E3-003A17EE02D4}"/>
          </ac:cxnSpMkLst>
        </pc:cxnChg>
      </pc:sldChg>
      <pc:sldChg chg="addSp delSp modSp mod chgLayout">
        <pc:chgData name="Batuhan Yildiz" userId="90f344fc-4655-4923-aeaf-697bba59c1a7" providerId="ADAL" clId="{0254B5F4-966E-4F95-9283-C5214D39B1CA}" dt="2020-05-22T20:58:55.057" v="405" actId="1076"/>
        <pc:sldMkLst>
          <pc:docMk/>
          <pc:sldMk cId="3318415662" sldId="742"/>
        </pc:sldMkLst>
        <pc:spChg chg="add del mod ord">
          <ac:chgData name="Batuhan Yildiz" userId="90f344fc-4655-4923-aeaf-697bba59c1a7" providerId="ADAL" clId="{0254B5F4-966E-4F95-9283-C5214D39B1CA}" dt="2020-05-22T20:58:02.880" v="397" actId="700"/>
          <ac:spMkLst>
            <pc:docMk/>
            <pc:sldMk cId="3318415662" sldId="742"/>
            <ac:spMk id="2" creationId="{C42872A0-4215-48E0-B894-19B6005061CF}"/>
          </ac:spMkLst>
        </pc:spChg>
        <pc:spChg chg="add del mod ord">
          <ac:chgData name="Batuhan Yildiz" userId="90f344fc-4655-4923-aeaf-697bba59c1a7" providerId="ADAL" clId="{0254B5F4-966E-4F95-9283-C5214D39B1CA}" dt="2020-05-22T20:58:02.880" v="397" actId="700"/>
          <ac:spMkLst>
            <pc:docMk/>
            <pc:sldMk cId="3318415662" sldId="742"/>
            <ac:spMk id="3" creationId="{D24EE1F7-0B71-4C43-BADA-1E58E5A90FD0}"/>
          </ac:spMkLst>
        </pc:spChg>
        <pc:spChg chg="del mod ord">
          <ac:chgData name="Batuhan Yildiz" userId="90f344fc-4655-4923-aeaf-697bba59c1a7" providerId="ADAL" clId="{0254B5F4-966E-4F95-9283-C5214D39B1CA}" dt="2020-05-22T20:56:49.612" v="389" actId="700"/>
          <ac:spMkLst>
            <pc:docMk/>
            <pc:sldMk cId="3318415662" sldId="742"/>
            <ac:spMk id="4" creationId="{5133A9F1-27DC-48E6-BB45-03C7EF114DD7}"/>
          </ac:spMkLst>
        </pc:spChg>
        <pc:spChg chg="mod ord">
          <ac:chgData name="Batuhan Yildiz" userId="90f344fc-4655-4923-aeaf-697bba59c1a7" providerId="ADAL" clId="{0254B5F4-966E-4F95-9283-C5214D39B1CA}" dt="2020-05-22T20:58:02.880" v="397" actId="700"/>
          <ac:spMkLst>
            <pc:docMk/>
            <pc:sldMk cId="3318415662" sldId="742"/>
            <ac:spMk id="6" creationId="{F7926A24-7E26-4E10-B925-BCF8DFB4D1C5}"/>
          </ac:spMkLst>
        </pc:spChg>
        <pc:spChg chg="del">
          <ac:chgData name="Batuhan Yildiz" userId="90f344fc-4655-4923-aeaf-697bba59c1a7" providerId="ADAL" clId="{0254B5F4-966E-4F95-9283-C5214D39B1CA}" dt="2020-05-22T20:56:54.045" v="390" actId="478"/>
          <ac:spMkLst>
            <pc:docMk/>
            <pc:sldMk cId="3318415662" sldId="742"/>
            <ac:spMk id="7" creationId="{17B3214B-D6A0-4F3C-822C-223DFE872FBC}"/>
          </ac:spMkLst>
        </pc:spChg>
        <pc:spChg chg="mod">
          <ac:chgData name="Batuhan Yildiz" userId="90f344fc-4655-4923-aeaf-697bba59c1a7" providerId="ADAL" clId="{0254B5F4-966E-4F95-9283-C5214D39B1CA}" dt="2020-05-22T20:58:44.857" v="404" actId="108"/>
          <ac:spMkLst>
            <pc:docMk/>
            <pc:sldMk cId="3318415662" sldId="742"/>
            <ac:spMk id="9" creationId="{109355AB-082A-4B56-8AFB-648D66C7FB03}"/>
          </ac:spMkLst>
        </pc:spChg>
        <pc:spChg chg="add mod ord">
          <ac:chgData name="Batuhan Yildiz" userId="90f344fc-4655-4923-aeaf-697bba59c1a7" providerId="ADAL" clId="{0254B5F4-966E-4F95-9283-C5214D39B1CA}" dt="2020-05-22T20:58:02.880" v="397" actId="700"/>
          <ac:spMkLst>
            <pc:docMk/>
            <pc:sldMk cId="3318415662" sldId="742"/>
            <ac:spMk id="16" creationId="{0A77164B-530A-4BA1-812F-1FA69170F7C3}"/>
          </ac:spMkLst>
        </pc:spChg>
        <pc:spChg chg="add del mod ord">
          <ac:chgData name="Batuhan Yildiz" userId="90f344fc-4655-4923-aeaf-697bba59c1a7" providerId="ADAL" clId="{0254B5F4-966E-4F95-9283-C5214D39B1CA}" dt="2020-05-22T20:58:06.990" v="398" actId="478"/>
          <ac:spMkLst>
            <pc:docMk/>
            <pc:sldMk cId="3318415662" sldId="742"/>
            <ac:spMk id="17" creationId="{7D809898-839D-40E3-8266-CA976B0AA8A1}"/>
          </ac:spMkLst>
        </pc:spChg>
        <pc:picChg chg="mod">
          <ac:chgData name="Batuhan Yildiz" userId="90f344fc-4655-4923-aeaf-697bba59c1a7" providerId="ADAL" clId="{0254B5F4-966E-4F95-9283-C5214D39B1CA}" dt="2020-05-22T20:58:31.950" v="402" actId="1076"/>
          <ac:picMkLst>
            <pc:docMk/>
            <pc:sldMk cId="3318415662" sldId="742"/>
            <ac:picMk id="5" creationId="{1A05B084-7C85-4166-9EED-8D5998C86256}"/>
          </ac:picMkLst>
        </pc:picChg>
        <pc:picChg chg="mod">
          <ac:chgData name="Batuhan Yildiz" userId="90f344fc-4655-4923-aeaf-697bba59c1a7" providerId="ADAL" clId="{0254B5F4-966E-4F95-9283-C5214D39B1CA}" dt="2020-05-22T20:57:25.462" v="394" actId="1076"/>
          <ac:picMkLst>
            <pc:docMk/>
            <pc:sldMk cId="3318415662" sldId="742"/>
            <ac:picMk id="10" creationId="{D05B5938-F1CF-414B-A260-A11035FCF6BA}"/>
          </ac:picMkLst>
        </pc:picChg>
        <pc:cxnChg chg="mod">
          <ac:chgData name="Batuhan Yildiz" userId="90f344fc-4655-4923-aeaf-697bba59c1a7" providerId="ADAL" clId="{0254B5F4-966E-4F95-9283-C5214D39B1CA}" dt="2020-05-22T20:58:55.057" v="405" actId="1076"/>
          <ac:cxnSpMkLst>
            <pc:docMk/>
            <pc:sldMk cId="3318415662" sldId="742"/>
            <ac:cxnSpMk id="8" creationId="{E8464D29-8BEC-4C01-857C-1BF1F8DA09B3}"/>
          </ac:cxnSpMkLst>
        </pc:cxnChg>
      </pc:sldChg>
      <pc:sldChg chg="delSp modSp mod">
        <pc:chgData name="Batuhan Yildiz" userId="90f344fc-4655-4923-aeaf-697bba59c1a7" providerId="ADAL" clId="{0254B5F4-966E-4F95-9283-C5214D39B1CA}" dt="2020-05-22T21:00:13.898" v="416" actId="108"/>
        <pc:sldMkLst>
          <pc:docMk/>
          <pc:sldMk cId="1174375317" sldId="743"/>
        </pc:sldMkLst>
        <pc:spChg chg="del">
          <ac:chgData name="Batuhan Yildiz" userId="90f344fc-4655-4923-aeaf-697bba59c1a7" providerId="ADAL" clId="{0254B5F4-966E-4F95-9283-C5214D39B1CA}" dt="2020-05-22T20:59:12.424" v="406" actId="478"/>
          <ac:spMkLst>
            <pc:docMk/>
            <pc:sldMk cId="1174375317" sldId="743"/>
            <ac:spMk id="8" creationId="{ED7934DB-C049-4D18-BA78-46721384798A}"/>
          </ac:spMkLst>
        </pc:spChg>
        <pc:spChg chg="mod">
          <ac:chgData name="Batuhan Yildiz" userId="90f344fc-4655-4923-aeaf-697bba59c1a7" providerId="ADAL" clId="{0254B5F4-966E-4F95-9283-C5214D39B1CA}" dt="2020-05-22T21:00:13.898" v="416" actId="108"/>
          <ac:spMkLst>
            <pc:docMk/>
            <pc:sldMk cId="1174375317" sldId="743"/>
            <ac:spMk id="10" creationId="{0AA4B050-2EFA-40E5-818D-C89A22568BB3}"/>
          </ac:spMkLst>
        </pc:spChg>
        <pc:grpChg chg="mod">
          <ac:chgData name="Batuhan Yildiz" userId="90f344fc-4655-4923-aeaf-697bba59c1a7" providerId="ADAL" clId="{0254B5F4-966E-4F95-9283-C5214D39B1CA}" dt="2020-05-22T20:59:33.623" v="410" actId="1076"/>
          <ac:grpSpMkLst>
            <pc:docMk/>
            <pc:sldMk cId="1174375317" sldId="743"/>
            <ac:grpSpMk id="11" creationId="{8A8D2762-2DFF-4E09-BDBA-963F913D8AF9}"/>
          </ac:grpSpMkLst>
        </pc:grpChg>
        <pc:picChg chg="mod">
          <ac:chgData name="Batuhan Yildiz" userId="90f344fc-4655-4923-aeaf-697bba59c1a7" providerId="ADAL" clId="{0254B5F4-966E-4F95-9283-C5214D39B1CA}" dt="2020-05-22T20:59:55.791" v="414" actId="1076"/>
          <ac:picMkLst>
            <pc:docMk/>
            <pc:sldMk cId="1174375317" sldId="743"/>
            <ac:picMk id="5" creationId="{EAE4DA2B-A58C-4D4F-A4E8-9A2FE2042EA1}"/>
          </ac:picMkLst>
        </pc:picChg>
        <pc:cxnChg chg="mod">
          <ac:chgData name="Batuhan Yildiz" userId="90f344fc-4655-4923-aeaf-697bba59c1a7" providerId="ADAL" clId="{0254B5F4-966E-4F95-9283-C5214D39B1CA}" dt="2020-05-22T20:59:39.322" v="411" actId="1076"/>
          <ac:cxnSpMkLst>
            <pc:docMk/>
            <pc:sldMk cId="1174375317" sldId="743"/>
            <ac:cxnSpMk id="9" creationId="{2FE6333F-52B3-4048-A9FA-D08116C88B6A}"/>
          </ac:cxnSpMkLst>
        </pc:cxnChg>
      </pc:sldChg>
      <pc:sldChg chg="addSp delSp modSp del mod chgLayout">
        <pc:chgData name="Batuhan Yildiz" userId="90f344fc-4655-4923-aeaf-697bba59c1a7" providerId="ADAL" clId="{0254B5F4-966E-4F95-9283-C5214D39B1CA}" dt="2020-05-22T21:04:26.133" v="458" actId="47"/>
        <pc:sldMkLst>
          <pc:docMk/>
          <pc:sldMk cId="701321382" sldId="744"/>
        </pc:sldMkLst>
        <pc:spChg chg="add del mod ord">
          <ac:chgData name="Batuhan Yildiz" userId="90f344fc-4655-4923-aeaf-697bba59c1a7" providerId="ADAL" clId="{0254B5F4-966E-4F95-9283-C5214D39B1CA}" dt="2020-05-22T21:03:19.375" v="448" actId="700"/>
          <ac:spMkLst>
            <pc:docMk/>
            <pc:sldMk cId="701321382" sldId="744"/>
            <ac:spMk id="2" creationId="{08332018-D3FA-4B04-8809-A6251C9FD5B1}"/>
          </ac:spMkLst>
        </pc:spChg>
        <pc:spChg chg="add del mod ord">
          <ac:chgData name="Batuhan Yildiz" userId="90f344fc-4655-4923-aeaf-697bba59c1a7" providerId="ADAL" clId="{0254B5F4-966E-4F95-9283-C5214D39B1CA}" dt="2020-05-22T21:03:19.375" v="448" actId="700"/>
          <ac:spMkLst>
            <pc:docMk/>
            <pc:sldMk cId="701321382" sldId="744"/>
            <ac:spMk id="3" creationId="{A1543C11-DFA3-4733-807C-8534116887BC}"/>
          </ac:spMkLst>
        </pc:spChg>
        <pc:spChg chg="add del mod ord">
          <ac:chgData name="Batuhan Yildiz" userId="90f344fc-4655-4923-aeaf-697bba59c1a7" providerId="ADAL" clId="{0254B5F4-966E-4F95-9283-C5214D39B1CA}" dt="2020-05-22T21:03:19.375" v="448" actId="700"/>
          <ac:spMkLst>
            <pc:docMk/>
            <pc:sldMk cId="701321382" sldId="744"/>
            <ac:spMk id="4" creationId="{11CC75E6-69A7-42FA-8812-68B8A05426FA}"/>
          </ac:spMkLst>
        </pc:spChg>
        <pc:spChg chg="add del mod ord">
          <ac:chgData name="Batuhan Yildiz" userId="90f344fc-4655-4923-aeaf-697bba59c1a7" providerId="ADAL" clId="{0254B5F4-966E-4F95-9283-C5214D39B1CA}" dt="2020-05-22T21:03:19.375" v="448" actId="700"/>
          <ac:spMkLst>
            <pc:docMk/>
            <pc:sldMk cId="701321382" sldId="744"/>
            <ac:spMk id="5" creationId="{D33A8096-D2EF-4238-B2EC-BC288365E2E0}"/>
          </ac:spMkLst>
        </pc:spChg>
        <pc:spChg chg="add del mod ord">
          <ac:chgData name="Batuhan Yildiz" userId="90f344fc-4655-4923-aeaf-697bba59c1a7" providerId="ADAL" clId="{0254B5F4-966E-4F95-9283-C5214D39B1CA}" dt="2020-05-22T21:03:17.415" v="445" actId="478"/>
          <ac:spMkLst>
            <pc:docMk/>
            <pc:sldMk cId="701321382" sldId="744"/>
            <ac:spMk id="7" creationId="{791B2EE6-CC2B-492E-BA06-C920BA9BF4D1}"/>
          </ac:spMkLst>
        </pc:spChg>
        <pc:spChg chg="add del mod ord">
          <ac:chgData name="Batuhan Yildiz" userId="90f344fc-4655-4923-aeaf-697bba59c1a7" providerId="ADAL" clId="{0254B5F4-966E-4F95-9283-C5214D39B1CA}" dt="2020-05-22T21:02:43.506" v="433" actId="700"/>
          <ac:spMkLst>
            <pc:docMk/>
            <pc:sldMk cId="701321382" sldId="744"/>
            <ac:spMk id="8" creationId="{C48CDC80-48D9-430C-AA83-9E1BBCEF021F}"/>
          </ac:spMkLst>
        </pc:spChg>
        <pc:spChg chg="add del mod ord">
          <ac:chgData name="Batuhan Yildiz" userId="90f344fc-4655-4923-aeaf-697bba59c1a7" providerId="ADAL" clId="{0254B5F4-966E-4F95-9283-C5214D39B1CA}" dt="2020-05-22T21:02:43.506" v="433" actId="700"/>
          <ac:spMkLst>
            <pc:docMk/>
            <pc:sldMk cId="701321382" sldId="744"/>
            <ac:spMk id="9" creationId="{3E687BA5-19B1-4510-AFAF-3A55BC74B8E0}"/>
          </ac:spMkLst>
        </pc:spChg>
        <pc:spChg chg="add del mod ord">
          <ac:chgData name="Batuhan Yildiz" userId="90f344fc-4655-4923-aeaf-697bba59c1a7" providerId="ADAL" clId="{0254B5F4-966E-4F95-9283-C5214D39B1CA}" dt="2020-05-22T21:03:06.246" v="435" actId="700"/>
          <ac:spMkLst>
            <pc:docMk/>
            <pc:sldMk cId="701321382" sldId="744"/>
            <ac:spMk id="10" creationId="{9579C12D-80E4-4170-8AE3-F203A5BAEABA}"/>
          </ac:spMkLst>
        </pc:spChg>
        <pc:spChg chg="add del mod ord">
          <ac:chgData name="Batuhan Yildiz" userId="90f344fc-4655-4923-aeaf-697bba59c1a7" providerId="ADAL" clId="{0254B5F4-966E-4F95-9283-C5214D39B1CA}" dt="2020-05-22T21:03:06.246" v="435" actId="700"/>
          <ac:spMkLst>
            <pc:docMk/>
            <pc:sldMk cId="701321382" sldId="744"/>
            <ac:spMk id="11" creationId="{0FB84385-3AED-446D-8B2C-186D2935AB65}"/>
          </ac:spMkLst>
        </pc:spChg>
        <pc:spChg chg="add del">
          <ac:chgData name="Batuhan Yildiz" userId="90f344fc-4655-4923-aeaf-697bba59c1a7" providerId="ADAL" clId="{0254B5F4-966E-4F95-9283-C5214D39B1CA}" dt="2020-05-22T21:03:18.799" v="447" actId="478"/>
          <ac:spMkLst>
            <pc:docMk/>
            <pc:sldMk cId="701321382" sldId="744"/>
            <ac:spMk id="15" creationId="{03131D45-9481-4836-A931-6242FF063ED2}"/>
          </ac:spMkLst>
        </pc:spChg>
        <pc:spChg chg="add del">
          <ac:chgData name="Batuhan Yildiz" userId="90f344fc-4655-4923-aeaf-697bba59c1a7" providerId="ADAL" clId="{0254B5F4-966E-4F95-9283-C5214D39B1CA}" dt="2020-05-22T21:03:16.378" v="443" actId="478"/>
          <ac:spMkLst>
            <pc:docMk/>
            <pc:sldMk cId="701321382" sldId="744"/>
            <ac:spMk id="16" creationId="{72F8C7C5-84AB-4DB7-8298-E68C6977B2CC}"/>
          </ac:spMkLst>
        </pc:spChg>
        <pc:spChg chg="add del">
          <ac:chgData name="Batuhan Yildiz" userId="90f344fc-4655-4923-aeaf-697bba59c1a7" providerId="ADAL" clId="{0254B5F4-966E-4F95-9283-C5214D39B1CA}" dt="2020-05-22T21:03:15.830" v="442" actId="478"/>
          <ac:spMkLst>
            <pc:docMk/>
            <pc:sldMk cId="701321382" sldId="744"/>
            <ac:spMk id="17" creationId="{7AAB4B52-859D-4094-BC5A-6EE8A42CFE8F}"/>
          </ac:spMkLst>
        </pc:spChg>
        <pc:picChg chg="mod">
          <ac:chgData name="Batuhan Yildiz" userId="90f344fc-4655-4923-aeaf-697bba59c1a7" providerId="ADAL" clId="{0254B5F4-966E-4F95-9283-C5214D39B1CA}" dt="2020-05-22T21:03:12.208" v="436" actId="1076"/>
          <ac:picMkLst>
            <pc:docMk/>
            <pc:sldMk cId="701321382" sldId="744"/>
            <ac:picMk id="19" creationId="{4354090D-02CF-438D-9FD8-D5DF9976E8F7}"/>
          </ac:picMkLst>
        </pc:picChg>
        <pc:cxnChg chg="mod">
          <ac:chgData name="Batuhan Yildiz" userId="90f344fc-4655-4923-aeaf-697bba59c1a7" providerId="ADAL" clId="{0254B5F4-966E-4F95-9283-C5214D39B1CA}" dt="2020-05-22T21:03:12.866" v="437" actId="1076"/>
          <ac:cxnSpMkLst>
            <pc:docMk/>
            <pc:sldMk cId="701321382" sldId="744"/>
            <ac:cxnSpMk id="18" creationId="{DBB8ED76-2FFB-421B-9113-F14CD0BAAB7B}"/>
          </ac:cxnSpMkLst>
        </pc:cxnChg>
      </pc:sldChg>
      <pc:sldChg chg="del">
        <pc:chgData name="Batuhan Yildiz" userId="90f344fc-4655-4923-aeaf-697bba59c1a7" providerId="ADAL" clId="{0254B5F4-966E-4F95-9283-C5214D39B1CA}" dt="2020-05-22T21:07:02.986" v="479" actId="47"/>
        <pc:sldMkLst>
          <pc:docMk/>
          <pc:sldMk cId="1394069070" sldId="745"/>
        </pc:sldMkLst>
      </pc:sldChg>
      <pc:sldChg chg="del">
        <pc:chgData name="Batuhan Yildiz" userId="90f344fc-4655-4923-aeaf-697bba59c1a7" providerId="ADAL" clId="{0254B5F4-966E-4F95-9283-C5214D39B1CA}" dt="2020-05-22T21:10:18.626" v="501" actId="47"/>
        <pc:sldMkLst>
          <pc:docMk/>
          <pc:sldMk cId="1755142633" sldId="746"/>
        </pc:sldMkLst>
      </pc:sldChg>
      <pc:sldChg chg="addSp delSp modSp del mod chgLayout">
        <pc:chgData name="Batuhan Yildiz" userId="90f344fc-4655-4923-aeaf-697bba59c1a7" providerId="ADAL" clId="{0254B5F4-966E-4F95-9283-C5214D39B1CA}" dt="2020-05-22T21:12:50.975" v="519" actId="47"/>
        <pc:sldMkLst>
          <pc:docMk/>
          <pc:sldMk cId="1876406133" sldId="747"/>
        </pc:sldMkLst>
        <pc:spChg chg="add del mod ord">
          <ac:chgData name="Batuhan Yildiz" userId="90f344fc-4655-4923-aeaf-697bba59c1a7" providerId="ADAL" clId="{0254B5F4-966E-4F95-9283-C5214D39B1CA}" dt="2020-05-22T21:11:04.915" v="506" actId="700"/>
          <ac:spMkLst>
            <pc:docMk/>
            <pc:sldMk cId="1876406133" sldId="747"/>
            <ac:spMk id="2" creationId="{F9A324C0-8E99-4B24-BC80-B2B0CF5413D1}"/>
          </ac:spMkLst>
        </pc:spChg>
        <pc:spChg chg="add del mod ord">
          <ac:chgData name="Batuhan Yildiz" userId="90f344fc-4655-4923-aeaf-697bba59c1a7" providerId="ADAL" clId="{0254B5F4-966E-4F95-9283-C5214D39B1CA}" dt="2020-05-22T21:11:04.915" v="506" actId="700"/>
          <ac:spMkLst>
            <pc:docMk/>
            <pc:sldMk cId="1876406133" sldId="747"/>
            <ac:spMk id="3" creationId="{135F71DE-5ECC-4F8F-BD5B-B0AFE642E22A}"/>
          </ac:spMkLst>
        </pc:spChg>
        <pc:spChg chg="add del">
          <ac:chgData name="Batuhan Yildiz" userId="90f344fc-4655-4923-aeaf-697bba59c1a7" providerId="ADAL" clId="{0254B5F4-966E-4F95-9283-C5214D39B1CA}" dt="2020-05-22T21:11:04.915" v="506" actId="700"/>
          <ac:spMkLst>
            <pc:docMk/>
            <pc:sldMk cId="1876406133" sldId="747"/>
            <ac:spMk id="4" creationId="{ACA746AC-F9B3-4850-97F1-226F7CE9337C}"/>
          </ac:spMkLst>
        </pc:spChg>
        <pc:spChg chg="add del mod ord">
          <ac:chgData name="Batuhan Yildiz" userId="90f344fc-4655-4923-aeaf-697bba59c1a7" providerId="ADAL" clId="{0254B5F4-966E-4F95-9283-C5214D39B1CA}" dt="2020-05-22T21:11:04.915" v="506" actId="700"/>
          <ac:spMkLst>
            <pc:docMk/>
            <pc:sldMk cId="1876406133" sldId="747"/>
            <ac:spMk id="5" creationId="{6ECB35A2-9276-442F-91B8-285DB69B9756}"/>
          </ac:spMkLst>
        </pc:spChg>
      </pc:sldChg>
      <pc:sldChg chg="del">
        <pc:chgData name="Batuhan Yildiz" userId="90f344fc-4655-4923-aeaf-697bba59c1a7" providerId="ADAL" clId="{0254B5F4-966E-4F95-9283-C5214D39B1CA}" dt="2020-05-22T21:13:18.990" v="524" actId="47"/>
        <pc:sldMkLst>
          <pc:docMk/>
          <pc:sldMk cId="2375141100" sldId="748"/>
        </pc:sldMkLst>
      </pc:sldChg>
      <pc:sldChg chg="del">
        <pc:chgData name="Batuhan Yildiz" userId="90f344fc-4655-4923-aeaf-697bba59c1a7" providerId="ADAL" clId="{0254B5F4-966E-4F95-9283-C5214D39B1CA}" dt="2020-05-22T21:16:54.878" v="569" actId="47"/>
        <pc:sldMkLst>
          <pc:docMk/>
          <pc:sldMk cId="4170214424" sldId="749"/>
        </pc:sldMkLst>
      </pc:sldChg>
      <pc:sldChg chg="del">
        <pc:chgData name="Batuhan Yildiz" userId="90f344fc-4655-4923-aeaf-697bba59c1a7" providerId="ADAL" clId="{0254B5F4-966E-4F95-9283-C5214D39B1CA}" dt="2020-05-22T21:20:56.737" v="604" actId="47"/>
        <pc:sldMkLst>
          <pc:docMk/>
          <pc:sldMk cId="3590630017" sldId="750"/>
        </pc:sldMkLst>
      </pc:sldChg>
      <pc:sldChg chg="del">
        <pc:chgData name="Batuhan Yildiz" userId="90f344fc-4655-4923-aeaf-697bba59c1a7" providerId="ADAL" clId="{0254B5F4-966E-4F95-9283-C5214D39B1CA}" dt="2020-05-22T21:18:41.618" v="589" actId="47"/>
        <pc:sldMkLst>
          <pc:docMk/>
          <pc:sldMk cId="2702188144" sldId="751"/>
        </pc:sldMkLst>
      </pc:sldChg>
      <pc:sldChg chg="del">
        <pc:chgData name="Batuhan Yildiz" userId="90f344fc-4655-4923-aeaf-697bba59c1a7" providerId="ADAL" clId="{0254B5F4-966E-4F95-9283-C5214D39B1CA}" dt="2020-05-22T21:18:13.772" v="583" actId="47"/>
        <pc:sldMkLst>
          <pc:docMk/>
          <pc:sldMk cId="2774665533" sldId="752"/>
        </pc:sldMkLst>
      </pc:sldChg>
      <pc:sldChg chg="del">
        <pc:chgData name="Batuhan Yildiz" userId="90f344fc-4655-4923-aeaf-697bba59c1a7" providerId="ADAL" clId="{0254B5F4-966E-4F95-9283-C5214D39B1CA}" dt="2020-05-22T21:17:45.964" v="578" actId="47"/>
        <pc:sldMkLst>
          <pc:docMk/>
          <pc:sldMk cId="1654518985" sldId="753"/>
        </pc:sldMkLst>
      </pc:sldChg>
      <pc:sldChg chg="addSp delSp modSp mod chgLayout">
        <pc:chgData name="Batuhan Yildiz" userId="90f344fc-4655-4923-aeaf-697bba59c1a7" providerId="ADAL" clId="{0254B5F4-966E-4F95-9283-C5214D39B1CA}" dt="2020-05-22T21:25:54.893" v="651" actId="14100"/>
        <pc:sldMkLst>
          <pc:docMk/>
          <pc:sldMk cId="3409828776" sldId="754"/>
        </pc:sldMkLst>
        <pc:spChg chg="add del mod">
          <ac:chgData name="Batuhan Yildiz" userId="90f344fc-4655-4923-aeaf-697bba59c1a7" providerId="ADAL" clId="{0254B5F4-966E-4F95-9283-C5214D39B1CA}" dt="2020-05-22T21:24:53.230" v="641" actId="478"/>
          <ac:spMkLst>
            <pc:docMk/>
            <pc:sldMk cId="3409828776" sldId="754"/>
            <ac:spMk id="3" creationId="{DD1D72AA-3D57-4AC0-B904-6842A5F7A43B}"/>
          </ac:spMkLst>
        </pc:spChg>
        <pc:spChg chg="del">
          <ac:chgData name="Batuhan Yildiz" userId="90f344fc-4655-4923-aeaf-697bba59c1a7" providerId="ADAL" clId="{0254B5F4-966E-4F95-9283-C5214D39B1CA}" dt="2020-05-22T21:25:00.570" v="643" actId="700"/>
          <ac:spMkLst>
            <pc:docMk/>
            <pc:sldMk cId="3409828776" sldId="754"/>
            <ac:spMk id="4" creationId="{72371263-E422-4E0C-BD62-AE279E225E7E}"/>
          </ac:spMkLst>
        </pc:spChg>
        <pc:spChg chg="del">
          <ac:chgData name="Batuhan Yildiz" userId="90f344fc-4655-4923-aeaf-697bba59c1a7" providerId="ADAL" clId="{0254B5F4-966E-4F95-9283-C5214D39B1CA}" dt="2020-05-22T21:24:52.348" v="640" actId="478"/>
          <ac:spMkLst>
            <pc:docMk/>
            <pc:sldMk cId="3409828776" sldId="754"/>
            <ac:spMk id="5" creationId="{3EDCE9F7-1E8E-499D-8C85-84045DB9FACB}"/>
          </ac:spMkLst>
        </pc:spChg>
        <pc:spChg chg="del">
          <ac:chgData name="Batuhan Yildiz" userId="90f344fc-4655-4923-aeaf-697bba59c1a7" providerId="ADAL" clId="{0254B5F4-966E-4F95-9283-C5214D39B1CA}" dt="2020-05-22T21:24:55.872" v="642" actId="478"/>
          <ac:spMkLst>
            <pc:docMk/>
            <pc:sldMk cId="3409828776" sldId="754"/>
            <ac:spMk id="6" creationId="{FBBB845A-DBA4-41F1-88A6-134A62EAFFA4}"/>
          </ac:spMkLst>
        </pc:spChg>
        <pc:spChg chg="del">
          <ac:chgData name="Batuhan Yildiz" userId="90f344fc-4655-4923-aeaf-697bba59c1a7" providerId="ADAL" clId="{0254B5F4-966E-4F95-9283-C5214D39B1CA}" dt="2020-05-22T21:25:21.911" v="645" actId="478"/>
          <ac:spMkLst>
            <pc:docMk/>
            <pc:sldMk cId="3409828776" sldId="754"/>
            <ac:spMk id="8" creationId="{B59E2F45-A925-49B5-B9C5-ED2DABC9207C}"/>
          </ac:spMkLst>
        </pc:spChg>
        <pc:spChg chg="add mod ord">
          <ac:chgData name="Batuhan Yildiz" userId="90f344fc-4655-4923-aeaf-697bba59c1a7" providerId="ADAL" clId="{0254B5F4-966E-4F95-9283-C5214D39B1CA}" dt="2020-05-22T21:25:03.792" v="644"/>
          <ac:spMkLst>
            <pc:docMk/>
            <pc:sldMk cId="3409828776" sldId="754"/>
            <ac:spMk id="13" creationId="{46D66C16-CBAC-4CF6-9F05-72C1F184F0D9}"/>
          </ac:spMkLst>
        </pc:spChg>
        <pc:spChg chg="add mod ord">
          <ac:chgData name="Batuhan Yildiz" userId="90f344fc-4655-4923-aeaf-697bba59c1a7" providerId="ADAL" clId="{0254B5F4-966E-4F95-9283-C5214D39B1CA}" dt="2020-05-22T21:25:00.570" v="643" actId="700"/>
          <ac:spMkLst>
            <pc:docMk/>
            <pc:sldMk cId="3409828776" sldId="754"/>
            <ac:spMk id="14" creationId="{714867E3-2A2B-47BC-BE7B-E19DEA28FC0D}"/>
          </ac:spMkLst>
        </pc:spChg>
        <pc:spChg chg="add mod ord">
          <ac:chgData name="Batuhan Yildiz" userId="90f344fc-4655-4923-aeaf-697bba59c1a7" providerId="ADAL" clId="{0254B5F4-966E-4F95-9283-C5214D39B1CA}" dt="2020-05-22T21:25:46.504" v="649" actId="6549"/>
          <ac:spMkLst>
            <pc:docMk/>
            <pc:sldMk cId="3409828776" sldId="754"/>
            <ac:spMk id="15" creationId="{48F4CC81-C199-49BB-B742-19C8201ECF54}"/>
          </ac:spMkLst>
        </pc:spChg>
        <pc:cxnChg chg="mod">
          <ac:chgData name="Batuhan Yildiz" userId="90f344fc-4655-4923-aeaf-697bba59c1a7" providerId="ADAL" clId="{0254B5F4-966E-4F95-9283-C5214D39B1CA}" dt="2020-05-22T21:25:54.893" v="651" actId="14100"/>
          <ac:cxnSpMkLst>
            <pc:docMk/>
            <pc:sldMk cId="3409828776" sldId="754"/>
            <ac:cxnSpMk id="9" creationId="{ECD8B11D-74DC-413F-BBD3-DFA10D6BBE60}"/>
          </ac:cxnSpMkLst>
        </pc:cxnChg>
      </pc:sldChg>
      <pc:sldChg chg="addSp delSp modSp mod chgLayout">
        <pc:chgData name="Batuhan Yildiz" userId="90f344fc-4655-4923-aeaf-697bba59c1a7" providerId="ADAL" clId="{0254B5F4-966E-4F95-9283-C5214D39B1CA}" dt="2020-05-22T21:24:28.992" v="639" actId="478"/>
        <pc:sldMkLst>
          <pc:docMk/>
          <pc:sldMk cId="2763251739" sldId="755"/>
        </pc:sldMkLst>
        <pc:spChg chg="del">
          <ac:chgData name="Batuhan Yildiz" userId="90f344fc-4655-4923-aeaf-697bba59c1a7" providerId="ADAL" clId="{0254B5F4-966E-4F95-9283-C5214D39B1CA}" dt="2020-05-22T21:24:02.450" v="633" actId="478"/>
          <ac:spMkLst>
            <pc:docMk/>
            <pc:sldMk cId="2763251739" sldId="755"/>
            <ac:spMk id="3" creationId="{C617CFC2-4060-46E0-B7CA-8B21BD175C76}"/>
          </ac:spMkLst>
        </pc:spChg>
        <pc:spChg chg="del">
          <ac:chgData name="Batuhan Yildiz" userId="90f344fc-4655-4923-aeaf-697bba59c1a7" providerId="ADAL" clId="{0254B5F4-966E-4F95-9283-C5214D39B1CA}" dt="2020-05-22T21:24:12.547" v="636" actId="700"/>
          <ac:spMkLst>
            <pc:docMk/>
            <pc:sldMk cId="2763251739" sldId="755"/>
            <ac:spMk id="4" creationId="{72371263-E422-4E0C-BD62-AE279E225E7E}"/>
          </ac:spMkLst>
        </pc:spChg>
        <pc:spChg chg="del">
          <ac:chgData name="Batuhan Yildiz" userId="90f344fc-4655-4923-aeaf-697bba59c1a7" providerId="ADAL" clId="{0254B5F4-966E-4F95-9283-C5214D39B1CA}" dt="2020-05-22T21:24:06.122" v="635" actId="478"/>
          <ac:spMkLst>
            <pc:docMk/>
            <pc:sldMk cId="2763251739" sldId="755"/>
            <ac:spMk id="5" creationId="{F4AAF935-EBC6-456F-8D2C-628D45AC287F}"/>
          </ac:spMkLst>
        </pc:spChg>
        <pc:spChg chg="add del mod">
          <ac:chgData name="Batuhan Yildiz" userId="90f344fc-4655-4923-aeaf-697bba59c1a7" providerId="ADAL" clId="{0254B5F4-966E-4F95-9283-C5214D39B1CA}" dt="2020-05-22T21:24:04.390" v="634" actId="478"/>
          <ac:spMkLst>
            <pc:docMk/>
            <pc:sldMk cId="2763251739" sldId="755"/>
            <ac:spMk id="11" creationId="{A287DA7F-EFF0-4484-B376-F49AFFFD1C6F}"/>
          </ac:spMkLst>
        </pc:spChg>
        <pc:spChg chg="add mod ord">
          <ac:chgData name="Batuhan Yildiz" userId="90f344fc-4655-4923-aeaf-697bba59c1a7" providerId="ADAL" clId="{0254B5F4-966E-4F95-9283-C5214D39B1CA}" dt="2020-05-22T21:24:16.617" v="637"/>
          <ac:spMkLst>
            <pc:docMk/>
            <pc:sldMk cId="2763251739" sldId="755"/>
            <ac:spMk id="12" creationId="{7E908F45-57A3-4244-9ADF-E7A6A13F35F0}"/>
          </ac:spMkLst>
        </pc:spChg>
        <pc:spChg chg="add mod ord">
          <ac:chgData name="Batuhan Yildiz" userId="90f344fc-4655-4923-aeaf-697bba59c1a7" providerId="ADAL" clId="{0254B5F4-966E-4F95-9283-C5214D39B1CA}" dt="2020-05-22T21:24:12.547" v="636" actId="700"/>
          <ac:spMkLst>
            <pc:docMk/>
            <pc:sldMk cId="2763251739" sldId="755"/>
            <ac:spMk id="13" creationId="{11F5025C-C10C-4CE9-863D-01B3AC536489}"/>
          </ac:spMkLst>
        </pc:spChg>
        <pc:spChg chg="add del mod ord">
          <ac:chgData name="Batuhan Yildiz" userId="90f344fc-4655-4923-aeaf-697bba59c1a7" providerId="ADAL" clId="{0254B5F4-966E-4F95-9283-C5214D39B1CA}" dt="2020-05-22T21:24:28.992" v="639" actId="478"/>
          <ac:spMkLst>
            <pc:docMk/>
            <pc:sldMk cId="2763251739" sldId="755"/>
            <ac:spMk id="14" creationId="{4DCF017B-AD55-4AD2-98F3-601B3663CDC7}"/>
          </ac:spMkLst>
        </pc:spChg>
        <pc:picChg chg="mod">
          <ac:chgData name="Batuhan Yildiz" userId="90f344fc-4655-4923-aeaf-697bba59c1a7" providerId="ADAL" clId="{0254B5F4-966E-4F95-9283-C5214D39B1CA}" dt="2020-05-22T21:24:24.356" v="638" actId="1076"/>
          <ac:picMkLst>
            <pc:docMk/>
            <pc:sldMk cId="2763251739" sldId="755"/>
            <ac:picMk id="6" creationId="{411139A1-6747-4586-89B9-12311DB7DE7E}"/>
          </ac:picMkLst>
        </pc:picChg>
      </pc:sldChg>
      <pc:sldChg chg="addSp delSp modSp mod chgLayout">
        <pc:chgData name="Batuhan Yildiz" userId="90f344fc-4655-4923-aeaf-697bba59c1a7" providerId="ADAL" clId="{0254B5F4-966E-4F95-9283-C5214D39B1CA}" dt="2020-05-22T21:23:49.276" v="632" actId="14100"/>
        <pc:sldMkLst>
          <pc:docMk/>
          <pc:sldMk cId="2314190183" sldId="757"/>
        </pc:sldMkLst>
        <pc:spChg chg="del">
          <ac:chgData name="Batuhan Yildiz" userId="90f344fc-4655-4923-aeaf-697bba59c1a7" providerId="ADAL" clId="{0254B5F4-966E-4F95-9283-C5214D39B1CA}" dt="2020-05-22T21:21:51.897" v="608" actId="478"/>
          <ac:spMkLst>
            <pc:docMk/>
            <pc:sldMk cId="2314190183" sldId="757"/>
            <ac:spMk id="3" creationId="{140E8594-7B14-48FB-94CE-44AE0345A3A7}"/>
          </ac:spMkLst>
        </pc:spChg>
        <pc:spChg chg="del">
          <ac:chgData name="Batuhan Yildiz" userId="90f344fc-4655-4923-aeaf-697bba59c1a7" providerId="ADAL" clId="{0254B5F4-966E-4F95-9283-C5214D39B1CA}" dt="2020-05-22T21:22:01.033" v="611" actId="700"/>
          <ac:spMkLst>
            <pc:docMk/>
            <pc:sldMk cId="2314190183" sldId="757"/>
            <ac:spMk id="4" creationId="{72371263-E422-4E0C-BD62-AE279E225E7E}"/>
          </ac:spMkLst>
        </pc:spChg>
        <pc:spChg chg="del">
          <ac:chgData name="Batuhan Yildiz" userId="90f344fc-4655-4923-aeaf-697bba59c1a7" providerId="ADAL" clId="{0254B5F4-966E-4F95-9283-C5214D39B1CA}" dt="2020-05-22T21:21:55.770" v="610" actId="478"/>
          <ac:spMkLst>
            <pc:docMk/>
            <pc:sldMk cId="2314190183" sldId="757"/>
            <ac:spMk id="5" creationId="{BFEA97CC-A92B-443D-B922-C25CA9908BC7}"/>
          </ac:spMkLst>
        </pc:spChg>
        <pc:spChg chg="del">
          <ac:chgData name="Batuhan Yildiz" userId="90f344fc-4655-4923-aeaf-697bba59c1a7" providerId="ADAL" clId="{0254B5F4-966E-4F95-9283-C5214D39B1CA}" dt="2020-05-22T21:22:16.468" v="613" actId="478"/>
          <ac:spMkLst>
            <pc:docMk/>
            <pc:sldMk cId="2314190183" sldId="757"/>
            <ac:spMk id="6" creationId="{C27DEA47-7A88-4EEE-8427-191C0F55D26F}"/>
          </ac:spMkLst>
        </pc:spChg>
        <pc:spChg chg="add del mod">
          <ac:chgData name="Batuhan Yildiz" userId="90f344fc-4655-4923-aeaf-697bba59c1a7" providerId="ADAL" clId="{0254B5F4-966E-4F95-9283-C5214D39B1CA}" dt="2020-05-22T21:21:54.190" v="609" actId="478"/>
          <ac:spMkLst>
            <pc:docMk/>
            <pc:sldMk cId="2314190183" sldId="757"/>
            <ac:spMk id="9" creationId="{36173C13-06EE-41DF-9FEA-EE10879C53AA}"/>
          </ac:spMkLst>
        </pc:spChg>
        <pc:spChg chg="add mod ord">
          <ac:chgData name="Batuhan Yildiz" userId="90f344fc-4655-4923-aeaf-697bba59c1a7" providerId="ADAL" clId="{0254B5F4-966E-4F95-9283-C5214D39B1CA}" dt="2020-05-22T21:22:04.317" v="612"/>
          <ac:spMkLst>
            <pc:docMk/>
            <pc:sldMk cId="2314190183" sldId="757"/>
            <ac:spMk id="10" creationId="{23C597B2-49DD-4727-A127-11B42C315A5C}"/>
          </ac:spMkLst>
        </pc:spChg>
        <pc:spChg chg="add mod ord">
          <ac:chgData name="Batuhan Yildiz" userId="90f344fc-4655-4923-aeaf-697bba59c1a7" providerId="ADAL" clId="{0254B5F4-966E-4F95-9283-C5214D39B1CA}" dt="2020-05-22T21:22:01.033" v="611" actId="700"/>
          <ac:spMkLst>
            <pc:docMk/>
            <pc:sldMk cId="2314190183" sldId="757"/>
            <ac:spMk id="11" creationId="{E30C3217-AA50-4C83-B331-95767E1AB2ED}"/>
          </ac:spMkLst>
        </pc:spChg>
        <pc:spChg chg="add mod ord">
          <ac:chgData name="Batuhan Yildiz" userId="90f344fc-4655-4923-aeaf-697bba59c1a7" providerId="ADAL" clId="{0254B5F4-966E-4F95-9283-C5214D39B1CA}" dt="2020-05-22T21:23:40.388" v="629" actId="6549"/>
          <ac:spMkLst>
            <pc:docMk/>
            <pc:sldMk cId="2314190183" sldId="757"/>
            <ac:spMk id="12" creationId="{DEBE4D33-92D5-4CDF-BC3F-45CBC385C1D1}"/>
          </ac:spMkLst>
        </pc:spChg>
        <pc:spChg chg="add mod">
          <ac:chgData name="Batuhan Yildiz" userId="90f344fc-4655-4923-aeaf-697bba59c1a7" providerId="ADAL" clId="{0254B5F4-966E-4F95-9283-C5214D39B1CA}" dt="2020-05-22T21:23:33.890" v="627" actId="14100"/>
          <ac:spMkLst>
            <pc:docMk/>
            <pc:sldMk cId="2314190183" sldId="757"/>
            <ac:spMk id="14" creationId="{378789AE-0A22-4D96-B8FF-BCA9CA838EFE}"/>
          </ac:spMkLst>
        </pc:spChg>
        <pc:spChg chg="add mod">
          <ac:chgData name="Batuhan Yildiz" userId="90f344fc-4655-4923-aeaf-697bba59c1a7" providerId="ADAL" clId="{0254B5F4-966E-4F95-9283-C5214D39B1CA}" dt="2020-05-22T21:23:49.276" v="632" actId="14100"/>
          <ac:spMkLst>
            <pc:docMk/>
            <pc:sldMk cId="2314190183" sldId="757"/>
            <ac:spMk id="16" creationId="{18E2D810-FA70-4549-BD18-FE86AF5B22A7}"/>
          </ac:spMkLst>
        </pc:spChg>
        <pc:picChg chg="mod">
          <ac:chgData name="Batuhan Yildiz" userId="90f344fc-4655-4923-aeaf-697bba59c1a7" providerId="ADAL" clId="{0254B5F4-966E-4F95-9283-C5214D39B1CA}" dt="2020-05-22T21:22:58.224" v="621" actId="14100"/>
          <ac:picMkLst>
            <pc:docMk/>
            <pc:sldMk cId="2314190183" sldId="757"/>
            <ac:picMk id="7" creationId="{17867A3A-2C34-4301-AE1D-5686B7DAC7B5}"/>
          </ac:picMkLst>
        </pc:picChg>
        <pc:picChg chg="mod">
          <ac:chgData name="Batuhan Yildiz" userId="90f344fc-4655-4923-aeaf-697bba59c1a7" providerId="ADAL" clId="{0254B5F4-966E-4F95-9283-C5214D39B1CA}" dt="2020-05-22T21:22:49.922" v="617" actId="1076"/>
          <ac:picMkLst>
            <pc:docMk/>
            <pc:sldMk cId="2314190183" sldId="757"/>
            <ac:picMk id="8" creationId="{4F7E3DC0-9175-48C7-9D20-950B29EF20B8}"/>
          </ac:picMkLst>
        </pc:picChg>
      </pc:sldChg>
      <pc:sldChg chg="addSp delSp modSp mod chgLayout">
        <pc:chgData name="Batuhan Yildiz" userId="90f344fc-4655-4923-aeaf-697bba59c1a7" providerId="ADAL" clId="{0254B5F4-966E-4F95-9283-C5214D39B1CA}" dt="2020-05-22T21:32:44.842" v="695" actId="14100"/>
        <pc:sldMkLst>
          <pc:docMk/>
          <pc:sldMk cId="77503541" sldId="758"/>
        </pc:sldMkLst>
        <pc:spChg chg="add mod ord">
          <ac:chgData name="Batuhan Yildiz" userId="90f344fc-4655-4923-aeaf-697bba59c1a7" providerId="ADAL" clId="{0254B5F4-966E-4F95-9283-C5214D39B1CA}" dt="2020-05-22T21:27:04.846" v="655"/>
          <ac:spMkLst>
            <pc:docMk/>
            <pc:sldMk cId="77503541" sldId="758"/>
            <ac:spMk id="2" creationId="{6A6269A4-E370-43A3-83AB-DF41202C9DA0}"/>
          </ac:spMkLst>
        </pc:spChg>
        <pc:spChg chg="add mod ord">
          <ac:chgData name="Batuhan Yildiz" userId="90f344fc-4655-4923-aeaf-697bba59c1a7" providerId="ADAL" clId="{0254B5F4-966E-4F95-9283-C5214D39B1CA}" dt="2020-05-22T21:27:02.060" v="654" actId="700"/>
          <ac:spMkLst>
            <pc:docMk/>
            <pc:sldMk cId="77503541" sldId="758"/>
            <ac:spMk id="3" creationId="{81107ACB-260F-4D9C-8F77-4876C4B98E32}"/>
          </ac:spMkLst>
        </pc:spChg>
        <pc:spChg chg="del">
          <ac:chgData name="Batuhan Yildiz" userId="90f344fc-4655-4923-aeaf-697bba59c1a7" providerId="ADAL" clId="{0254B5F4-966E-4F95-9283-C5214D39B1CA}" dt="2020-05-22T21:27:02.060" v="654" actId="700"/>
          <ac:spMkLst>
            <pc:docMk/>
            <pc:sldMk cId="77503541" sldId="758"/>
            <ac:spMk id="4" creationId="{057C34B9-222E-4343-B08B-26D117BF9C0A}"/>
          </ac:spMkLst>
        </pc:spChg>
        <pc:spChg chg="add mod ord">
          <ac:chgData name="Batuhan Yildiz" userId="90f344fc-4655-4923-aeaf-697bba59c1a7" providerId="ADAL" clId="{0254B5F4-966E-4F95-9283-C5214D39B1CA}" dt="2020-05-22T21:29:21.413" v="669" actId="6549"/>
          <ac:spMkLst>
            <pc:docMk/>
            <pc:sldMk cId="77503541" sldId="758"/>
            <ac:spMk id="5" creationId="{5F579DAB-62A1-436C-A0E2-21A28E81D6E4}"/>
          </ac:spMkLst>
        </pc:spChg>
        <pc:spChg chg="del">
          <ac:chgData name="Batuhan Yildiz" userId="90f344fc-4655-4923-aeaf-697bba59c1a7" providerId="ADAL" clId="{0254B5F4-966E-4F95-9283-C5214D39B1CA}" dt="2020-05-22T21:26:55.732" v="652" actId="478"/>
          <ac:spMkLst>
            <pc:docMk/>
            <pc:sldMk cId="77503541" sldId="758"/>
            <ac:spMk id="25" creationId="{B1BCFC59-D945-4F28-A363-54CBD2A0544C}"/>
          </ac:spMkLst>
        </pc:spChg>
        <pc:spChg chg="del">
          <ac:chgData name="Batuhan Yildiz" userId="90f344fc-4655-4923-aeaf-697bba59c1a7" providerId="ADAL" clId="{0254B5F4-966E-4F95-9283-C5214D39B1CA}" dt="2020-05-22T21:26:57.810" v="653" actId="478"/>
          <ac:spMkLst>
            <pc:docMk/>
            <pc:sldMk cId="77503541" sldId="758"/>
            <ac:spMk id="26" creationId="{2D32A227-973C-4A4E-926B-57D43CD7F7DF}"/>
          </ac:spMkLst>
        </pc:spChg>
        <pc:spChg chg="del">
          <ac:chgData name="Batuhan Yildiz" userId="90f344fc-4655-4923-aeaf-697bba59c1a7" providerId="ADAL" clId="{0254B5F4-966E-4F95-9283-C5214D39B1CA}" dt="2020-05-22T21:27:18.411" v="656" actId="478"/>
          <ac:spMkLst>
            <pc:docMk/>
            <pc:sldMk cId="77503541" sldId="758"/>
            <ac:spMk id="27" creationId="{F5F504DD-DA58-4CE8-B7CD-DDB6B2501579}"/>
          </ac:spMkLst>
        </pc:spChg>
        <pc:spChg chg="mod">
          <ac:chgData name="Batuhan Yildiz" userId="90f344fc-4655-4923-aeaf-697bba59c1a7" providerId="ADAL" clId="{0254B5F4-966E-4F95-9283-C5214D39B1CA}" dt="2020-05-22T21:29:08.037" v="666" actId="1076"/>
          <ac:spMkLst>
            <pc:docMk/>
            <pc:sldMk cId="77503541" sldId="758"/>
            <ac:spMk id="28" creationId="{CE406CA5-1F6C-47F9-9C79-BFF6FC318BB5}"/>
          </ac:spMkLst>
        </pc:spChg>
        <pc:spChg chg="mod">
          <ac:chgData name="Batuhan Yildiz" userId="90f344fc-4655-4923-aeaf-697bba59c1a7" providerId="ADAL" clId="{0254B5F4-966E-4F95-9283-C5214D39B1CA}" dt="2020-05-22T21:30:00.053" v="671" actId="1076"/>
          <ac:spMkLst>
            <pc:docMk/>
            <pc:sldMk cId="77503541" sldId="758"/>
            <ac:spMk id="32" creationId="{5EF9FF4B-1969-4383-A588-CCF699C0E884}"/>
          </ac:spMkLst>
        </pc:spChg>
        <pc:spChg chg="mod">
          <ac:chgData name="Batuhan Yildiz" userId="90f344fc-4655-4923-aeaf-697bba59c1a7" providerId="ADAL" clId="{0254B5F4-966E-4F95-9283-C5214D39B1CA}" dt="2020-05-22T21:30:00.053" v="671" actId="1076"/>
          <ac:spMkLst>
            <pc:docMk/>
            <pc:sldMk cId="77503541" sldId="758"/>
            <ac:spMk id="33" creationId="{7B2B92A9-F645-44C5-9EE8-6C37400D6E93}"/>
          </ac:spMkLst>
        </pc:spChg>
        <pc:spChg chg="mod">
          <ac:chgData name="Batuhan Yildiz" userId="90f344fc-4655-4923-aeaf-697bba59c1a7" providerId="ADAL" clId="{0254B5F4-966E-4F95-9283-C5214D39B1CA}" dt="2020-05-22T21:32:10.088" v="689" actId="1076"/>
          <ac:spMkLst>
            <pc:docMk/>
            <pc:sldMk cId="77503541" sldId="758"/>
            <ac:spMk id="39" creationId="{65312C01-78DE-4200-9377-835B6FC0F24B}"/>
          </ac:spMkLst>
        </pc:spChg>
        <pc:spChg chg="mod">
          <ac:chgData name="Batuhan Yildiz" userId="90f344fc-4655-4923-aeaf-697bba59c1a7" providerId="ADAL" clId="{0254B5F4-966E-4F95-9283-C5214D39B1CA}" dt="2020-05-22T21:32:10.088" v="689" actId="1076"/>
          <ac:spMkLst>
            <pc:docMk/>
            <pc:sldMk cId="77503541" sldId="758"/>
            <ac:spMk id="40" creationId="{2A8B2BB0-411F-4AEA-90E3-312D44DBDC6B}"/>
          </ac:spMkLst>
        </pc:spChg>
        <pc:spChg chg="mod">
          <ac:chgData name="Batuhan Yildiz" userId="90f344fc-4655-4923-aeaf-697bba59c1a7" providerId="ADAL" clId="{0254B5F4-966E-4F95-9283-C5214D39B1CA}" dt="2020-05-22T21:32:10.088" v="689" actId="1076"/>
          <ac:spMkLst>
            <pc:docMk/>
            <pc:sldMk cId="77503541" sldId="758"/>
            <ac:spMk id="41" creationId="{C11ED079-1CBF-4DAA-B8A5-9448F09B7AC1}"/>
          </ac:spMkLst>
        </pc:spChg>
        <pc:spChg chg="mod">
          <ac:chgData name="Batuhan Yildiz" userId="90f344fc-4655-4923-aeaf-697bba59c1a7" providerId="ADAL" clId="{0254B5F4-966E-4F95-9283-C5214D39B1CA}" dt="2020-05-22T21:32:10.088" v="689" actId="1076"/>
          <ac:spMkLst>
            <pc:docMk/>
            <pc:sldMk cId="77503541" sldId="758"/>
            <ac:spMk id="44" creationId="{BBC3CFE5-E1D4-40DA-B159-C60C181F4672}"/>
          </ac:spMkLst>
        </pc:spChg>
        <pc:picChg chg="mod">
          <ac:chgData name="Batuhan Yildiz" userId="90f344fc-4655-4923-aeaf-697bba59c1a7" providerId="ADAL" clId="{0254B5F4-966E-4F95-9283-C5214D39B1CA}" dt="2020-05-22T21:28:41.078" v="663" actId="1076"/>
          <ac:picMkLst>
            <pc:docMk/>
            <pc:sldMk cId="77503541" sldId="758"/>
            <ac:picMk id="29" creationId="{37FAC588-49F0-44B0-A25B-27E8E297F0C3}"/>
          </ac:picMkLst>
        </pc:picChg>
        <pc:picChg chg="mod">
          <ac:chgData name="Batuhan Yildiz" userId="90f344fc-4655-4923-aeaf-697bba59c1a7" providerId="ADAL" clId="{0254B5F4-966E-4F95-9283-C5214D39B1CA}" dt="2020-05-22T21:30:16.253" v="675" actId="14100"/>
          <ac:picMkLst>
            <pc:docMk/>
            <pc:sldMk cId="77503541" sldId="758"/>
            <ac:picMk id="34" creationId="{D7482455-DDA1-47B5-AFEC-3164D90C44FA}"/>
          </ac:picMkLst>
        </pc:picChg>
        <pc:picChg chg="mod">
          <ac:chgData name="Batuhan Yildiz" userId="90f344fc-4655-4923-aeaf-697bba59c1a7" providerId="ADAL" clId="{0254B5F4-966E-4F95-9283-C5214D39B1CA}" dt="2020-05-22T21:32:10.088" v="689" actId="1076"/>
          <ac:picMkLst>
            <pc:docMk/>
            <pc:sldMk cId="77503541" sldId="758"/>
            <ac:picMk id="38" creationId="{8D8CC0EC-7B68-4CC5-B29A-978A8E018F0E}"/>
          </ac:picMkLst>
        </pc:picChg>
        <pc:cxnChg chg="mod">
          <ac:chgData name="Batuhan Yildiz" userId="90f344fc-4655-4923-aeaf-697bba59c1a7" providerId="ADAL" clId="{0254B5F4-966E-4F95-9283-C5214D39B1CA}" dt="2020-05-22T21:28:50.775" v="664" actId="1076"/>
          <ac:cxnSpMkLst>
            <pc:docMk/>
            <pc:sldMk cId="77503541" sldId="758"/>
            <ac:cxnSpMk id="30" creationId="{947AE142-2C6C-4820-9490-819845932F0D}"/>
          </ac:cxnSpMkLst>
        </pc:cxnChg>
        <pc:cxnChg chg="mod">
          <ac:chgData name="Batuhan Yildiz" userId="90f344fc-4655-4923-aeaf-697bba59c1a7" providerId="ADAL" clId="{0254B5F4-966E-4F95-9283-C5214D39B1CA}" dt="2020-05-22T21:28:54.559" v="665" actId="1076"/>
          <ac:cxnSpMkLst>
            <pc:docMk/>
            <pc:sldMk cId="77503541" sldId="758"/>
            <ac:cxnSpMk id="31" creationId="{C96C9407-AABE-4B8C-BE47-C9C02DFCCCB7}"/>
          </ac:cxnSpMkLst>
        </pc:cxnChg>
        <pc:cxnChg chg="mod">
          <ac:chgData name="Batuhan Yildiz" userId="90f344fc-4655-4923-aeaf-697bba59c1a7" providerId="ADAL" clId="{0254B5F4-966E-4F95-9283-C5214D39B1CA}" dt="2020-05-22T21:32:10.088" v="689" actId="1076"/>
          <ac:cxnSpMkLst>
            <pc:docMk/>
            <pc:sldMk cId="77503541" sldId="758"/>
            <ac:cxnSpMk id="35" creationId="{0AD1ADB3-EA0B-47D5-BB26-A3DD7E42E72E}"/>
          </ac:cxnSpMkLst>
        </pc:cxnChg>
        <pc:cxnChg chg="mod">
          <ac:chgData name="Batuhan Yildiz" userId="90f344fc-4655-4923-aeaf-697bba59c1a7" providerId="ADAL" clId="{0254B5F4-966E-4F95-9283-C5214D39B1CA}" dt="2020-05-22T21:32:10.088" v="689" actId="1076"/>
          <ac:cxnSpMkLst>
            <pc:docMk/>
            <pc:sldMk cId="77503541" sldId="758"/>
            <ac:cxnSpMk id="36" creationId="{2B7D3775-59B7-4335-986B-6C19DE53D794}"/>
          </ac:cxnSpMkLst>
        </pc:cxnChg>
        <pc:cxnChg chg="mod">
          <ac:chgData name="Batuhan Yildiz" userId="90f344fc-4655-4923-aeaf-697bba59c1a7" providerId="ADAL" clId="{0254B5F4-966E-4F95-9283-C5214D39B1CA}" dt="2020-05-22T21:32:10.088" v="689" actId="1076"/>
          <ac:cxnSpMkLst>
            <pc:docMk/>
            <pc:sldMk cId="77503541" sldId="758"/>
            <ac:cxnSpMk id="37" creationId="{F212C5FF-D9E2-4040-9E0F-5966CA313E12}"/>
          </ac:cxnSpMkLst>
        </pc:cxnChg>
        <pc:cxnChg chg="mod">
          <ac:chgData name="Batuhan Yildiz" userId="90f344fc-4655-4923-aeaf-697bba59c1a7" providerId="ADAL" clId="{0254B5F4-966E-4F95-9283-C5214D39B1CA}" dt="2020-05-22T21:32:35.459" v="692" actId="1076"/>
          <ac:cxnSpMkLst>
            <pc:docMk/>
            <pc:sldMk cId="77503541" sldId="758"/>
            <ac:cxnSpMk id="42" creationId="{E6667B3B-44B0-4257-8142-82D8ED6A458C}"/>
          </ac:cxnSpMkLst>
        </pc:cxnChg>
        <pc:cxnChg chg="mod">
          <ac:chgData name="Batuhan Yildiz" userId="90f344fc-4655-4923-aeaf-697bba59c1a7" providerId="ADAL" clId="{0254B5F4-966E-4F95-9283-C5214D39B1CA}" dt="2020-05-22T21:32:44.842" v="695" actId="14100"/>
          <ac:cxnSpMkLst>
            <pc:docMk/>
            <pc:sldMk cId="77503541" sldId="758"/>
            <ac:cxnSpMk id="43" creationId="{4D020CC6-AD28-4ADB-8429-FC4C586629C4}"/>
          </ac:cxnSpMkLst>
        </pc:cxnChg>
      </pc:sldChg>
      <pc:sldChg chg="addSp delSp modSp mod chgLayout">
        <pc:chgData name="Batuhan Yildiz" userId="90f344fc-4655-4923-aeaf-697bba59c1a7" providerId="ADAL" clId="{0254B5F4-966E-4F95-9283-C5214D39B1CA}" dt="2020-05-22T21:34:33.451" v="717" actId="1076"/>
        <pc:sldMkLst>
          <pc:docMk/>
          <pc:sldMk cId="432094422" sldId="759"/>
        </pc:sldMkLst>
        <pc:spChg chg="add mod ord">
          <ac:chgData name="Batuhan Yildiz" userId="90f344fc-4655-4923-aeaf-697bba59c1a7" providerId="ADAL" clId="{0254B5F4-966E-4F95-9283-C5214D39B1CA}" dt="2020-05-22T21:34:14.456" v="712"/>
          <ac:spMkLst>
            <pc:docMk/>
            <pc:sldMk cId="432094422" sldId="759"/>
            <ac:spMk id="2" creationId="{80B7313E-B5B4-43E3-B498-4F32DE818635}"/>
          </ac:spMkLst>
        </pc:spChg>
        <pc:spChg chg="add mod ord">
          <ac:chgData name="Batuhan Yildiz" userId="90f344fc-4655-4923-aeaf-697bba59c1a7" providerId="ADAL" clId="{0254B5F4-966E-4F95-9283-C5214D39B1CA}" dt="2020-05-22T21:34:11.672" v="711" actId="700"/>
          <ac:spMkLst>
            <pc:docMk/>
            <pc:sldMk cId="432094422" sldId="759"/>
            <ac:spMk id="3" creationId="{315D558C-1205-491C-86E9-A726F5EB6B6A}"/>
          </ac:spMkLst>
        </pc:spChg>
        <pc:spChg chg="del">
          <ac:chgData name="Batuhan Yildiz" userId="90f344fc-4655-4923-aeaf-697bba59c1a7" providerId="ADAL" clId="{0254B5F4-966E-4F95-9283-C5214D39B1CA}" dt="2020-05-22T21:34:11.672" v="711" actId="700"/>
          <ac:spMkLst>
            <pc:docMk/>
            <pc:sldMk cId="432094422" sldId="759"/>
            <ac:spMk id="4" creationId="{057C34B9-222E-4343-B08B-26D117BF9C0A}"/>
          </ac:spMkLst>
        </pc:spChg>
        <pc:spChg chg="add mod ord">
          <ac:chgData name="Batuhan Yildiz" userId="90f344fc-4655-4923-aeaf-697bba59c1a7" providerId="ADAL" clId="{0254B5F4-966E-4F95-9283-C5214D39B1CA}" dt="2020-05-22T21:34:28.007" v="716" actId="15"/>
          <ac:spMkLst>
            <pc:docMk/>
            <pc:sldMk cId="432094422" sldId="759"/>
            <ac:spMk id="5" creationId="{4829F7EF-0CEA-4C48-925C-79C19AE19AC7}"/>
          </ac:spMkLst>
        </pc:spChg>
        <pc:spChg chg="del">
          <ac:chgData name="Batuhan Yildiz" userId="90f344fc-4655-4923-aeaf-697bba59c1a7" providerId="ADAL" clId="{0254B5F4-966E-4F95-9283-C5214D39B1CA}" dt="2020-05-22T21:34:06.192" v="709" actId="478"/>
          <ac:spMkLst>
            <pc:docMk/>
            <pc:sldMk cId="432094422" sldId="759"/>
            <ac:spMk id="20" creationId="{BA5FF758-2122-477E-8DB4-F036904F71C2}"/>
          </ac:spMkLst>
        </pc:spChg>
        <pc:spChg chg="del">
          <ac:chgData name="Batuhan Yildiz" userId="90f344fc-4655-4923-aeaf-697bba59c1a7" providerId="ADAL" clId="{0254B5F4-966E-4F95-9283-C5214D39B1CA}" dt="2020-05-22T21:34:07.903" v="710" actId="478"/>
          <ac:spMkLst>
            <pc:docMk/>
            <pc:sldMk cId="432094422" sldId="759"/>
            <ac:spMk id="21" creationId="{DB186501-E6F6-432E-A296-5C017F645FAB}"/>
          </ac:spMkLst>
        </pc:spChg>
        <pc:spChg chg="del">
          <ac:chgData name="Batuhan Yildiz" userId="90f344fc-4655-4923-aeaf-697bba59c1a7" providerId="ADAL" clId="{0254B5F4-966E-4F95-9283-C5214D39B1CA}" dt="2020-05-22T21:34:20.193" v="713" actId="478"/>
          <ac:spMkLst>
            <pc:docMk/>
            <pc:sldMk cId="432094422" sldId="759"/>
            <ac:spMk id="22" creationId="{B04696B8-494C-42A8-AC09-C71B542FBA61}"/>
          </ac:spMkLst>
        </pc:spChg>
        <pc:spChg chg="mod">
          <ac:chgData name="Batuhan Yildiz" userId="90f344fc-4655-4923-aeaf-697bba59c1a7" providerId="ADAL" clId="{0254B5F4-966E-4F95-9283-C5214D39B1CA}" dt="2020-05-22T21:34:33.451" v="717" actId="1076"/>
          <ac:spMkLst>
            <pc:docMk/>
            <pc:sldMk cId="432094422" sldId="759"/>
            <ac:spMk id="23" creationId="{733D0AB6-CABF-49AB-A5AB-B316EA7A9735}"/>
          </ac:spMkLst>
        </pc:spChg>
      </pc:sldChg>
      <pc:sldChg chg="addSp delSp modSp mod chgLayout">
        <pc:chgData name="Batuhan Yildiz" userId="90f344fc-4655-4923-aeaf-697bba59c1a7" providerId="ADAL" clId="{0254B5F4-966E-4F95-9283-C5214D39B1CA}" dt="2020-05-22T21:33:53.317" v="708" actId="1076"/>
        <pc:sldMkLst>
          <pc:docMk/>
          <pc:sldMk cId="3424358636" sldId="760"/>
        </pc:sldMkLst>
        <pc:spChg chg="add mod ord">
          <ac:chgData name="Batuhan Yildiz" userId="90f344fc-4655-4923-aeaf-697bba59c1a7" providerId="ADAL" clId="{0254B5F4-966E-4F95-9283-C5214D39B1CA}" dt="2020-05-22T21:33:20.546" v="700" actId="20577"/>
          <ac:spMkLst>
            <pc:docMk/>
            <pc:sldMk cId="3424358636" sldId="760"/>
            <ac:spMk id="2" creationId="{5189D038-92A9-448E-A1BB-E46245B1685F}"/>
          </ac:spMkLst>
        </pc:spChg>
        <pc:spChg chg="add mod ord">
          <ac:chgData name="Batuhan Yildiz" userId="90f344fc-4655-4923-aeaf-697bba59c1a7" providerId="ADAL" clId="{0254B5F4-966E-4F95-9283-C5214D39B1CA}" dt="2020-05-22T21:33:15.931" v="698" actId="700"/>
          <ac:spMkLst>
            <pc:docMk/>
            <pc:sldMk cId="3424358636" sldId="760"/>
            <ac:spMk id="3" creationId="{F1605C55-4958-4138-9904-95D435CF997F}"/>
          </ac:spMkLst>
        </pc:spChg>
        <pc:spChg chg="del">
          <ac:chgData name="Batuhan Yildiz" userId="90f344fc-4655-4923-aeaf-697bba59c1a7" providerId="ADAL" clId="{0254B5F4-966E-4F95-9283-C5214D39B1CA}" dt="2020-05-22T21:33:15.931" v="698" actId="700"/>
          <ac:spMkLst>
            <pc:docMk/>
            <pc:sldMk cId="3424358636" sldId="760"/>
            <ac:spMk id="4" creationId="{057C34B9-222E-4343-B08B-26D117BF9C0A}"/>
          </ac:spMkLst>
        </pc:spChg>
        <pc:spChg chg="add mod ord">
          <ac:chgData name="Batuhan Yildiz" userId="90f344fc-4655-4923-aeaf-697bba59c1a7" providerId="ADAL" clId="{0254B5F4-966E-4F95-9283-C5214D39B1CA}" dt="2020-05-22T21:33:50.022" v="707" actId="15"/>
          <ac:spMkLst>
            <pc:docMk/>
            <pc:sldMk cId="3424358636" sldId="760"/>
            <ac:spMk id="5" creationId="{CEBDC202-3EDF-46C6-A1C9-53370BCD6411}"/>
          </ac:spMkLst>
        </pc:spChg>
        <pc:spChg chg="del">
          <ac:chgData name="Batuhan Yildiz" userId="90f344fc-4655-4923-aeaf-697bba59c1a7" providerId="ADAL" clId="{0254B5F4-966E-4F95-9283-C5214D39B1CA}" dt="2020-05-22T21:33:07.504" v="696" actId="478"/>
          <ac:spMkLst>
            <pc:docMk/>
            <pc:sldMk cId="3424358636" sldId="760"/>
            <ac:spMk id="9" creationId="{31DCE238-EE02-4801-A5A1-F629950CFC7D}"/>
          </ac:spMkLst>
        </pc:spChg>
        <pc:spChg chg="del">
          <ac:chgData name="Batuhan Yildiz" userId="90f344fc-4655-4923-aeaf-697bba59c1a7" providerId="ADAL" clId="{0254B5F4-966E-4F95-9283-C5214D39B1CA}" dt="2020-05-22T21:33:09.193" v="697" actId="478"/>
          <ac:spMkLst>
            <pc:docMk/>
            <pc:sldMk cId="3424358636" sldId="760"/>
            <ac:spMk id="10" creationId="{CFD0EEDE-5057-4F8C-B149-AB75A6C107F4}"/>
          </ac:spMkLst>
        </pc:spChg>
        <pc:spChg chg="del">
          <ac:chgData name="Batuhan Yildiz" userId="90f344fc-4655-4923-aeaf-697bba59c1a7" providerId="ADAL" clId="{0254B5F4-966E-4F95-9283-C5214D39B1CA}" dt="2020-05-22T21:33:27.576" v="701" actId="478"/>
          <ac:spMkLst>
            <pc:docMk/>
            <pc:sldMk cId="3424358636" sldId="760"/>
            <ac:spMk id="11" creationId="{C571DD3C-A7D1-4E0A-82C1-F4FDCEDFB5D7}"/>
          </ac:spMkLst>
        </pc:spChg>
        <pc:spChg chg="mod">
          <ac:chgData name="Batuhan Yildiz" userId="90f344fc-4655-4923-aeaf-697bba59c1a7" providerId="ADAL" clId="{0254B5F4-966E-4F95-9283-C5214D39B1CA}" dt="2020-05-22T21:33:39.448" v="705" actId="1076"/>
          <ac:spMkLst>
            <pc:docMk/>
            <pc:sldMk cId="3424358636" sldId="760"/>
            <ac:spMk id="12" creationId="{67E8C178-F14B-4945-91C7-C18D6823C063}"/>
          </ac:spMkLst>
        </pc:spChg>
        <pc:picChg chg="mod">
          <ac:chgData name="Batuhan Yildiz" userId="90f344fc-4655-4923-aeaf-697bba59c1a7" providerId="ADAL" clId="{0254B5F4-966E-4F95-9283-C5214D39B1CA}" dt="2020-05-22T21:33:53.317" v="708" actId="1076"/>
          <ac:picMkLst>
            <pc:docMk/>
            <pc:sldMk cId="3424358636" sldId="760"/>
            <ac:picMk id="13" creationId="{14CA075E-7889-4030-A684-F45699DC98CB}"/>
          </ac:picMkLst>
        </pc:picChg>
      </pc:sldChg>
      <pc:sldChg chg="addSp delSp modSp mod chgLayout">
        <pc:chgData name="Batuhan Yildiz" userId="90f344fc-4655-4923-aeaf-697bba59c1a7" providerId="ADAL" clId="{0254B5F4-966E-4F95-9283-C5214D39B1CA}" dt="2020-05-22T21:35:14.524" v="724" actId="20577"/>
        <pc:sldMkLst>
          <pc:docMk/>
          <pc:sldMk cId="2253148725" sldId="761"/>
        </pc:sldMkLst>
        <pc:spChg chg="add mod ord">
          <ac:chgData name="Batuhan Yildiz" userId="90f344fc-4655-4923-aeaf-697bba59c1a7" providerId="ADAL" clId="{0254B5F4-966E-4F95-9283-C5214D39B1CA}" dt="2020-05-22T21:35:03.508" v="720"/>
          <ac:spMkLst>
            <pc:docMk/>
            <pc:sldMk cId="2253148725" sldId="761"/>
            <ac:spMk id="2" creationId="{DBE6139C-A22C-4B54-9C98-0E2893856537}"/>
          </ac:spMkLst>
        </pc:spChg>
        <pc:spChg chg="add mod ord">
          <ac:chgData name="Batuhan Yildiz" userId="90f344fc-4655-4923-aeaf-697bba59c1a7" providerId="ADAL" clId="{0254B5F4-966E-4F95-9283-C5214D39B1CA}" dt="2020-05-22T21:35:00.991" v="719" actId="700"/>
          <ac:spMkLst>
            <pc:docMk/>
            <pc:sldMk cId="2253148725" sldId="761"/>
            <ac:spMk id="3" creationId="{C46DD242-4DD0-490A-A573-5D14F8C021A2}"/>
          </ac:spMkLst>
        </pc:spChg>
        <pc:spChg chg="del">
          <ac:chgData name="Batuhan Yildiz" userId="90f344fc-4655-4923-aeaf-697bba59c1a7" providerId="ADAL" clId="{0254B5F4-966E-4F95-9283-C5214D39B1CA}" dt="2020-05-22T21:35:00.991" v="719" actId="700"/>
          <ac:spMkLst>
            <pc:docMk/>
            <pc:sldMk cId="2253148725" sldId="761"/>
            <ac:spMk id="4" creationId="{57369336-D8BC-4E5F-ADC0-84E8577D4723}"/>
          </ac:spMkLst>
        </pc:spChg>
        <pc:spChg chg="add mod ord">
          <ac:chgData name="Batuhan Yildiz" userId="90f344fc-4655-4923-aeaf-697bba59c1a7" providerId="ADAL" clId="{0254B5F4-966E-4F95-9283-C5214D39B1CA}" dt="2020-05-22T21:35:14.524" v="724" actId="20577"/>
          <ac:spMkLst>
            <pc:docMk/>
            <pc:sldMk cId="2253148725" sldId="761"/>
            <ac:spMk id="5" creationId="{B443E3D9-0220-4417-AD08-03B15DF14D4A}"/>
          </ac:spMkLst>
        </pc:spChg>
        <pc:spChg chg="del">
          <ac:chgData name="Batuhan Yildiz" userId="90f344fc-4655-4923-aeaf-697bba59c1a7" providerId="ADAL" clId="{0254B5F4-966E-4F95-9283-C5214D39B1CA}" dt="2020-05-22T21:34:56.475" v="718" actId="478"/>
          <ac:spMkLst>
            <pc:docMk/>
            <pc:sldMk cId="2253148725" sldId="761"/>
            <ac:spMk id="7" creationId="{BE8485ED-4572-4396-865E-ACB09C73B068}"/>
          </ac:spMkLst>
        </pc:spChg>
        <pc:spChg chg="del">
          <ac:chgData name="Batuhan Yildiz" userId="90f344fc-4655-4923-aeaf-697bba59c1a7" providerId="ADAL" clId="{0254B5F4-966E-4F95-9283-C5214D39B1CA}" dt="2020-05-22T21:35:09.401" v="721" actId="478"/>
          <ac:spMkLst>
            <pc:docMk/>
            <pc:sldMk cId="2253148725" sldId="761"/>
            <ac:spMk id="8" creationId="{1DA41F7F-53A5-4F21-967A-7FA067CCC063}"/>
          </ac:spMkLst>
        </pc:spChg>
      </pc:sldChg>
      <pc:sldChg chg="modSp mod modClrScheme chgLayout">
        <pc:chgData name="Batuhan Yildiz" userId="90f344fc-4655-4923-aeaf-697bba59c1a7" providerId="ADAL" clId="{0254B5F4-966E-4F95-9283-C5214D39B1CA}" dt="2020-05-22T02:06:58.279" v="195" actId="12100"/>
        <pc:sldMkLst>
          <pc:docMk/>
          <pc:sldMk cId="503771874" sldId="762"/>
        </pc:sldMkLst>
        <pc:spChg chg="mod ord">
          <ac:chgData name="Batuhan Yildiz" userId="90f344fc-4655-4923-aeaf-697bba59c1a7" providerId="ADAL" clId="{0254B5F4-966E-4F95-9283-C5214D39B1CA}" dt="2020-05-22T02:06:43.515" v="193" actId="700"/>
          <ac:spMkLst>
            <pc:docMk/>
            <pc:sldMk cId="503771874" sldId="762"/>
            <ac:spMk id="2" creationId="{478E84C9-8B30-41BB-A3D5-77E5D711D013}"/>
          </ac:spMkLst>
        </pc:spChg>
        <pc:graphicFrameChg chg="mod ord">
          <ac:chgData name="Batuhan Yildiz" userId="90f344fc-4655-4923-aeaf-697bba59c1a7" providerId="ADAL" clId="{0254B5F4-966E-4F95-9283-C5214D39B1CA}" dt="2020-05-22T02:06:58.279" v="195" actId="12100"/>
          <ac:graphicFrameMkLst>
            <pc:docMk/>
            <pc:sldMk cId="503771874" sldId="762"/>
            <ac:graphicFrameMk id="7" creationId="{881C9504-9679-4FA3-9D14-33E3F4FADA90}"/>
          </ac:graphicFrameMkLst>
        </pc:graphicFrameChg>
      </pc:sldChg>
      <pc:sldChg chg="addSp delSp modSp mod chgLayout">
        <pc:chgData name="Batuhan Yildiz" userId="90f344fc-4655-4923-aeaf-697bba59c1a7" providerId="ADAL" clId="{0254B5F4-966E-4F95-9283-C5214D39B1CA}" dt="2020-05-22T21:36:54.997" v="748" actId="14100"/>
        <pc:sldMkLst>
          <pc:docMk/>
          <pc:sldMk cId="4180807076" sldId="763"/>
        </pc:sldMkLst>
        <pc:spChg chg="add del mod">
          <ac:chgData name="Batuhan Yildiz" userId="90f344fc-4655-4923-aeaf-697bba59c1a7" providerId="ADAL" clId="{0254B5F4-966E-4F95-9283-C5214D39B1CA}" dt="2020-05-22T21:35:42.591" v="726" actId="478"/>
          <ac:spMkLst>
            <pc:docMk/>
            <pc:sldMk cId="4180807076" sldId="763"/>
            <ac:spMk id="3" creationId="{7BB51074-8CC6-45CB-B989-03DCEE4AE17F}"/>
          </ac:spMkLst>
        </pc:spChg>
        <pc:spChg chg="del">
          <ac:chgData name="Batuhan Yildiz" userId="90f344fc-4655-4923-aeaf-697bba59c1a7" providerId="ADAL" clId="{0254B5F4-966E-4F95-9283-C5214D39B1CA}" dt="2020-05-22T21:35:50.068" v="728" actId="700"/>
          <ac:spMkLst>
            <pc:docMk/>
            <pc:sldMk cId="4180807076" sldId="763"/>
            <ac:spMk id="4" creationId="{3B10C9BA-87EC-4775-ACE9-62EE6AC4D2C0}"/>
          </ac:spMkLst>
        </pc:spChg>
        <pc:spChg chg="del">
          <ac:chgData name="Batuhan Yildiz" userId="90f344fc-4655-4923-aeaf-697bba59c1a7" providerId="ADAL" clId="{0254B5F4-966E-4F95-9283-C5214D39B1CA}" dt="2020-05-22T21:35:41.646" v="725" actId="478"/>
          <ac:spMkLst>
            <pc:docMk/>
            <pc:sldMk cId="4180807076" sldId="763"/>
            <ac:spMk id="6" creationId="{B1FB45A0-5986-4365-A259-894C5CC3A1BB}"/>
          </ac:spMkLst>
        </pc:spChg>
        <pc:spChg chg="del">
          <ac:chgData name="Batuhan Yildiz" userId="90f344fc-4655-4923-aeaf-697bba59c1a7" providerId="ADAL" clId="{0254B5F4-966E-4F95-9283-C5214D39B1CA}" dt="2020-05-22T21:35:44.881" v="727" actId="478"/>
          <ac:spMkLst>
            <pc:docMk/>
            <pc:sldMk cId="4180807076" sldId="763"/>
            <ac:spMk id="7" creationId="{D43AD2FC-7315-4439-9698-69B4B4261A2F}"/>
          </ac:spMkLst>
        </pc:spChg>
        <pc:spChg chg="del">
          <ac:chgData name="Batuhan Yildiz" userId="90f344fc-4655-4923-aeaf-697bba59c1a7" providerId="ADAL" clId="{0254B5F4-966E-4F95-9283-C5214D39B1CA}" dt="2020-05-22T21:36:02.201" v="730" actId="478"/>
          <ac:spMkLst>
            <pc:docMk/>
            <pc:sldMk cId="4180807076" sldId="763"/>
            <ac:spMk id="8" creationId="{6EC4BD0F-183B-4B74-8BA5-BD27CFDC2C77}"/>
          </ac:spMkLst>
        </pc:spChg>
        <pc:spChg chg="add mod ord">
          <ac:chgData name="Batuhan Yildiz" userId="90f344fc-4655-4923-aeaf-697bba59c1a7" providerId="ADAL" clId="{0254B5F4-966E-4F95-9283-C5214D39B1CA}" dt="2020-05-22T21:35:52.852" v="729"/>
          <ac:spMkLst>
            <pc:docMk/>
            <pc:sldMk cId="4180807076" sldId="763"/>
            <ac:spMk id="9" creationId="{43513072-B5DC-4127-B8BF-8E87ED25F0DD}"/>
          </ac:spMkLst>
        </pc:spChg>
        <pc:spChg chg="add mod ord">
          <ac:chgData name="Batuhan Yildiz" userId="90f344fc-4655-4923-aeaf-697bba59c1a7" providerId="ADAL" clId="{0254B5F4-966E-4F95-9283-C5214D39B1CA}" dt="2020-05-22T21:35:50.068" v="728" actId="700"/>
          <ac:spMkLst>
            <pc:docMk/>
            <pc:sldMk cId="4180807076" sldId="763"/>
            <ac:spMk id="10" creationId="{D25A29D7-E574-4249-967B-98A0626CA226}"/>
          </ac:spMkLst>
        </pc:spChg>
        <pc:spChg chg="add mod ord">
          <ac:chgData name="Batuhan Yildiz" userId="90f344fc-4655-4923-aeaf-697bba59c1a7" providerId="ADAL" clId="{0254B5F4-966E-4F95-9283-C5214D39B1CA}" dt="2020-05-22T21:36:40.099" v="744" actId="15"/>
          <ac:spMkLst>
            <pc:docMk/>
            <pc:sldMk cId="4180807076" sldId="763"/>
            <ac:spMk id="11" creationId="{39A9F87D-C813-4C8F-B489-137FBA2DE2CF}"/>
          </ac:spMkLst>
        </pc:spChg>
        <pc:picChg chg="mod">
          <ac:chgData name="Batuhan Yildiz" userId="90f344fc-4655-4923-aeaf-697bba59c1a7" providerId="ADAL" clId="{0254B5F4-966E-4F95-9283-C5214D39B1CA}" dt="2020-05-22T21:36:54.997" v="748" actId="14100"/>
          <ac:picMkLst>
            <pc:docMk/>
            <pc:sldMk cId="4180807076" sldId="763"/>
            <ac:picMk id="5" creationId="{6F3E058F-7C2F-4C8A-9038-79D79DF2C992}"/>
          </ac:picMkLst>
        </pc:picChg>
      </pc:sldChg>
      <pc:sldChg chg="addSp delSp modSp mod chgLayout">
        <pc:chgData name="Batuhan Yildiz" userId="90f344fc-4655-4923-aeaf-697bba59c1a7" providerId="ADAL" clId="{0254B5F4-966E-4F95-9283-C5214D39B1CA}" dt="2020-05-22T21:38:03.516" v="762" actId="1076"/>
        <pc:sldMkLst>
          <pc:docMk/>
          <pc:sldMk cId="4024938246" sldId="764"/>
        </pc:sldMkLst>
        <pc:spChg chg="add del mod">
          <ac:chgData name="Batuhan Yildiz" userId="90f344fc-4655-4923-aeaf-697bba59c1a7" providerId="ADAL" clId="{0254B5F4-966E-4F95-9283-C5214D39B1CA}" dt="2020-05-22T21:37:18.351" v="750" actId="478"/>
          <ac:spMkLst>
            <pc:docMk/>
            <pc:sldMk cId="4024938246" sldId="764"/>
            <ac:spMk id="3" creationId="{BC2BBB87-CC80-49C0-98AD-0D146CAF1851}"/>
          </ac:spMkLst>
        </pc:spChg>
        <pc:spChg chg="del">
          <ac:chgData name="Batuhan Yildiz" userId="90f344fc-4655-4923-aeaf-697bba59c1a7" providerId="ADAL" clId="{0254B5F4-966E-4F95-9283-C5214D39B1CA}" dt="2020-05-22T21:37:26.292" v="752" actId="700"/>
          <ac:spMkLst>
            <pc:docMk/>
            <pc:sldMk cId="4024938246" sldId="764"/>
            <ac:spMk id="4" creationId="{99EC0B61-915B-4887-AF96-B8DE79F56E95}"/>
          </ac:spMkLst>
        </pc:spChg>
        <pc:spChg chg="del">
          <ac:chgData name="Batuhan Yildiz" userId="90f344fc-4655-4923-aeaf-697bba59c1a7" providerId="ADAL" clId="{0254B5F4-966E-4F95-9283-C5214D39B1CA}" dt="2020-05-22T21:37:15.393" v="749" actId="478"/>
          <ac:spMkLst>
            <pc:docMk/>
            <pc:sldMk cId="4024938246" sldId="764"/>
            <ac:spMk id="5" creationId="{1AF6C35A-3967-4A3A-B1D6-56FF58DC8801}"/>
          </ac:spMkLst>
        </pc:spChg>
        <pc:spChg chg="del">
          <ac:chgData name="Batuhan Yildiz" userId="90f344fc-4655-4923-aeaf-697bba59c1a7" providerId="ADAL" clId="{0254B5F4-966E-4F95-9283-C5214D39B1CA}" dt="2020-05-22T21:37:20.699" v="751" actId="478"/>
          <ac:spMkLst>
            <pc:docMk/>
            <pc:sldMk cId="4024938246" sldId="764"/>
            <ac:spMk id="6" creationId="{9D358E95-82EC-468E-9662-A3BC10572152}"/>
          </ac:spMkLst>
        </pc:spChg>
        <pc:spChg chg="del">
          <ac:chgData name="Batuhan Yildiz" userId="90f344fc-4655-4923-aeaf-697bba59c1a7" providerId="ADAL" clId="{0254B5F4-966E-4F95-9283-C5214D39B1CA}" dt="2020-05-22T21:37:39.097" v="754" actId="478"/>
          <ac:spMkLst>
            <pc:docMk/>
            <pc:sldMk cId="4024938246" sldId="764"/>
            <ac:spMk id="7" creationId="{5621074D-C718-4209-8615-8BC1653C9C38}"/>
          </ac:spMkLst>
        </pc:spChg>
        <pc:spChg chg="add mod ord">
          <ac:chgData name="Batuhan Yildiz" userId="90f344fc-4655-4923-aeaf-697bba59c1a7" providerId="ADAL" clId="{0254B5F4-966E-4F95-9283-C5214D39B1CA}" dt="2020-05-22T21:37:29.195" v="753"/>
          <ac:spMkLst>
            <pc:docMk/>
            <pc:sldMk cId="4024938246" sldId="764"/>
            <ac:spMk id="10" creationId="{2D06094C-2462-4CD1-9538-C5C661AA432B}"/>
          </ac:spMkLst>
        </pc:spChg>
        <pc:spChg chg="add mod ord">
          <ac:chgData name="Batuhan Yildiz" userId="90f344fc-4655-4923-aeaf-697bba59c1a7" providerId="ADAL" clId="{0254B5F4-966E-4F95-9283-C5214D39B1CA}" dt="2020-05-22T21:37:26.292" v="752" actId="700"/>
          <ac:spMkLst>
            <pc:docMk/>
            <pc:sldMk cId="4024938246" sldId="764"/>
            <ac:spMk id="11" creationId="{0BFBB328-9993-4E4D-B594-B63DEF6CCA9C}"/>
          </ac:spMkLst>
        </pc:spChg>
        <pc:spChg chg="add mod ord">
          <ac:chgData name="Batuhan Yildiz" userId="90f344fc-4655-4923-aeaf-697bba59c1a7" providerId="ADAL" clId="{0254B5F4-966E-4F95-9283-C5214D39B1CA}" dt="2020-05-22T21:37:58.100" v="760" actId="6549"/>
          <ac:spMkLst>
            <pc:docMk/>
            <pc:sldMk cId="4024938246" sldId="764"/>
            <ac:spMk id="12" creationId="{0AE88275-ACEF-4A91-AB9F-1DD29FA50895}"/>
          </ac:spMkLst>
        </pc:spChg>
        <pc:picChg chg="mod">
          <ac:chgData name="Batuhan Yildiz" userId="90f344fc-4655-4923-aeaf-697bba59c1a7" providerId="ADAL" clId="{0254B5F4-966E-4F95-9283-C5214D39B1CA}" dt="2020-05-22T21:37:56.450" v="759" actId="1076"/>
          <ac:picMkLst>
            <pc:docMk/>
            <pc:sldMk cId="4024938246" sldId="764"/>
            <ac:picMk id="8" creationId="{E4D138E4-EC6E-46CF-8721-8A38D09EE00C}"/>
          </ac:picMkLst>
        </pc:picChg>
        <pc:picChg chg="mod">
          <ac:chgData name="Batuhan Yildiz" userId="90f344fc-4655-4923-aeaf-697bba59c1a7" providerId="ADAL" clId="{0254B5F4-966E-4F95-9283-C5214D39B1CA}" dt="2020-05-22T21:38:03.516" v="762" actId="1076"/>
          <ac:picMkLst>
            <pc:docMk/>
            <pc:sldMk cId="4024938246" sldId="764"/>
            <ac:picMk id="9" creationId="{0BF91A82-1DF5-408C-9137-C7495BFAD828}"/>
          </ac:picMkLst>
        </pc:picChg>
      </pc:sldChg>
      <pc:sldChg chg="addSp delSp modSp mod chgLayout">
        <pc:chgData name="Batuhan Yildiz" userId="90f344fc-4655-4923-aeaf-697bba59c1a7" providerId="ADAL" clId="{0254B5F4-966E-4F95-9283-C5214D39B1CA}" dt="2020-05-22T21:39:25.746" v="787" actId="1035"/>
        <pc:sldMkLst>
          <pc:docMk/>
          <pc:sldMk cId="1291559909" sldId="765"/>
        </pc:sldMkLst>
        <pc:spChg chg="add del mod">
          <ac:chgData name="Batuhan Yildiz" userId="90f344fc-4655-4923-aeaf-697bba59c1a7" providerId="ADAL" clId="{0254B5F4-966E-4F95-9283-C5214D39B1CA}" dt="2020-05-22T21:38:27.068" v="765" actId="478"/>
          <ac:spMkLst>
            <pc:docMk/>
            <pc:sldMk cId="1291559909" sldId="765"/>
            <ac:spMk id="3" creationId="{0EC64951-EE58-446D-B10B-06B4A8E092B4}"/>
          </ac:spMkLst>
        </pc:spChg>
        <pc:spChg chg="del">
          <ac:chgData name="Batuhan Yildiz" userId="90f344fc-4655-4923-aeaf-697bba59c1a7" providerId="ADAL" clId="{0254B5F4-966E-4F95-9283-C5214D39B1CA}" dt="2020-05-22T21:38:32.264" v="766" actId="700"/>
          <ac:spMkLst>
            <pc:docMk/>
            <pc:sldMk cId="1291559909" sldId="765"/>
            <ac:spMk id="4" creationId="{19ADE4D2-CA45-4377-A0A2-32AA6D283670}"/>
          </ac:spMkLst>
        </pc:spChg>
        <pc:spChg chg="del">
          <ac:chgData name="Batuhan Yildiz" userId="90f344fc-4655-4923-aeaf-697bba59c1a7" providerId="ADAL" clId="{0254B5F4-966E-4F95-9283-C5214D39B1CA}" dt="2020-05-22T21:38:24.138" v="763" actId="478"/>
          <ac:spMkLst>
            <pc:docMk/>
            <pc:sldMk cId="1291559909" sldId="765"/>
            <ac:spMk id="5" creationId="{8D7B9099-8F97-43A8-9C71-589BD0DFC83E}"/>
          </ac:spMkLst>
        </pc:spChg>
        <pc:spChg chg="del">
          <ac:chgData name="Batuhan Yildiz" userId="90f344fc-4655-4923-aeaf-697bba59c1a7" providerId="ADAL" clId="{0254B5F4-966E-4F95-9283-C5214D39B1CA}" dt="2020-05-22T21:38:26.077" v="764" actId="478"/>
          <ac:spMkLst>
            <pc:docMk/>
            <pc:sldMk cId="1291559909" sldId="765"/>
            <ac:spMk id="6" creationId="{DD5B5A33-B000-4048-A1D5-150812B1B86D}"/>
          </ac:spMkLst>
        </pc:spChg>
        <pc:spChg chg="del">
          <ac:chgData name="Batuhan Yildiz" userId="90f344fc-4655-4923-aeaf-697bba59c1a7" providerId="ADAL" clId="{0254B5F4-966E-4F95-9283-C5214D39B1CA}" dt="2020-05-22T21:38:39.740" v="768" actId="478"/>
          <ac:spMkLst>
            <pc:docMk/>
            <pc:sldMk cId="1291559909" sldId="765"/>
            <ac:spMk id="7" creationId="{AAC1A109-5D07-4B30-B76E-796802256636}"/>
          </ac:spMkLst>
        </pc:spChg>
        <pc:spChg chg="add mod ord">
          <ac:chgData name="Batuhan Yildiz" userId="90f344fc-4655-4923-aeaf-697bba59c1a7" providerId="ADAL" clId="{0254B5F4-966E-4F95-9283-C5214D39B1CA}" dt="2020-05-22T21:38:35.048" v="767"/>
          <ac:spMkLst>
            <pc:docMk/>
            <pc:sldMk cId="1291559909" sldId="765"/>
            <ac:spMk id="9" creationId="{F591FBC5-7836-4FB1-A154-CED060792ED5}"/>
          </ac:spMkLst>
        </pc:spChg>
        <pc:spChg chg="add mod ord">
          <ac:chgData name="Batuhan Yildiz" userId="90f344fc-4655-4923-aeaf-697bba59c1a7" providerId="ADAL" clId="{0254B5F4-966E-4F95-9283-C5214D39B1CA}" dt="2020-05-22T21:38:32.264" v="766" actId="700"/>
          <ac:spMkLst>
            <pc:docMk/>
            <pc:sldMk cId="1291559909" sldId="765"/>
            <ac:spMk id="10" creationId="{4B279002-DFDB-47ED-BB1B-00E456C93B41}"/>
          </ac:spMkLst>
        </pc:spChg>
        <pc:spChg chg="add mod ord">
          <ac:chgData name="Batuhan Yildiz" userId="90f344fc-4655-4923-aeaf-697bba59c1a7" providerId="ADAL" clId="{0254B5F4-966E-4F95-9283-C5214D39B1CA}" dt="2020-05-22T21:38:54.160" v="774" actId="20577"/>
          <ac:spMkLst>
            <pc:docMk/>
            <pc:sldMk cId="1291559909" sldId="765"/>
            <ac:spMk id="11" creationId="{CA92B0B9-B9F1-4240-8D22-99D422F07343}"/>
          </ac:spMkLst>
        </pc:spChg>
        <pc:picChg chg="mod">
          <ac:chgData name="Batuhan Yildiz" userId="90f344fc-4655-4923-aeaf-697bba59c1a7" providerId="ADAL" clId="{0254B5F4-966E-4F95-9283-C5214D39B1CA}" dt="2020-05-22T21:39:25.746" v="787" actId="1035"/>
          <ac:picMkLst>
            <pc:docMk/>
            <pc:sldMk cId="1291559909" sldId="765"/>
            <ac:picMk id="8" creationId="{FB288C71-A928-4B82-8013-FCF8E0888112}"/>
          </ac:picMkLst>
        </pc:picChg>
      </pc:sldChg>
      <pc:sldChg chg="addSp delSp modSp mod chgLayout">
        <pc:chgData name="Batuhan Yildiz" userId="90f344fc-4655-4923-aeaf-697bba59c1a7" providerId="ADAL" clId="{0254B5F4-966E-4F95-9283-C5214D39B1CA}" dt="2020-05-22T21:40:54.621" v="810" actId="1076"/>
        <pc:sldMkLst>
          <pc:docMk/>
          <pc:sldMk cId="1511212620" sldId="767"/>
        </pc:sldMkLst>
        <pc:spChg chg="del">
          <ac:chgData name="Batuhan Yildiz" userId="90f344fc-4655-4923-aeaf-697bba59c1a7" providerId="ADAL" clId="{0254B5F4-966E-4F95-9283-C5214D39B1CA}" dt="2020-05-22T21:39:38.806" v="788" actId="478"/>
          <ac:spMkLst>
            <pc:docMk/>
            <pc:sldMk cId="1511212620" sldId="767"/>
            <ac:spMk id="3" creationId="{E196BE2A-EFFF-4424-8EE2-9D69E89924E0}"/>
          </ac:spMkLst>
        </pc:spChg>
        <pc:spChg chg="del">
          <ac:chgData name="Batuhan Yildiz" userId="90f344fc-4655-4923-aeaf-697bba59c1a7" providerId="ADAL" clId="{0254B5F4-966E-4F95-9283-C5214D39B1CA}" dt="2020-05-22T21:39:46.165" v="791" actId="700"/>
          <ac:spMkLst>
            <pc:docMk/>
            <pc:sldMk cId="1511212620" sldId="767"/>
            <ac:spMk id="4" creationId="{19ADE4D2-CA45-4377-A0A2-32AA6D283670}"/>
          </ac:spMkLst>
        </pc:spChg>
        <pc:spChg chg="del">
          <ac:chgData name="Batuhan Yildiz" userId="90f344fc-4655-4923-aeaf-697bba59c1a7" providerId="ADAL" clId="{0254B5F4-966E-4F95-9283-C5214D39B1CA}" dt="2020-05-22T21:39:41.825" v="790" actId="478"/>
          <ac:spMkLst>
            <pc:docMk/>
            <pc:sldMk cId="1511212620" sldId="767"/>
            <ac:spMk id="5" creationId="{061D079D-F6EA-41BF-9A99-8913A021B68D}"/>
          </ac:spMkLst>
        </pc:spChg>
        <pc:spChg chg="del">
          <ac:chgData name="Batuhan Yildiz" userId="90f344fc-4655-4923-aeaf-697bba59c1a7" providerId="ADAL" clId="{0254B5F4-966E-4F95-9283-C5214D39B1CA}" dt="2020-05-22T21:39:56.229" v="793" actId="478"/>
          <ac:spMkLst>
            <pc:docMk/>
            <pc:sldMk cId="1511212620" sldId="767"/>
            <ac:spMk id="6" creationId="{2F45A35D-14A2-4AD5-A31D-D7B556C13C33}"/>
          </ac:spMkLst>
        </pc:spChg>
        <pc:spChg chg="add del mod">
          <ac:chgData name="Batuhan Yildiz" userId="90f344fc-4655-4923-aeaf-697bba59c1a7" providerId="ADAL" clId="{0254B5F4-966E-4F95-9283-C5214D39B1CA}" dt="2020-05-22T21:39:39.946" v="789" actId="478"/>
          <ac:spMkLst>
            <pc:docMk/>
            <pc:sldMk cId="1511212620" sldId="767"/>
            <ac:spMk id="9" creationId="{AB3BEACA-635A-40D9-A43D-9166259BC01F}"/>
          </ac:spMkLst>
        </pc:spChg>
        <pc:spChg chg="add mod ord">
          <ac:chgData name="Batuhan Yildiz" userId="90f344fc-4655-4923-aeaf-697bba59c1a7" providerId="ADAL" clId="{0254B5F4-966E-4F95-9283-C5214D39B1CA}" dt="2020-05-22T21:39:49.582" v="792"/>
          <ac:spMkLst>
            <pc:docMk/>
            <pc:sldMk cId="1511212620" sldId="767"/>
            <ac:spMk id="10" creationId="{5B92D608-14AD-4BC0-8BA9-A584E6758B72}"/>
          </ac:spMkLst>
        </pc:spChg>
        <pc:spChg chg="add mod ord">
          <ac:chgData name="Batuhan Yildiz" userId="90f344fc-4655-4923-aeaf-697bba59c1a7" providerId="ADAL" clId="{0254B5F4-966E-4F95-9283-C5214D39B1CA}" dt="2020-05-22T21:39:46.165" v="791" actId="700"/>
          <ac:spMkLst>
            <pc:docMk/>
            <pc:sldMk cId="1511212620" sldId="767"/>
            <ac:spMk id="11" creationId="{4D31C188-AC6D-4E71-AFD9-AF7B62A6EC45}"/>
          </ac:spMkLst>
        </pc:spChg>
        <pc:spChg chg="add mod ord">
          <ac:chgData name="Batuhan Yildiz" userId="90f344fc-4655-4923-aeaf-697bba59c1a7" providerId="ADAL" clId="{0254B5F4-966E-4F95-9283-C5214D39B1CA}" dt="2020-05-22T21:40:42.018" v="807" actId="6549"/>
          <ac:spMkLst>
            <pc:docMk/>
            <pc:sldMk cId="1511212620" sldId="767"/>
            <ac:spMk id="12" creationId="{C8ADD0D5-122C-41AF-A51D-A1E373AE59EF}"/>
          </ac:spMkLst>
        </pc:spChg>
        <pc:picChg chg="mod">
          <ac:chgData name="Batuhan Yildiz" userId="90f344fc-4655-4923-aeaf-697bba59c1a7" providerId="ADAL" clId="{0254B5F4-966E-4F95-9283-C5214D39B1CA}" dt="2020-05-22T21:40:51.786" v="809" actId="1076"/>
          <ac:picMkLst>
            <pc:docMk/>
            <pc:sldMk cId="1511212620" sldId="767"/>
            <ac:picMk id="7" creationId="{4AD15C97-E8CA-44F7-8522-EFA0A27B849F}"/>
          </ac:picMkLst>
        </pc:picChg>
        <pc:picChg chg="mod">
          <ac:chgData name="Batuhan Yildiz" userId="90f344fc-4655-4923-aeaf-697bba59c1a7" providerId="ADAL" clId="{0254B5F4-966E-4F95-9283-C5214D39B1CA}" dt="2020-05-22T21:40:54.621" v="810" actId="1076"/>
          <ac:picMkLst>
            <pc:docMk/>
            <pc:sldMk cId="1511212620" sldId="767"/>
            <ac:picMk id="8" creationId="{E885C5D2-4159-44AF-92A2-C4BA6BF2F09A}"/>
          </ac:picMkLst>
        </pc:picChg>
      </pc:sldChg>
      <pc:sldChg chg="modSp mod modClrScheme chgLayout">
        <pc:chgData name="Batuhan Yildiz" userId="90f344fc-4655-4923-aeaf-697bba59c1a7" providerId="ADAL" clId="{0254B5F4-966E-4F95-9283-C5214D39B1CA}" dt="2020-05-22T02:12:07.191" v="215" actId="12100"/>
        <pc:sldMkLst>
          <pc:docMk/>
          <pc:sldMk cId="1741957811" sldId="768"/>
        </pc:sldMkLst>
        <pc:spChg chg="mod ord">
          <ac:chgData name="Batuhan Yildiz" userId="90f344fc-4655-4923-aeaf-697bba59c1a7" providerId="ADAL" clId="{0254B5F4-966E-4F95-9283-C5214D39B1CA}" dt="2020-05-22T02:10:04.344" v="206" actId="700"/>
          <ac:spMkLst>
            <pc:docMk/>
            <pc:sldMk cId="1741957811" sldId="768"/>
            <ac:spMk id="2" creationId="{EB67312A-9819-43C6-8D84-D9136E6CFFCC}"/>
          </ac:spMkLst>
        </pc:spChg>
        <pc:graphicFrameChg chg="mod ord">
          <ac:chgData name="Batuhan Yildiz" userId="90f344fc-4655-4923-aeaf-697bba59c1a7" providerId="ADAL" clId="{0254B5F4-966E-4F95-9283-C5214D39B1CA}" dt="2020-05-22T02:12:07.191" v="215" actId="12100"/>
          <ac:graphicFrameMkLst>
            <pc:docMk/>
            <pc:sldMk cId="1741957811" sldId="768"/>
            <ac:graphicFrameMk id="8" creationId="{F2F3C940-AD7F-4BDC-B54E-5C35FE27C4CC}"/>
          </ac:graphicFrameMkLst>
        </pc:graphicFrameChg>
      </pc:sldChg>
      <pc:sldChg chg="modSp mod modClrScheme chgLayout">
        <pc:chgData name="Batuhan Yildiz" userId="90f344fc-4655-4923-aeaf-697bba59c1a7" providerId="ADAL" clId="{0254B5F4-966E-4F95-9283-C5214D39B1CA}" dt="2020-05-22T02:12:40.826" v="218" actId="255"/>
        <pc:sldMkLst>
          <pc:docMk/>
          <pc:sldMk cId="2238154609" sldId="769"/>
        </pc:sldMkLst>
        <pc:spChg chg="mod ord">
          <ac:chgData name="Batuhan Yildiz" userId="90f344fc-4655-4923-aeaf-697bba59c1a7" providerId="ADAL" clId="{0254B5F4-966E-4F95-9283-C5214D39B1CA}" dt="2020-05-22T02:10:04.344" v="206" actId="700"/>
          <ac:spMkLst>
            <pc:docMk/>
            <pc:sldMk cId="2238154609" sldId="769"/>
            <ac:spMk id="2" creationId="{EB67312A-9819-43C6-8D84-D9136E6CFFCC}"/>
          </ac:spMkLst>
        </pc:spChg>
        <pc:graphicFrameChg chg="mod ord">
          <ac:chgData name="Batuhan Yildiz" userId="90f344fc-4655-4923-aeaf-697bba59c1a7" providerId="ADAL" clId="{0254B5F4-966E-4F95-9283-C5214D39B1CA}" dt="2020-05-22T02:12:40.826" v="218" actId="255"/>
          <ac:graphicFrameMkLst>
            <pc:docMk/>
            <pc:sldMk cId="2238154609" sldId="769"/>
            <ac:graphicFrameMk id="8" creationId="{F2F3C940-AD7F-4BDC-B54E-5C35FE27C4CC}"/>
          </ac:graphicFrameMkLst>
        </pc:graphicFrameChg>
      </pc:sldChg>
      <pc:sldChg chg="addSp delSp modSp mod chgLayout">
        <pc:chgData name="Batuhan Yildiz" userId="90f344fc-4655-4923-aeaf-697bba59c1a7" providerId="ADAL" clId="{0254B5F4-966E-4F95-9283-C5214D39B1CA}" dt="2020-05-22T01:45:02.600" v="46" actId="13782"/>
        <pc:sldMkLst>
          <pc:docMk/>
          <pc:sldMk cId="3614889026" sldId="770"/>
        </pc:sldMkLst>
        <pc:spChg chg="mod ord">
          <ac:chgData name="Batuhan Yildiz" userId="90f344fc-4655-4923-aeaf-697bba59c1a7" providerId="ADAL" clId="{0254B5F4-966E-4F95-9283-C5214D39B1CA}" dt="2020-05-22T01:41:44.866" v="24" actId="700"/>
          <ac:spMkLst>
            <pc:docMk/>
            <pc:sldMk cId="3614889026" sldId="770"/>
            <ac:spMk id="2" creationId="{E139A44F-1B4D-4C6D-AAFF-415CE55A5181}"/>
          </ac:spMkLst>
        </pc:spChg>
        <pc:spChg chg="mod ord">
          <ac:chgData name="Batuhan Yildiz" userId="90f344fc-4655-4923-aeaf-697bba59c1a7" providerId="ADAL" clId="{0254B5F4-966E-4F95-9283-C5214D39B1CA}" dt="2020-05-22T01:41:44.866" v="24" actId="700"/>
          <ac:spMkLst>
            <pc:docMk/>
            <pc:sldMk cId="3614889026" sldId="770"/>
            <ac:spMk id="3" creationId="{CAE70848-9649-464A-B7E9-B28A122C588E}"/>
          </ac:spMkLst>
        </pc:spChg>
        <pc:spChg chg="del">
          <ac:chgData name="Batuhan Yildiz" userId="90f344fc-4655-4923-aeaf-697bba59c1a7" providerId="ADAL" clId="{0254B5F4-966E-4F95-9283-C5214D39B1CA}" dt="2020-05-22T01:41:44.866" v="24" actId="700"/>
          <ac:spMkLst>
            <pc:docMk/>
            <pc:sldMk cId="3614889026" sldId="770"/>
            <ac:spMk id="4" creationId="{12DEA170-32DB-4A30-A577-B43B69BFBF96}"/>
          </ac:spMkLst>
        </pc:spChg>
        <pc:spChg chg="add del mod ord">
          <ac:chgData name="Batuhan Yildiz" userId="90f344fc-4655-4923-aeaf-697bba59c1a7" providerId="ADAL" clId="{0254B5F4-966E-4F95-9283-C5214D39B1CA}" dt="2020-05-22T01:44:39.601" v="45" actId="478"/>
          <ac:spMkLst>
            <pc:docMk/>
            <pc:sldMk cId="3614889026" sldId="770"/>
            <ac:spMk id="5" creationId="{CA58C064-DB0C-45A5-95CF-A3E1EBCA2790}"/>
          </ac:spMkLst>
        </pc:spChg>
        <pc:graphicFrameChg chg="mod">
          <ac:chgData name="Batuhan Yildiz" userId="90f344fc-4655-4923-aeaf-697bba59c1a7" providerId="ADAL" clId="{0254B5F4-966E-4F95-9283-C5214D39B1CA}" dt="2020-05-22T01:45:02.600" v="46" actId="13782"/>
          <ac:graphicFrameMkLst>
            <pc:docMk/>
            <pc:sldMk cId="3614889026" sldId="770"/>
            <ac:graphicFrameMk id="6" creationId="{86BC05FA-945C-42C3-8405-CAF4DBFA6705}"/>
          </ac:graphicFrameMkLst>
        </pc:graphicFrameChg>
      </pc:sldChg>
      <pc:sldChg chg="modSp add mod">
        <pc:chgData name="Batuhan Yildiz" userId="90f344fc-4655-4923-aeaf-697bba59c1a7" providerId="ADAL" clId="{0254B5F4-966E-4F95-9283-C5214D39B1CA}" dt="2020-05-22T01:35:32.853" v="23" actId="1076"/>
        <pc:sldMkLst>
          <pc:docMk/>
          <pc:sldMk cId="3085951748" sldId="771"/>
        </pc:sldMkLst>
        <pc:spChg chg="mod">
          <ac:chgData name="Batuhan Yildiz" userId="90f344fc-4655-4923-aeaf-697bba59c1a7" providerId="ADAL" clId="{0254B5F4-966E-4F95-9283-C5214D39B1CA}" dt="2020-05-22T01:35:20.422" v="22" actId="6549"/>
          <ac:spMkLst>
            <pc:docMk/>
            <pc:sldMk cId="3085951748" sldId="771"/>
            <ac:spMk id="4" creationId="{D5861A11-DA26-4FEC-99B1-AA665EE14FF6}"/>
          </ac:spMkLst>
        </pc:spChg>
        <pc:spChg chg="mod">
          <ac:chgData name="Batuhan Yildiz" userId="90f344fc-4655-4923-aeaf-697bba59c1a7" providerId="ADAL" clId="{0254B5F4-966E-4F95-9283-C5214D39B1CA}" dt="2020-05-22T01:35:32.853" v="23" actId="1076"/>
          <ac:spMkLst>
            <pc:docMk/>
            <pc:sldMk cId="3085951748" sldId="771"/>
            <ac:spMk id="6" creationId="{DA58C8C6-5992-4877-9EFB-CB7658F7A9E3}"/>
          </ac:spMkLst>
        </pc:spChg>
        <pc:picChg chg="mod">
          <ac:chgData name="Batuhan Yildiz" userId="90f344fc-4655-4923-aeaf-697bba59c1a7" providerId="ADAL" clId="{0254B5F4-966E-4F95-9283-C5214D39B1CA}" dt="2020-05-22T01:35:32.853" v="23" actId="1076"/>
          <ac:picMkLst>
            <pc:docMk/>
            <pc:sldMk cId="3085951748" sldId="771"/>
            <ac:picMk id="5" creationId="{497D7147-269D-4E94-A8DE-F66D2D686DCA}"/>
          </ac:picMkLst>
        </pc:picChg>
      </pc:sldChg>
      <pc:sldChg chg="addSp delSp modSp add del mod chgLayout">
        <pc:chgData name="Batuhan Yildiz" userId="90f344fc-4655-4923-aeaf-697bba59c1a7" providerId="ADAL" clId="{0254B5F4-966E-4F95-9283-C5214D39B1CA}" dt="2020-05-22T20:07:33.726" v="345" actId="47"/>
        <pc:sldMkLst>
          <pc:docMk/>
          <pc:sldMk cId="1024793349" sldId="772"/>
        </pc:sldMkLst>
        <pc:spChg chg="mod ord">
          <ac:chgData name="Batuhan Yildiz" userId="90f344fc-4655-4923-aeaf-697bba59c1a7" providerId="ADAL" clId="{0254B5F4-966E-4F95-9283-C5214D39B1CA}" dt="2020-05-22T20:06:14.956" v="309" actId="700"/>
          <ac:spMkLst>
            <pc:docMk/>
            <pc:sldMk cId="1024793349" sldId="772"/>
            <ac:spMk id="2" creationId="{1A8C9BAD-C468-4051-8E6A-AC3581038BBF}"/>
          </ac:spMkLst>
        </pc:spChg>
        <pc:spChg chg="del">
          <ac:chgData name="Batuhan Yildiz" userId="90f344fc-4655-4923-aeaf-697bba59c1a7" providerId="ADAL" clId="{0254B5F4-966E-4F95-9283-C5214D39B1CA}" dt="2020-05-22T20:06:14.956" v="309" actId="700"/>
          <ac:spMkLst>
            <pc:docMk/>
            <pc:sldMk cId="1024793349" sldId="772"/>
            <ac:spMk id="3" creationId="{F9DE8284-7D2A-4EA6-BDA8-F513178D258A}"/>
          </ac:spMkLst>
        </pc:spChg>
        <pc:spChg chg="del mod ord">
          <ac:chgData name="Batuhan Yildiz" userId="90f344fc-4655-4923-aeaf-697bba59c1a7" providerId="ADAL" clId="{0254B5F4-966E-4F95-9283-C5214D39B1CA}" dt="2020-05-22T20:06:14.956" v="309" actId="700"/>
          <ac:spMkLst>
            <pc:docMk/>
            <pc:sldMk cId="1024793349" sldId="772"/>
            <ac:spMk id="4" creationId="{85ED5025-EBF6-477A-BA40-261D32000A12}"/>
          </ac:spMkLst>
        </pc:spChg>
        <pc:spChg chg="add mod ord">
          <ac:chgData name="Batuhan Yildiz" userId="90f344fc-4655-4923-aeaf-697bba59c1a7" providerId="ADAL" clId="{0254B5F4-966E-4F95-9283-C5214D39B1CA}" dt="2020-05-22T20:06:14.956" v="309" actId="700"/>
          <ac:spMkLst>
            <pc:docMk/>
            <pc:sldMk cId="1024793349" sldId="772"/>
            <ac:spMk id="5" creationId="{9FBD61C2-5378-4804-B5C0-B3667A709B37}"/>
          </ac:spMkLst>
        </pc:spChg>
      </pc:sldChg>
      <pc:sldChg chg="addSp modSp new mod modShow">
        <pc:chgData name="Batuhan Yildiz" userId="90f344fc-4655-4923-aeaf-697bba59c1a7" providerId="ADAL" clId="{0254B5F4-966E-4F95-9283-C5214D39B1CA}" dt="2020-05-22T21:10:30.291" v="504" actId="729"/>
        <pc:sldMkLst>
          <pc:docMk/>
          <pc:sldMk cId="2413125018" sldId="772"/>
        </pc:sldMkLst>
        <pc:spChg chg="mod">
          <ac:chgData name="Batuhan Yildiz" userId="90f344fc-4655-4923-aeaf-697bba59c1a7" providerId="ADAL" clId="{0254B5F4-966E-4F95-9283-C5214D39B1CA}" dt="2020-05-22T21:03:43.262" v="451" actId="20577"/>
          <ac:spMkLst>
            <pc:docMk/>
            <pc:sldMk cId="2413125018" sldId="772"/>
            <ac:spMk id="2" creationId="{5D123A58-974E-4E67-9335-51331FA1F0C7}"/>
          </ac:spMkLst>
        </pc:spChg>
        <pc:spChg chg="mod">
          <ac:chgData name="Batuhan Yildiz" userId="90f344fc-4655-4923-aeaf-697bba59c1a7" providerId="ADAL" clId="{0254B5F4-966E-4F95-9283-C5214D39B1CA}" dt="2020-05-22T21:04:11.406" v="456" actId="14100"/>
          <ac:spMkLst>
            <pc:docMk/>
            <pc:sldMk cId="2413125018" sldId="772"/>
            <ac:spMk id="3" creationId="{17333EAB-719F-42A3-B56F-19DB8F79F075}"/>
          </ac:spMkLst>
        </pc:spChg>
        <pc:picChg chg="add mod">
          <ac:chgData name="Batuhan Yildiz" userId="90f344fc-4655-4923-aeaf-697bba59c1a7" providerId="ADAL" clId="{0254B5F4-966E-4F95-9283-C5214D39B1CA}" dt="2020-05-22T21:04:06.254" v="455" actId="1076"/>
          <ac:picMkLst>
            <pc:docMk/>
            <pc:sldMk cId="2413125018" sldId="772"/>
            <ac:picMk id="8" creationId="{33468F4C-6331-4F0F-996E-A91A7BA6F54B}"/>
          </ac:picMkLst>
        </pc:picChg>
        <pc:cxnChg chg="add mod">
          <ac:chgData name="Batuhan Yildiz" userId="90f344fc-4655-4923-aeaf-697bba59c1a7" providerId="ADAL" clId="{0254B5F4-966E-4F95-9283-C5214D39B1CA}" dt="2020-05-22T21:04:17.174" v="457" actId="1076"/>
          <ac:cxnSpMkLst>
            <pc:docMk/>
            <pc:sldMk cId="2413125018" sldId="772"/>
            <ac:cxnSpMk id="6" creationId="{B56E23F7-A2E0-4771-8B23-CFF305210F4F}"/>
          </ac:cxnSpMkLst>
        </pc:cxnChg>
      </pc:sldChg>
      <pc:sldChg chg="addSp modSp new mod modShow">
        <pc:chgData name="Batuhan Yildiz" userId="90f344fc-4655-4923-aeaf-697bba59c1a7" providerId="ADAL" clId="{0254B5F4-966E-4F95-9283-C5214D39B1CA}" dt="2020-05-22T21:10:24.843" v="503" actId="729"/>
        <pc:sldMkLst>
          <pc:docMk/>
          <pc:sldMk cId="2324906402" sldId="773"/>
        </pc:sldMkLst>
        <pc:spChg chg="mod">
          <ac:chgData name="Batuhan Yildiz" userId="90f344fc-4655-4923-aeaf-697bba59c1a7" providerId="ADAL" clId="{0254B5F4-966E-4F95-9283-C5214D39B1CA}" dt="2020-05-22T21:05:02.620" v="460"/>
          <ac:spMkLst>
            <pc:docMk/>
            <pc:sldMk cId="2324906402" sldId="773"/>
            <ac:spMk id="2" creationId="{C3E70512-DC05-4AD4-B6D8-6D5B130CE4D4}"/>
          </ac:spMkLst>
        </pc:spChg>
        <pc:spChg chg="mod">
          <ac:chgData name="Batuhan Yildiz" userId="90f344fc-4655-4923-aeaf-697bba59c1a7" providerId="ADAL" clId="{0254B5F4-966E-4F95-9283-C5214D39B1CA}" dt="2020-05-22T21:06:34.842" v="476" actId="15"/>
          <ac:spMkLst>
            <pc:docMk/>
            <pc:sldMk cId="2324906402" sldId="773"/>
            <ac:spMk id="3" creationId="{F7760D57-2558-4508-9BBF-1BB35121F504}"/>
          </ac:spMkLst>
        </pc:spChg>
        <pc:spChg chg="add mod">
          <ac:chgData name="Batuhan Yildiz" userId="90f344fc-4655-4923-aeaf-697bba59c1a7" providerId="ADAL" clId="{0254B5F4-966E-4F95-9283-C5214D39B1CA}" dt="2020-05-22T21:06:55.029" v="478" actId="1076"/>
          <ac:spMkLst>
            <pc:docMk/>
            <pc:sldMk cId="2324906402" sldId="773"/>
            <ac:spMk id="10" creationId="{3C79F5EA-BFAD-40EF-B3D6-A5987276938E}"/>
          </ac:spMkLst>
        </pc:spChg>
        <pc:picChg chg="add mod">
          <ac:chgData name="Batuhan Yildiz" userId="90f344fc-4655-4923-aeaf-697bba59c1a7" providerId="ADAL" clId="{0254B5F4-966E-4F95-9283-C5214D39B1CA}" dt="2020-05-22T21:05:40.754" v="466" actId="14100"/>
          <ac:picMkLst>
            <pc:docMk/>
            <pc:sldMk cId="2324906402" sldId="773"/>
            <ac:picMk id="8" creationId="{B009D990-D2A5-4A24-9DAF-ABA9294C193E}"/>
          </ac:picMkLst>
        </pc:picChg>
        <pc:cxnChg chg="add mod">
          <ac:chgData name="Batuhan Yildiz" userId="90f344fc-4655-4923-aeaf-697bba59c1a7" providerId="ADAL" clId="{0254B5F4-966E-4F95-9283-C5214D39B1CA}" dt="2020-05-22T21:06:09.492" v="471" actId="14100"/>
          <ac:cxnSpMkLst>
            <pc:docMk/>
            <pc:sldMk cId="2324906402" sldId="773"/>
            <ac:cxnSpMk id="6" creationId="{5029A6E3-590B-40A6-9606-A87928CEC782}"/>
          </ac:cxnSpMkLst>
        </pc:cxnChg>
      </pc:sldChg>
      <pc:sldChg chg="new del modNotesTx">
        <pc:chgData name="Batuhan Yildiz" userId="90f344fc-4655-4923-aeaf-697bba59c1a7" providerId="ADAL" clId="{0254B5F4-966E-4F95-9283-C5214D39B1CA}" dt="2020-05-22T20:07:14.623" v="344" actId="47"/>
        <pc:sldMkLst>
          <pc:docMk/>
          <pc:sldMk cId="3539239652" sldId="773"/>
        </pc:sldMkLst>
      </pc:sldChg>
      <pc:sldChg chg="addSp modSp new mod modShow">
        <pc:chgData name="Batuhan Yildiz" userId="90f344fc-4655-4923-aeaf-697bba59c1a7" providerId="ADAL" clId="{0254B5F4-966E-4F95-9283-C5214D39B1CA}" dt="2020-05-22T21:10:22.063" v="502" actId="729"/>
        <pc:sldMkLst>
          <pc:docMk/>
          <pc:sldMk cId="226164002" sldId="774"/>
        </pc:sldMkLst>
        <pc:spChg chg="mod">
          <ac:chgData name="Batuhan Yildiz" userId="90f344fc-4655-4923-aeaf-697bba59c1a7" providerId="ADAL" clId="{0254B5F4-966E-4F95-9283-C5214D39B1CA}" dt="2020-05-22T21:07:26.048" v="481"/>
          <ac:spMkLst>
            <pc:docMk/>
            <pc:sldMk cId="226164002" sldId="774"/>
            <ac:spMk id="2" creationId="{9D8D9E53-D3D1-44F6-868D-EA5E487E7D91}"/>
          </ac:spMkLst>
        </pc:spChg>
        <pc:spChg chg="mod">
          <ac:chgData name="Batuhan Yildiz" userId="90f344fc-4655-4923-aeaf-697bba59c1a7" providerId="ADAL" clId="{0254B5F4-966E-4F95-9283-C5214D39B1CA}" dt="2020-05-22T21:09:39.404" v="496" actId="947"/>
          <ac:spMkLst>
            <pc:docMk/>
            <pc:sldMk cId="226164002" sldId="774"/>
            <ac:spMk id="3" creationId="{DBEE9485-1A8C-4633-B4A3-B68549375449}"/>
          </ac:spMkLst>
        </pc:spChg>
        <pc:spChg chg="add mod">
          <ac:chgData name="Batuhan Yildiz" userId="90f344fc-4655-4923-aeaf-697bba59c1a7" providerId="ADAL" clId="{0254B5F4-966E-4F95-9283-C5214D39B1CA}" dt="2020-05-22T21:08:48.567" v="491" actId="1076"/>
          <ac:spMkLst>
            <pc:docMk/>
            <pc:sldMk cId="226164002" sldId="774"/>
            <ac:spMk id="10" creationId="{71D8E02A-6520-4AC8-B77E-7CAEF90C5DFA}"/>
          </ac:spMkLst>
        </pc:spChg>
        <pc:spChg chg="add mod">
          <ac:chgData name="Batuhan Yildiz" userId="90f344fc-4655-4923-aeaf-697bba59c1a7" providerId="ADAL" clId="{0254B5F4-966E-4F95-9283-C5214D39B1CA}" dt="2020-05-22T21:08:48.567" v="491" actId="1076"/>
          <ac:spMkLst>
            <pc:docMk/>
            <pc:sldMk cId="226164002" sldId="774"/>
            <ac:spMk id="12" creationId="{C46064D8-C8A6-4859-AC2C-99F2B41C3531}"/>
          </ac:spMkLst>
        </pc:spChg>
        <pc:picChg chg="add mod">
          <ac:chgData name="Batuhan Yildiz" userId="90f344fc-4655-4923-aeaf-697bba59c1a7" providerId="ADAL" clId="{0254B5F4-966E-4F95-9283-C5214D39B1CA}" dt="2020-05-22T21:08:48.567" v="491" actId="1076"/>
          <ac:picMkLst>
            <pc:docMk/>
            <pc:sldMk cId="226164002" sldId="774"/>
            <ac:picMk id="6" creationId="{36F2CE95-65E6-448B-AD8D-E7ADA5926B2B}"/>
          </ac:picMkLst>
        </pc:picChg>
        <pc:cxnChg chg="add mod">
          <ac:chgData name="Batuhan Yildiz" userId="90f344fc-4655-4923-aeaf-697bba59c1a7" providerId="ADAL" clId="{0254B5F4-966E-4F95-9283-C5214D39B1CA}" dt="2020-05-22T21:10:03.719" v="500" actId="14100"/>
          <ac:cxnSpMkLst>
            <pc:docMk/>
            <pc:sldMk cId="226164002" sldId="774"/>
            <ac:cxnSpMk id="8" creationId="{7818D0FF-1C72-4C64-B6A0-9BEF0A934C98}"/>
          </ac:cxnSpMkLst>
        </pc:cxnChg>
      </pc:sldChg>
      <pc:sldChg chg="addSp modSp new mod modShow modNotesTx">
        <pc:chgData name="Batuhan Yildiz" userId="90f344fc-4655-4923-aeaf-697bba59c1a7" providerId="ADAL" clId="{0254B5F4-966E-4F95-9283-C5214D39B1CA}" dt="2020-05-22T21:13:24.361" v="525" actId="729"/>
        <pc:sldMkLst>
          <pc:docMk/>
          <pc:sldMk cId="97026628" sldId="775"/>
        </pc:sldMkLst>
        <pc:spChg chg="mod">
          <ac:chgData name="Batuhan Yildiz" userId="90f344fc-4655-4923-aeaf-697bba59c1a7" providerId="ADAL" clId="{0254B5F4-966E-4F95-9283-C5214D39B1CA}" dt="2020-05-22T21:11:41.921" v="509"/>
          <ac:spMkLst>
            <pc:docMk/>
            <pc:sldMk cId="97026628" sldId="775"/>
            <ac:spMk id="2" creationId="{7953C2F6-34E2-40D1-A88B-ECCEF33B1213}"/>
          </ac:spMkLst>
        </pc:spChg>
        <pc:spChg chg="mod">
          <ac:chgData name="Batuhan Yildiz" userId="90f344fc-4655-4923-aeaf-697bba59c1a7" providerId="ADAL" clId="{0254B5F4-966E-4F95-9283-C5214D39B1CA}" dt="2020-05-22T21:11:54.375" v="511"/>
          <ac:spMkLst>
            <pc:docMk/>
            <pc:sldMk cId="97026628" sldId="775"/>
            <ac:spMk id="3" creationId="{BC6906EF-0781-4C15-B74A-2CC370D515D2}"/>
          </ac:spMkLst>
        </pc:spChg>
        <pc:picChg chg="add mod">
          <ac:chgData name="Batuhan Yildiz" userId="90f344fc-4655-4923-aeaf-697bba59c1a7" providerId="ADAL" clId="{0254B5F4-966E-4F95-9283-C5214D39B1CA}" dt="2020-05-22T21:12:13.227" v="513" actId="1076"/>
          <ac:picMkLst>
            <pc:docMk/>
            <pc:sldMk cId="97026628" sldId="775"/>
            <ac:picMk id="8" creationId="{DBF3CCB4-04D9-40F4-B73C-A8392420FAFD}"/>
          </ac:picMkLst>
        </pc:picChg>
        <pc:picChg chg="add mod">
          <ac:chgData name="Batuhan Yildiz" userId="90f344fc-4655-4923-aeaf-697bba59c1a7" providerId="ADAL" clId="{0254B5F4-966E-4F95-9283-C5214D39B1CA}" dt="2020-05-22T21:12:33.941" v="517" actId="1076"/>
          <ac:picMkLst>
            <pc:docMk/>
            <pc:sldMk cId="97026628" sldId="775"/>
            <ac:picMk id="10" creationId="{AB173EC6-E8E9-4361-84A6-DC3B7EE7CD99}"/>
          </ac:picMkLst>
        </pc:picChg>
        <pc:cxnChg chg="add mod">
          <ac:chgData name="Batuhan Yildiz" userId="90f344fc-4655-4923-aeaf-697bba59c1a7" providerId="ADAL" clId="{0254B5F4-966E-4F95-9283-C5214D39B1CA}" dt="2020-05-22T21:12:18.867" v="514" actId="1076"/>
          <ac:cxnSpMkLst>
            <pc:docMk/>
            <pc:sldMk cId="97026628" sldId="775"/>
            <ac:cxnSpMk id="6" creationId="{32647750-ED0D-4285-8662-07E90C94E177}"/>
          </ac:cxnSpMkLst>
        </pc:cxnChg>
      </pc:sldChg>
      <pc:sldChg chg="addSp modSp add mod modShow modNotesTx">
        <pc:chgData name="Batuhan Yildiz" userId="90f344fc-4655-4923-aeaf-697bba59c1a7" providerId="ADAL" clId="{0254B5F4-966E-4F95-9283-C5214D39B1CA}" dt="2020-05-22T21:13:26.784" v="526" actId="729"/>
        <pc:sldMkLst>
          <pc:docMk/>
          <pc:sldMk cId="1954018963" sldId="776"/>
        </pc:sldMkLst>
        <pc:spChg chg="mod">
          <ac:chgData name="Batuhan Yildiz" userId="90f344fc-4655-4923-aeaf-697bba59c1a7" providerId="ADAL" clId="{0254B5F4-966E-4F95-9283-C5214D39B1CA}" dt="2020-05-22T21:11:45.411" v="510"/>
          <ac:spMkLst>
            <pc:docMk/>
            <pc:sldMk cId="1954018963" sldId="776"/>
            <ac:spMk id="2" creationId="{7953C2F6-34E2-40D1-A88B-ECCEF33B1213}"/>
          </ac:spMkLst>
        </pc:spChg>
        <pc:spChg chg="mod">
          <ac:chgData name="Batuhan Yildiz" userId="90f344fc-4655-4923-aeaf-697bba59c1a7" providerId="ADAL" clId="{0254B5F4-966E-4F95-9283-C5214D39B1CA}" dt="2020-05-22T21:13:01.466" v="520"/>
          <ac:spMkLst>
            <pc:docMk/>
            <pc:sldMk cId="1954018963" sldId="776"/>
            <ac:spMk id="3" creationId="{BC6906EF-0781-4C15-B74A-2CC370D515D2}"/>
          </ac:spMkLst>
        </pc:spChg>
        <pc:picChg chg="add mod">
          <ac:chgData name="Batuhan Yildiz" userId="90f344fc-4655-4923-aeaf-697bba59c1a7" providerId="ADAL" clId="{0254B5F4-966E-4F95-9283-C5214D39B1CA}" dt="2020-05-22T21:13:10.322" v="522" actId="1076"/>
          <ac:picMkLst>
            <pc:docMk/>
            <pc:sldMk cId="1954018963" sldId="776"/>
            <ac:picMk id="6" creationId="{2F4776C1-093F-465C-9F7A-FFFB091307E6}"/>
          </ac:picMkLst>
        </pc:picChg>
      </pc:sldChg>
      <pc:sldChg chg="addSp modSp new mod modShow">
        <pc:chgData name="Batuhan Yildiz" userId="90f344fc-4655-4923-aeaf-697bba59c1a7" providerId="ADAL" clId="{0254B5F4-966E-4F95-9283-C5214D39B1CA}" dt="2020-05-22T21:21:04.231" v="605" actId="729"/>
        <pc:sldMkLst>
          <pc:docMk/>
          <pc:sldMk cId="661009157" sldId="777"/>
        </pc:sldMkLst>
        <pc:spChg chg="mod">
          <ac:chgData name="Batuhan Yildiz" userId="90f344fc-4655-4923-aeaf-697bba59c1a7" providerId="ADAL" clId="{0254B5F4-966E-4F95-9283-C5214D39B1CA}" dt="2020-05-22T21:14:18.834" v="528"/>
          <ac:spMkLst>
            <pc:docMk/>
            <pc:sldMk cId="661009157" sldId="777"/>
            <ac:spMk id="2" creationId="{A224983B-32B6-47DB-A265-C8C829557E1C}"/>
          </ac:spMkLst>
        </pc:spChg>
        <pc:spChg chg="mod">
          <ac:chgData name="Batuhan Yildiz" userId="90f344fc-4655-4923-aeaf-697bba59c1a7" providerId="ADAL" clId="{0254B5F4-966E-4F95-9283-C5214D39B1CA}" dt="2020-05-22T21:16:16.265" v="559" actId="6549"/>
          <ac:spMkLst>
            <pc:docMk/>
            <pc:sldMk cId="661009157" sldId="777"/>
            <ac:spMk id="3" creationId="{CFA6F3CA-BF44-4C6C-ADAF-992C9BB0C18B}"/>
          </ac:spMkLst>
        </pc:spChg>
        <pc:picChg chg="add mod">
          <ac:chgData name="Batuhan Yildiz" userId="90f344fc-4655-4923-aeaf-697bba59c1a7" providerId="ADAL" clId="{0254B5F4-966E-4F95-9283-C5214D39B1CA}" dt="2020-05-22T21:16:46.977" v="568" actId="1076"/>
          <ac:picMkLst>
            <pc:docMk/>
            <pc:sldMk cId="661009157" sldId="777"/>
            <ac:picMk id="6" creationId="{AD1D2AF8-9AE6-4DF4-A101-ED54857E699C}"/>
          </ac:picMkLst>
        </pc:picChg>
        <pc:picChg chg="add mod">
          <ac:chgData name="Batuhan Yildiz" userId="90f344fc-4655-4923-aeaf-697bba59c1a7" providerId="ADAL" clId="{0254B5F4-966E-4F95-9283-C5214D39B1CA}" dt="2020-05-22T21:16:44.129" v="567" actId="1076"/>
          <ac:picMkLst>
            <pc:docMk/>
            <pc:sldMk cId="661009157" sldId="777"/>
            <ac:picMk id="8" creationId="{45C5CB64-6F17-4815-BDA8-D7E62623B146}"/>
          </ac:picMkLst>
        </pc:picChg>
        <pc:picChg chg="add mod">
          <ac:chgData name="Batuhan Yildiz" userId="90f344fc-4655-4923-aeaf-697bba59c1a7" providerId="ADAL" clId="{0254B5F4-966E-4F95-9283-C5214D39B1CA}" dt="2020-05-22T21:16:41.081" v="566" actId="1076"/>
          <ac:picMkLst>
            <pc:docMk/>
            <pc:sldMk cId="661009157" sldId="777"/>
            <ac:picMk id="10" creationId="{7041673B-18BB-4DA3-AD5B-AEF7B440CCA2}"/>
          </ac:picMkLst>
        </pc:picChg>
      </pc:sldChg>
      <pc:sldChg chg="addSp modSp add mod modShow modNotesTx">
        <pc:chgData name="Batuhan Yildiz" userId="90f344fc-4655-4923-aeaf-697bba59c1a7" providerId="ADAL" clId="{0254B5F4-966E-4F95-9283-C5214D39B1CA}" dt="2020-05-22T21:21:04.231" v="605" actId="729"/>
        <pc:sldMkLst>
          <pc:docMk/>
          <pc:sldMk cId="849958194" sldId="778"/>
        </pc:sldMkLst>
        <pc:spChg chg="mod">
          <ac:chgData name="Batuhan Yildiz" userId="90f344fc-4655-4923-aeaf-697bba59c1a7" providerId="ADAL" clId="{0254B5F4-966E-4F95-9283-C5214D39B1CA}" dt="2020-05-22T21:17:24.913" v="574" actId="947"/>
          <ac:spMkLst>
            <pc:docMk/>
            <pc:sldMk cId="849958194" sldId="778"/>
            <ac:spMk id="3" creationId="{CFA6F3CA-BF44-4C6C-ADAF-992C9BB0C18B}"/>
          </ac:spMkLst>
        </pc:spChg>
        <pc:picChg chg="add mod">
          <ac:chgData name="Batuhan Yildiz" userId="90f344fc-4655-4923-aeaf-697bba59c1a7" providerId="ADAL" clId="{0254B5F4-966E-4F95-9283-C5214D39B1CA}" dt="2020-05-22T21:17:32.627" v="576" actId="1076"/>
          <ac:picMkLst>
            <pc:docMk/>
            <pc:sldMk cId="849958194" sldId="778"/>
            <ac:picMk id="6" creationId="{050328F8-BE7E-48B4-81E6-6437F8860330}"/>
          </ac:picMkLst>
        </pc:picChg>
      </pc:sldChg>
      <pc:sldChg chg="addSp modSp add mod modShow modNotesTx">
        <pc:chgData name="Batuhan Yildiz" userId="90f344fc-4655-4923-aeaf-697bba59c1a7" providerId="ADAL" clId="{0254B5F4-966E-4F95-9283-C5214D39B1CA}" dt="2020-05-22T21:21:04.231" v="605" actId="729"/>
        <pc:sldMkLst>
          <pc:docMk/>
          <pc:sldMk cId="2680178201" sldId="779"/>
        </pc:sldMkLst>
        <pc:spChg chg="mod">
          <ac:chgData name="Batuhan Yildiz" userId="90f344fc-4655-4923-aeaf-697bba59c1a7" providerId="ADAL" clId="{0254B5F4-966E-4F95-9283-C5214D39B1CA}" dt="2020-05-22T21:17:56.194" v="579"/>
          <ac:spMkLst>
            <pc:docMk/>
            <pc:sldMk cId="2680178201" sldId="779"/>
            <ac:spMk id="3" creationId="{CFA6F3CA-BF44-4C6C-ADAF-992C9BB0C18B}"/>
          </ac:spMkLst>
        </pc:spChg>
        <pc:picChg chg="add mod">
          <ac:chgData name="Batuhan Yildiz" userId="90f344fc-4655-4923-aeaf-697bba59c1a7" providerId="ADAL" clId="{0254B5F4-966E-4F95-9283-C5214D39B1CA}" dt="2020-05-22T21:18:06.311" v="581" actId="1076"/>
          <ac:picMkLst>
            <pc:docMk/>
            <pc:sldMk cId="2680178201" sldId="779"/>
            <ac:picMk id="6" creationId="{F3C3AB67-038E-4AF3-8909-6BDE3A9C2B53}"/>
          </ac:picMkLst>
        </pc:picChg>
      </pc:sldChg>
      <pc:sldChg chg="addSp modSp add mod modShow">
        <pc:chgData name="Batuhan Yildiz" userId="90f344fc-4655-4923-aeaf-697bba59c1a7" providerId="ADAL" clId="{0254B5F4-966E-4F95-9283-C5214D39B1CA}" dt="2020-05-22T21:21:04.231" v="605" actId="729"/>
        <pc:sldMkLst>
          <pc:docMk/>
          <pc:sldMk cId="1316695643" sldId="780"/>
        </pc:sldMkLst>
        <pc:spChg chg="mod">
          <ac:chgData name="Batuhan Yildiz" userId="90f344fc-4655-4923-aeaf-697bba59c1a7" providerId="ADAL" clId="{0254B5F4-966E-4F95-9283-C5214D39B1CA}" dt="2020-05-22T21:18:25.982" v="585" actId="6549"/>
          <ac:spMkLst>
            <pc:docMk/>
            <pc:sldMk cId="1316695643" sldId="780"/>
            <ac:spMk id="3" creationId="{CFA6F3CA-BF44-4C6C-ADAF-992C9BB0C18B}"/>
          </ac:spMkLst>
        </pc:spChg>
        <pc:picChg chg="add mod">
          <ac:chgData name="Batuhan Yildiz" userId="90f344fc-4655-4923-aeaf-697bba59c1a7" providerId="ADAL" clId="{0254B5F4-966E-4F95-9283-C5214D39B1CA}" dt="2020-05-22T21:18:38.312" v="588" actId="1076"/>
          <ac:picMkLst>
            <pc:docMk/>
            <pc:sldMk cId="1316695643" sldId="780"/>
            <ac:picMk id="6" creationId="{BA709948-35A6-4016-B9F5-9A981743DB7E}"/>
          </ac:picMkLst>
        </pc:picChg>
      </pc:sldChg>
      <pc:sldChg chg="modSp add mod modShow">
        <pc:chgData name="Batuhan Yildiz" userId="90f344fc-4655-4923-aeaf-697bba59c1a7" providerId="ADAL" clId="{0254B5F4-966E-4F95-9283-C5214D39B1CA}" dt="2020-05-22T21:21:04.231" v="605" actId="729"/>
        <pc:sldMkLst>
          <pc:docMk/>
          <pc:sldMk cId="2653196848" sldId="781"/>
        </pc:sldMkLst>
        <pc:spChg chg="mod">
          <ac:chgData name="Batuhan Yildiz" userId="90f344fc-4655-4923-aeaf-697bba59c1a7" providerId="ADAL" clId="{0254B5F4-966E-4F95-9283-C5214D39B1CA}" dt="2020-05-22T21:14:51.689" v="535"/>
          <ac:spMkLst>
            <pc:docMk/>
            <pc:sldMk cId="2653196848" sldId="781"/>
            <ac:spMk id="2" creationId="{A224983B-32B6-47DB-A265-C8C829557E1C}"/>
          </ac:spMkLst>
        </pc:spChg>
        <pc:spChg chg="mod">
          <ac:chgData name="Batuhan Yildiz" userId="90f344fc-4655-4923-aeaf-697bba59c1a7" providerId="ADAL" clId="{0254B5F4-966E-4F95-9283-C5214D39B1CA}" dt="2020-05-22T21:20:49.266" v="603" actId="15"/>
          <ac:spMkLst>
            <pc:docMk/>
            <pc:sldMk cId="2653196848" sldId="781"/>
            <ac:spMk id="3" creationId="{CFA6F3CA-BF44-4C6C-ADAF-992C9BB0C18B}"/>
          </ac:spMkLst>
        </pc:spChg>
      </pc:sldChg>
    </pc:docChg>
  </pc:docChgLst>
  <pc:docChgLst>
    <pc:chgData name="Batuhan Yildiz" userId="90f344fc-4655-4923-aeaf-697bba59c1a7" providerId="ADAL" clId="{FCB4B5F7-5E31-4C39-9C8B-3C8B595AC5F6}"/>
    <pc:docChg chg="undo custSel modSld">
      <pc:chgData name="Batuhan Yildiz" userId="90f344fc-4655-4923-aeaf-697bba59c1a7" providerId="ADAL" clId="{FCB4B5F7-5E31-4C39-9C8B-3C8B595AC5F6}" dt="2020-04-06T15:35:45.349" v="293" actId="20577"/>
      <pc:docMkLst>
        <pc:docMk/>
      </pc:docMkLst>
      <pc:sldChg chg="modSp mod modNotesTx">
        <pc:chgData name="Batuhan Yildiz" userId="90f344fc-4655-4923-aeaf-697bba59c1a7" providerId="ADAL" clId="{FCB4B5F7-5E31-4C39-9C8B-3C8B595AC5F6}" dt="2020-04-06T15:18:00.682" v="163"/>
        <pc:sldMkLst>
          <pc:docMk/>
          <pc:sldMk cId="4267675391" sldId="531"/>
        </pc:sldMkLst>
        <pc:spChg chg="mod">
          <ac:chgData name="Batuhan Yildiz" userId="90f344fc-4655-4923-aeaf-697bba59c1a7" providerId="ADAL" clId="{FCB4B5F7-5E31-4C39-9C8B-3C8B595AC5F6}" dt="2020-04-06T15:17:18.896" v="149" actId="113"/>
          <ac:spMkLst>
            <pc:docMk/>
            <pc:sldMk cId="4267675391" sldId="531"/>
            <ac:spMk id="6" creationId="{637E159C-9ACF-48AE-927A-D5FB13695C7F}"/>
          </ac:spMkLst>
        </pc:spChg>
      </pc:sldChg>
      <pc:sldChg chg="modNotesTx">
        <pc:chgData name="Batuhan Yildiz" userId="90f344fc-4655-4923-aeaf-697bba59c1a7" providerId="ADAL" clId="{FCB4B5F7-5E31-4C39-9C8B-3C8B595AC5F6}" dt="2020-04-06T15:19:06.421" v="176"/>
        <pc:sldMkLst>
          <pc:docMk/>
          <pc:sldMk cId="670385602" sldId="567"/>
        </pc:sldMkLst>
      </pc:sldChg>
      <pc:sldChg chg="modNotesTx">
        <pc:chgData name="Batuhan Yildiz" userId="90f344fc-4655-4923-aeaf-697bba59c1a7" providerId="ADAL" clId="{FCB4B5F7-5E31-4C39-9C8B-3C8B595AC5F6}" dt="2020-04-06T15:21:19.100" v="187" actId="20577"/>
        <pc:sldMkLst>
          <pc:docMk/>
          <pc:sldMk cId="2147177822" sldId="568"/>
        </pc:sldMkLst>
      </pc:sldChg>
      <pc:sldChg chg="modNotesTx">
        <pc:chgData name="Batuhan Yildiz" userId="90f344fc-4655-4923-aeaf-697bba59c1a7" providerId="ADAL" clId="{FCB4B5F7-5E31-4C39-9C8B-3C8B595AC5F6}" dt="2020-04-06T15:23:16.736" v="202" actId="20577"/>
        <pc:sldMkLst>
          <pc:docMk/>
          <pc:sldMk cId="1487953619" sldId="574"/>
        </pc:sldMkLst>
      </pc:sldChg>
      <pc:sldChg chg="modNotesTx">
        <pc:chgData name="Batuhan Yildiz" userId="90f344fc-4655-4923-aeaf-697bba59c1a7" providerId="ADAL" clId="{FCB4B5F7-5E31-4C39-9C8B-3C8B595AC5F6}" dt="2020-04-06T15:24:13.027" v="213" actId="20577"/>
        <pc:sldMkLst>
          <pc:docMk/>
          <pc:sldMk cId="3563492871" sldId="575"/>
        </pc:sldMkLst>
      </pc:sldChg>
      <pc:sldChg chg="modNotesTx">
        <pc:chgData name="Batuhan Yildiz" userId="90f344fc-4655-4923-aeaf-697bba59c1a7" providerId="ADAL" clId="{FCB4B5F7-5E31-4C39-9C8B-3C8B595AC5F6}" dt="2020-04-06T15:27:25.646" v="227"/>
        <pc:sldMkLst>
          <pc:docMk/>
          <pc:sldMk cId="3006523152" sldId="581"/>
        </pc:sldMkLst>
      </pc:sldChg>
      <pc:sldChg chg="modNotesTx">
        <pc:chgData name="Batuhan Yildiz" userId="90f344fc-4655-4923-aeaf-697bba59c1a7" providerId="ADAL" clId="{FCB4B5F7-5E31-4C39-9C8B-3C8B595AC5F6}" dt="2020-04-06T15:28:26.763" v="240"/>
        <pc:sldMkLst>
          <pc:docMk/>
          <pc:sldMk cId="1564438252" sldId="588"/>
        </pc:sldMkLst>
      </pc:sldChg>
      <pc:sldChg chg="modNotesTx">
        <pc:chgData name="Batuhan Yildiz" userId="90f344fc-4655-4923-aeaf-697bba59c1a7" providerId="ADAL" clId="{FCB4B5F7-5E31-4C39-9C8B-3C8B595AC5F6}" dt="2020-04-06T15:33:17.738" v="259"/>
        <pc:sldMkLst>
          <pc:docMk/>
          <pc:sldMk cId="1064848225" sldId="595"/>
        </pc:sldMkLst>
      </pc:sldChg>
      <pc:sldChg chg="modNotesTx">
        <pc:chgData name="Batuhan Yildiz" userId="90f344fc-4655-4923-aeaf-697bba59c1a7" providerId="ADAL" clId="{FCB4B5F7-5E31-4C39-9C8B-3C8B595AC5F6}" dt="2020-04-06T15:34:47.062" v="282"/>
        <pc:sldMkLst>
          <pc:docMk/>
          <pc:sldMk cId="1466982777" sldId="602"/>
        </pc:sldMkLst>
      </pc:sldChg>
      <pc:sldChg chg="modNotesTx">
        <pc:chgData name="Batuhan Yildiz" userId="90f344fc-4655-4923-aeaf-697bba59c1a7" providerId="ADAL" clId="{FCB4B5F7-5E31-4C39-9C8B-3C8B595AC5F6}" dt="2020-04-06T15:35:45.349" v="293" actId="20577"/>
        <pc:sldMkLst>
          <pc:docMk/>
          <pc:sldMk cId="747863857" sldId="610"/>
        </pc:sldMkLst>
      </pc:sldChg>
      <pc:sldChg chg="modNotesTx">
        <pc:chgData name="Batuhan Yildiz" userId="90f344fc-4655-4923-aeaf-697bba59c1a7" providerId="ADAL" clId="{FCB4B5F7-5E31-4C39-9C8B-3C8B595AC5F6}" dt="2020-04-06T15:30:05.641" v="255"/>
        <pc:sldMkLst>
          <pc:docMk/>
          <pc:sldMk cId="1300224634" sldId="683"/>
        </pc:sldMkLst>
      </pc:sldChg>
    </pc:docChg>
  </pc:docChgLst>
  <pc:docChgLst>
    <pc:chgData name="Leo Martin Johnson" userId="dab44b59-57bd-4bfd-94f1-2057ecac4675" providerId="ADAL" clId="{24092EB7-F6FF-4454-A3EF-AE1E7706A772}"/>
    <pc:docChg chg="modSld">
      <pc:chgData name="Leo Martin Johnson" userId="dab44b59-57bd-4bfd-94f1-2057ecac4675" providerId="ADAL" clId="{24092EB7-F6FF-4454-A3EF-AE1E7706A772}" dt="2020-03-06T19:27:46.225" v="0" actId="20577"/>
      <pc:docMkLst>
        <pc:docMk/>
      </pc:docMkLst>
      <pc:sldChg chg="modSp">
        <pc:chgData name="Leo Martin Johnson" userId="dab44b59-57bd-4bfd-94f1-2057ecac4675" providerId="ADAL" clId="{24092EB7-F6FF-4454-A3EF-AE1E7706A772}" dt="2020-03-06T19:27:46.225" v="0" actId="20577"/>
        <pc:sldMkLst>
          <pc:docMk/>
          <pc:sldMk cId="424115361" sldId="660"/>
        </pc:sldMkLst>
        <pc:spChg chg="mod">
          <ac:chgData name="Leo Martin Johnson" userId="dab44b59-57bd-4bfd-94f1-2057ecac4675" providerId="ADAL" clId="{24092EB7-F6FF-4454-A3EF-AE1E7706A772}" dt="2020-03-06T19:27:46.225" v="0" actId="20577"/>
          <ac:spMkLst>
            <pc:docMk/>
            <pc:sldMk cId="424115361" sldId="660"/>
            <ac:spMk id="6" creationId="{DA58C8C6-5992-4877-9EFB-CB7658F7A9E3}"/>
          </ac:spMkLst>
        </pc:spChg>
      </pc:sldChg>
    </pc:docChg>
  </pc:docChgLst>
  <pc:docChgLst>
    <pc:chgData name="Steve Hord" userId="7478402321db30a2" providerId="LiveId" clId="{295D5B02-D2C8-4673-9CCF-6329CF2FEDDA}"/>
    <pc:docChg chg="undo custSel modSld">
      <pc:chgData name="Steve Hord" userId="7478402321db30a2" providerId="LiveId" clId="{295D5B02-D2C8-4673-9CCF-6329CF2FEDDA}" dt="2020-04-17T18:23:08.658" v="328" actId="20577"/>
      <pc:docMkLst>
        <pc:docMk/>
      </pc:docMkLst>
      <pc:sldChg chg="modSp">
        <pc:chgData name="Steve Hord" userId="7478402321db30a2" providerId="LiveId" clId="{295D5B02-D2C8-4673-9CCF-6329CF2FEDDA}" dt="2020-04-16T19:35:49.205" v="4" actId="20577"/>
        <pc:sldMkLst>
          <pc:docMk/>
          <pc:sldMk cId="3235270007" sldId="257"/>
        </pc:sldMkLst>
        <pc:spChg chg="mod">
          <ac:chgData name="Steve Hord" userId="7478402321db30a2" providerId="LiveId" clId="{295D5B02-D2C8-4673-9CCF-6329CF2FEDDA}" dt="2020-04-16T19:35:49.205" v="4" actId="20577"/>
          <ac:spMkLst>
            <pc:docMk/>
            <pc:sldMk cId="3235270007" sldId="257"/>
            <ac:spMk id="131" creationId="{2DE934DB-EC51-4589-8071-8A93DF49C73E}"/>
          </ac:spMkLst>
        </pc:spChg>
        <pc:spChg chg="mod">
          <ac:chgData name="Steve Hord" userId="7478402321db30a2" providerId="LiveId" clId="{295D5B02-D2C8-4673-9CCF-6329CF2FEDDA}" dt="2020-04-16T19:35:39.509" v="3" actId="20577"/>
          <ac:spMkLst>
            <pc:docMk/>
            <pc:sldMk cId="3235270007" sldId="257"/>
            <ac:spMk id="141" creationId="{DF781616-F235-4DB8-8529-272D6CB21493}"/>
          </ac:spMkLst>
        </pc:spChg>
      </pc:sldChg>
      <pc:sldChg chg="modNotesTx">
        <pc:chgData name="Steve Hord" userId="7478402321db30a2" providerId="LiveId" clId="{295D5B02-D2C8-4673-9CCF-6329CF2FEDDA}" dt="2020-04-16T20:24:28.786" v="36" actId="114"/>
        <pc:sldMkLst>
          <pc:docMk/>
          <pc:sldMk cId="4267675391" sldId="531"/>
        </pc:sldMkLst>
      </pc:sldChg>
      <pc:sldChg chg="modSp">
        <pc:chgData name="Steve Hord" userId="7478402321db30a2" providerId="LiveId" clId="{295D5B02-D2C8-4673-9CCF-6329CF2FEDDA}" dt="2020-04-16T19:22:11.998" v="1" actId="20577"/>
        <pc:sldMkLst>
          <pc:docMk/>
          <pc:sldMk cId="2621600474" sldId="534"/>
        </pc:sldMkLst>
        <pc:spChg chg="mod">
          <ac:chgData name="Steve Hord" userId="7478402321db30a2" providerId="LiveId" clId="{295D5B02-D2C8-4673-9CCF-6329CF2FEDDA}" dt="2020-04-16T19:22:11.998" v="1" actId="20577"/>
          <ac:spMkLst>
            <pc:docMk/>
            <pc:sldMk cId="2621600474" sldId="534"/>
            <ac:spMk id="5" creationId="{55182462-DFDF-4D48-A92C-42FD52821C4E}"/>
          </ac:spMkLst>
        </pc:spChg>
      </pc:sldChg>
      <pc:sldChg chg="modSp">
        <pc:chgData name="Steve Hord" userId="7478402321db30a2" providerId="LiveId" clId="{295D5B02-D2C8-4673-9CCF-6329CF2FEDDA}" dt="2020-04-16T20:25:05.481" v="37" actId="255"/>
        <pc:sldMkLst>
          <pc:docMk/>
          <pc:sldMk cId="2980146838" sldId="560"/>
        </pc:sldMkLst>
        <pc:spChg chg="mod">
          <ac:chgData name="Steve Hord" userId="7478402321db30a2" providerId="LiveId" clId="{295D5B02-D2C8-4673-9CCF-6329CF2FEDDA}" dt="2020-04-16T20:25:05.481" v="37" actId="255"/>
          <ac:spMkLst>
            <pc:docMk/>
            <pc:sldMk cId="2980146838" sldId="560"/>
            <ac:spMk id="2" creationId="{4615BB0C-211A-4A6B-A4FE-D9C725309C49}"/>
          </ac:spMkLst>
        </pc:spChg>
      </pc:sldChg>
      <pc:sldChg chg="modSp">
        <pc:chgData name="Steve Hord" userId="7478402321db30a2" providerId="LiveId" clId="{295D5B02-D2C8-4673-9CCF-6329CF2FEDDA}" dt="2020-04-16T20:25:56.702" v="40" actId="255"/>
        <pc:sldMkLst>
          <pc:docMk/>
          <pc:sldMk cId="3735096506" sldId="563"/>
        </pc:sldMkLst>
        <pc:graphicFrameChg chg="mod">
          <ac:chgData name="Steve Hord" userId="7478402321db30a2" providerId="LiveId" clId="{295D5B02-D2C8-4673-9CCF-6329CF2FEDDA}" dt="2020-04-16T20:25:56.702" v="40" actId="255"/>
          <ac:graphicFrameMkLst>
            <pc:docMk/>
            <pc:sldMk cId="3735096506" sldId="563"/>
            <ac:graphicFrameMk id="3" creationId="{9484E1FE-7534-495E-863C-657A46F5E628}"/>
          </ac:graphicFrameMkLst>
        </pc:graphicFrameChg>
      </pc:sldChg>
      <pc:sldChg chg="modNotesTx">
        <pc:chgData name="Steve Hord" userId="7478402321db30a2" providerId="LiveId" clId="{295D5B02-D2C8-4673-9CCF-6329CF2FEDDA}" dt="2020-04-16T21:57:47.261" v="43" actId="114"/>
        <pc:sldMkLst>
          <pc:docMk/>
          <pc:sldMk cId="670385602" sldId="567"/>
        </pc:sldMkLst>
      </pc:sldChg>
      <pc:sldChg chg="modSp">
        <pc:chgData name="Steve Hord" userId="7478402321db30a2" providerId="LiveId" clId="{295D5B02-D2C8-4673-9CCF-6329CF2FEDDA}" dt="2020-04-16T22:03:11.648" v="50" actId="255"/>
        <pc:sldMkLst>
          <pc:docMk/>
          <pc:sldMk cId="1617064737" sldId="569"/>
        </pc:sldMkLst>
        <pc:spChg chg="mod">
          <ac:chgData name="Steve Hord" userId="7478402321db30a2" providerId="LiveId" clId="{295D5B02-D2C8-4673-9CCF-6329CF2FEDDA}" dt="2020-04-16T22:03:11.648" v="50" actId="255"/>
          <ac:spMkLst>
            <pc:docMk/>
            <pc:sldMk cId="1617064737" sldId="569"/>
            <ac:spMk id="2" creationId="{4615BB0C-211A-4A6B-A4FE-D9C725309C49}"/>
          </ac:spMkLst>
        </pc:spChg>
      </pc:sldChg>
      <pc:sldChg chg="modSp">
        <pc:chgData name="Steve Hord" userId="7478402321db30a2" providerId="LiveId" clId="{295D5B02-D2C8-4673-9CCF-6329CF2FEDDA}" dt="2020-04-16T22:06:40.938" v="52" actId="255"/>
        <pc:sldMkLst>
          <pc:docMk/>
          <pc:sldMk cId="2346840044" sldId="570"/>
        </pc:sldMkLst>
        <pc:graphicFrameChg chg="mod">
          <ac:chgData name="Steve Hord" userId="7478402321db30a2" providerId="LiveId" clId="{295D5B02-D2C8-4673-9CCF-6329CF2FEDDA}" dt="2020-04-16T22:06:40.938" v="52" actId="255"/>
          <ac:graphicFrameMkLst>
            <pc:docMk/>
            <pc:sldMk cId="2346840044" sldId="570"/>
            <ac:graphicFrameMk id="3" creationId="{9484E1FE-7534-495E-863C-657A46F5E628}"/>
          </ac:graphicFrameMkLst>
        </pc:graphicFrameChg>
      </pc:sldChg>
      <pc:sldChg chg="modNotesTx">
        <pc:chgData name="Steve Hord" userId="7478402321db30a2" providerId="LiveId" clId="{295D5B02-D2C8-4673-9CCF-6329CF2FEDDA}" dt="2020-04-16T22:24:31.241" v="64" actId="114"/>
        <pc:sldMkLst>
          <pc:docMk/>
          <pc:sldMk cId="1487953619" sldId="574"/>
        </pc:sldMkLst>
      </pc:sldChg>
      <pc:sldChg chg="modSp">
        <pc:chgData name="Steve Hord" userId="7478402321db30a2" providerId="LiveId" clId="{295D5B02-D2C8-4673-9CCF-6329CF2FEDDA}" dt="2020-04-16T22:25:06.359" v="65" actId="255"/>
        <pc:sldMkLst>
          <pc:docMk/>
          <pc:sldMk cId="1775931326" sldId="576"/>
        </pc:sldMkLst>
        <pc:spChg chg="mod">
          <ac:chgData name="Steve Hord" userId="7478402321db30a2" providerId="LiveId" clId="{295D5B02-D2C8-4673-9CCF-6329CF2FEDDA}" dt="2020-04-16T22:25:06.359" v="65" actId="255"/>
          <ac:spMkLst>
            <pc:docMk/>
            <pc:sldMk cId="1775931326" sldId="576"/>
            <ac:spMk id="2" creationId="{4615BB0C-211A-4A6B-A4FE-D9C725309C49}"/>
          </ac:spMkLst>
        </pc:spChg>
      </pc:sldChg>
      <pc:sldChg chg="modSp modNotesTx">
        <pc:chgData name="Steve Hord" userId="7478402321db30a2" providerId="LiveId" clId="{295D5B02-D2C8-4673-9CCF-6329CF2FEDDA}" dt="2020-04-16T22:28:36.597" v="78" actId="15"/>
        <pc:sldMkLst>
          <pc:docMk/>
          <pc:sldMk cId="4206133277" sldId="577"/>
        </pc:sldMkLst>
        <pc:graphicFrameChg chg="mod">
          <ac:chgData name="Steve Hord" userId="7478402321db30a2" providerId="LiveId" clId="{295D5B02-D2C8-4673-9CCF-6329CF2FEDDA}" dt="2020-04-16T22:26:43.286" v="69" actId="255"/>
          <ac:graphicFrameMkLst>
            <pc:docMk/>
            <pc:sldMk cId="4206133277" sldId="577"/>
            <ac:graphicFrameMk id="3" creationId="{9484E1FE-7534-495E-863C-657A46F5E628}"/>
          </ac:graphicFrameMkLst>
        </pc:graphicFrameChg>
      </pc:sldChg>
      <pc:sldChg chg="modNotesTx">
        <pc:chgData name="Steve Hord" userId="7478402321db30a2" providerId="LiveId" clId="{295D5B02-D2C8-4673-9CCF-6329CF2FEDDA}" dt="2020-04-16T22:45:14.552" v="81" actId="114"/>
        <pc:sldMkLst>
          <pc:docMk/>
          <pc:sldMk cId="3006523152" sldId="581"/>
        </pc:sldMkLst>
      </pc:sldChg>
      <pc:sldChg chg="modSp">
        <pc:chgData name="Steve Hord" userId="7478402321db30a2" providerId="LiveId" clId="{295D5B02-D2C8-4673-9CCF-6329CF2FEDDA}" dt="2020-04-16T22:45:37.626" v="82" actId="255"/>
        <pc:sldMkLst>
          <pc:docMk/>
          <pc:sldMk cId="376975876" sldId="583"/>
        </pc:sldMkLst>
        <pc:spChg chg="mod">
          <ac:chgData name="Steve Hord" userId="7478402321db30a2" providerId="LiveId" clId="{295D5B02-D2C8-4673-9CCF-6329CF2FEDDA}" dt="2020-04-16T22:45:37.626" v="82" actId="255"/>
          <ac:spMkLst>
            <pc:docMk/>
            <pc:sldMk cId="376975876" sldId="583"/>
            <ac:spMk id="2" creationId="{4615BB0C-211A-4A6B-A4FE-D9C725309C49}"/>
          </ac:spMkLst>
        </pc:spChg>
      </pc:sldChg>
      <pc:sldChg chg="modSp">
        <pc:chgData name="Steve Hord" userId="7478402321db30a2" providerId="LiveId" clId="{295D5B02-D2C8-4673-9CCF-6329CF2FEDDA}" dt="2020-04-16T22:46:47.792" v="86" actId="255"/>
        <pc:sldMkLst>
          <pc:docMk/>
          <pc:sldMk cId="2444463328" sldId="584"/>
        </pc:sldMkLst>
        <pc:graphicFrameChg chg="mod">
          <ac:chgData name="Steve Hord" userId="7478402321db30a2" providerId="LiveId" clId="{295D5B02-D2C8-4673-9CCF-6329CF2FEDDA}" dt="2020-04-16T22:46:47.792" v="86" actId="255"/>
          <ac:graphicFrameMkLst>
            <pc:docMk/>
            <pc:sldMk cId="2444463328" sldId="584"/>
            <ac:graphicFrameMk id="3" creationId="{9484E1FE-7534-495E-863C-657A46F5E628}"/>
          </ac:graphicFrameMkLst>
        </pc:graphicFrameChg>
      </pc:sldChg>
      <pc:sldChg chg="modSp">
        <pc:chgData name="Steve Hord" userId="7478402321db30a2" providerId="LiveId" clId="{295D5B02-D2C8-4673-9CCF-6329CF2FEDDA}" dt="2020-04-16T22:48:06.514" v="88" actId="20577"/>
        <pc:sldMkLst>
          <pc:docMk/>
          <pc:sldMk cId="3258136525" sldId="586"/>
        </pc:sldMkLst>
        <pc:spChg chg="mod">
          <ac:chgData name="Steve Hord" userId="7478402321db30a2" providerId="LiveId" clId="{295D5B02-D2C8-4673-9CCF-6329CF2FEDDA}" dt="2020-04-16T22:48:06.514" v="88" actId="20577"/>
          <ac:spMkLst>
            <pc:docMk/>
            <pc:sldMk cId="3258136525" sldId="586"/>
            <ac:spMk id="5" creationId="{55182462-DFDF-4D48-A92C-42FD52821C4E}"/>
          </ac:spMkLst>
        </pc:spChg>
      </pc:sldChg>
      <pc:sldChg chg="modNotesTx">
        <pc:chgData name="Steve Hord" userId="7478402321db30a2" providerId="LiveId" clId="{295D5B02-D2C8-4673-9CCF-6329CF2FEDDA}" dt="2020-04-16T23:38:30.949" v="120" actId="114"/>
        <pc:sldMkLst>
          <pc:docMk/>
          <pc:sldMk cId="1564438252" sldId="588"/>
        </pc:sldMkLst>
      </pc:sldChg>
      <pc:sldChg chg="modSp">
        <pc:chgData name="Steve Hord" userId="7478402321db30a2" providerId="LiveId" clId="{295D5B02-D2C8-4673-9CCF-6329CF2FEDDA}" dt="2020-04-16T23:38:53.855" v="121" actId="255"/>
        <pc:sldMkLst>
          <pc:docMk/>
          <pc:sldMk cId="1844966639" sldId="590"/>
        </pc:sldMkLst>
        <pc:spChg chg="mod">
          <ac:chgData name="Steve Hord" userId="7478402321db30a2" providerId="LiveId" clId="{295D5B02-D2C8-4673-9CCF-6329CF2FEDDA}" dt="2020-04-16T23:38:53.855" v="121" actId="255"/>
          <ac:spMkLst>
            <pc:docMk/>
            <pc:sldMk cId="1844966639" sldId="590"/>
            <ac:spMk id="2" creationId="{4615BB0C-211A-4A6B-A4FE-D9C725309C49}"/>
          </ac:spMkLst>
        </pc:spChg>
      </pc:sldChg>
      <pc:sldChg chg="modSp modNotesTx">
        <pc:chgData name="Steve Hord" userId="7478402321db30a2" providerId="LiveId" clId="{295D5B02-D2C8-4673-9CCF-6329CF2FEDDA}" dt="2020-04-16T23:46:18.422" v="127" actId="20577"/>
        <pc:sldMkLst>
          <pc:docMk/>
          <pc:sldMk cId="1737290916" sldId="591"/>
        </pc:sldMkLst>
        <pc:graphicFrameChg chg="mod">
          <ac:chgData name="Steve Hord" userId="7478402321db30a2" providerId="LiveId" clId="{295D5B02-D2C8-4673-9CCF-6329CF2FEDDA}" dt="2020-04-16T23:40:14.975" v="126" actId="255"/>
          <ac:graphicFrameMkLst>
            <pc:docMk/>
            <pc:sldMk cId="1737290916" sldId="591"/>
            <ac:graphicFrameMk id="3" creationId="{9484E1FE-7534-495E-863C-657A46F5E628}"/>
          </ac:graphicFrameMkLst>
        </pc:graphicFrameChg>
      </pc:sldChg>
      <pc:sldChg chg="modSp">
        <pc:chgData name="Steve Hord" userId="7478402321db30a2" providerId="LiveId" clId="{295D5B02-D2C8-4673-9CCF-6329CF2FEDDA}" dt="2020-04-16T23:47:43.814" v="129" actId="20577"/>
        <pc:sldMkLst>
          <pc:docMk/>
          <pc:sldMk cId="1849063011" sldId="593"/>
        </pc:sldMkLst>
        <pc:spChg chg="mod">
          <ac:chgData name="Steve Hord" userId="7478402321db30a2" providerId="LiveId" clId="{295D5B02-D2C8-4673-9CCF-6329CF2FEDDA}" dt="2020-04-16T23:47:43.814" v="129" actId="20577"/>
          <ac:spMkLst>
            <pc:docMk/>
            <pc:sldMk cId="1849063011" sldId="593"/>
            <ac:spMk id="5" creationId="{55182462-DFDF-4D48-A92C-42FD52821C4E}"/>
          </ac:spMkLst>
        </pc:spChg>
      </pc:sldChg>
      <pc:sldChg chg="modNotesTx">
        <pc:chgData name="Steve Hord" userId="7478402321db30a2" providerId="LiveId" clId="{295D5B02-D2C8-4673-9CCF-6329CF2FEDDA}" dt="2020-04-17T16:40:18.618" v="166" actId="114"/>
        <pc:sldMkLst>
          <pc:docMk/>
          <pc:sldMk cId="1064848225" sldId="595"/>
        </pc:sldMkLst>
      </pc:sldChg>
      <pc:sldChg chg="modSp">
        <pc:chgData name="Steve Hord" userId="7478402321db30a2" providerId="LiveId" clId="{295D5B02-D2C8-4673-9CCF-6329CF2FEDDA}" dt="2020-04-17T16:58:45.306" v="181" actId="255"/>
        <pc:sldMkLst>
          <pc:docMk/>
          <pc:sldMk cId="4224256510" sldId="597"/>
        </pc:sldMkLst>
        <pc:spChg chg="mod">
          <ac:chgData name="Steve Hord" userId="7478402321db30a2" providerId="LiveId" clId="{295D5B02-D2C8-4673-9CCF-6329CF2FEDDA}" dt="2020-04-17T16:58:45.306" v="181" actId="255"/>
          <ac:spMkLst>
            <pc:docMk/>
            <pc:sldMk cId="4224256510" sldId="597"/>
            <ac:spMk id="2" creationId="{4615BB0C-211A-4A6B-A4FE-D9C725309C49}"/>
          </ac:spMkLst>
        </pc:spChg>
      </pc:sldChg>
      <pc:sldChg chg="modSp modNotesTx">
        <pc:chgData name="Steve Hord" userId="7478402321db30a2" providerId="LiveId" clId="{295D5B02-D2C8-4673-9CCF-6329CF2FEDDA}" dt="2020-04-17T17:01:50.435" v="194" actId="15"/>
        <pc:sldMkLst>
          <pc:docMk/>
          <pc:sldMk cId="1731718220" sldId="598"/>
        </pc:sldMkLst>
        <pc:graphicFrameChg chg="mod">
          <ac:chgData name="Steve Hord" userId="7478402321db30a2" providerId="LiveId" clId="{295D5B02-D2C8-4673-9CCF-6329CF2FEDDA}" dt="2020-04-17T16:59:42.624" v="184" actId="255"/>
          <ac:graphicFrameMkLst>
            <pc:docMk/>
            <pc:sldMk cId="1731718220" sldId="598"/>
            <ac:graphicFrameMk id="3" creationId="{9484E1FE-7534-495E-863C-657A46F5E628}"/>
          </ac:graphicFrameMkLst>
        </pc:graphicFrameChg>
      </pc:sldChg>
      <pc:sldChg chg="modSp">
        <pc:chgData name="Steve Hord" userId="7478402321db30a2" providerId="LiveId" clId="{295D5B02-D2C8-4673-9CCF-6329CF2FEDDA}" dt="2020-04-17T17:02:54.009" v="197" actId="20577"/>
        <pc:sldMkLst>
          <pc:docMk/>
          <pc:sldMk cId="247321886" sldId="600"/>
        </pc:sldMkLst>
        <pc:spChg chg="mod">
          <ac:chgData name="Steve Hord" userId="7478402321db30a2" providerId="LiveId" clId="{295D5B02-D2C8-4673-9CCF-6329CF2FEDDA}" dt="2020-04-17T17:02:54.009" v="197" actId="20577"/>
          <ac:spMkLst>
            <pc:docMk/>
            <pc:sldMk cId="247321886" sldId="600"/>
            <ac:spMk id="5" creationId="{55182462-DFDF-4D48-A92C-42FD52821C4E}"/>
          </ac:spMkLst>
        </pc:spChg>
      </pc:sldChg>
      <pc:sldChg chg="modNotesTx">
        <pc:chgData name="Steve Hord" userId="7478402321db30a2" providerId="LiveId" clId="{295D5B02-D2C8-4673-9CCF-6329CF2FEDDA}" dt="2020-04-17T17:53:30.103" v="273" actId="114"/>
        <pc:sldMkLst>
          <pc:docMk/>
          <pc:sldMk cId="1466982777" sldId="602"/>
        </pc:sldMkLst>
      </pc:sldChg>
      <pc:sldChg chg="modSp">
        <pc:chgData name="Steve Hord" userId="7478402321db30a2" providerId="LiveId" clId="{295D5B02-D2C8-4673-9CCF-6329CF2FEDDA}" dt="2020-04-17T17:54:13.375" v="274" actId="255"/>
        <pc:sldMkLst>
          <pc:docMk/>
          <pc:sldMk cId="1430644532" sldId="604"/>
        </pc:sldMkLst>
        <pc:spChg chg="mod">
          <ac:chgData name="Steve Hord" userId="7478402321db30a2" providerId="LiveId" clId="{295D5B02-D2C8-4673-9CCF-6329CF2FEDDA}" dt="2020-04-17T17:54:13.375" v="274" actId="255"/>
          <ac:spMkLst>
            <pc:docMk/>
            <pc:sldMk cId="1430644532" sldId="604"/>
            <ac:spMk id="2" creationId="{4615BB0C-211A-4A6B-A4FE-D9C725309C49}"/>
          </ac:spMkLst>
        </pc:spChg>
      </pc:sldChg>
      <pc:sldChg chg="modSp modNotesTx">
        <pc:chgData name="Steve Hord" userId="7478402321db30a2" providerId="LiveId" clId="{295D5B02-D2C8-4673-9CCF-6329CF2FEDDA}" dt="2020-04-17T18:16:48.792" v="323" actId="313"/>
        <pc:sldMkLst>
          <pc:docMk/>
          <pc:sldMk cId="2889285480" sldId="605"/>
        </pc:sldMkLst>
        <pc:graphicFrameChg chg="mod">
          <ac:chgData name="Steve Hord" userId="7478402321db30a2" providerId="LiveId" clId="{295D5B02-D2C8-4673-9CCF-6329CF2FEDDA}" dt="2020-04-17T17:55:26.454" v="276" actId="255"/>
          <ac:graphicFrameMkLst>
            <pc:docMk/>
            <pc:sldMk cId="2889285480" sldId="605"/>
            <ac:graphicFrameMk id="3" creationId="{9484E1FE-7534-495E-863C-657A46F5E628}"/>
          </ac:graphicFrameMkLst>
        </pc:graphicFrameChg>
      </pc:sldChg>
      <pc:sldChg chg="modSp modNotesTx">
        <pc:chgData name="Steve Hord" userId="7478402321db30a2" providerId="LiveId" clId="{295D5B02-D2C8-4673-9CCF-6329CF2FEDDA}" dt="2020-04-17T18:15:18.125" v="321" actId="20577"/>
        <pc:sldMkLst>
          <pc:docMk/>
          <pc:sldMk cId="57508058" sldId="608"/>
        </pc:sldMkLst>
        <pc:graphicFrameChg chg="mod">
          <ac:chgData name="Steve Hord" userId="7478402321db30a2" providerId="LiveId" clId="{295D5B02-D2C8-4673-9CCF-6329CF2FEDDA}" dt="2020-04-17T18:13:50.733" v="319" actId="1076"/>
          <ac:graphicFrameMkLst>
            <pc:docMk/>
            <pc:sldMk cId="57508058" sldId="608"/>
            <ac:graphicFrameMk id="10" creationId="{392FE5B8-B893-4B1E-9B29-2151F1892047}"/>
          </ac:graphicFrameMkLst>
        </pc:graphicFrameChg>
      </pc:sldChg>
      <pc:sldChg chg="modSp">
        <pc:chgData name="Steve Hord" userId="7478402321db30a2" providerId="LiveId" clId="{295D5B02-D2C8-4673-9CCF-6329CF2FEDDA}" dt="2020-04-17T18:20:58.406" v="324" actId="255"/>
        <pc:sldMkLst>
          <pc:docMk/>
          <pc:sldMk cId="4045060224" sldId="611"/>
        </pc:sldMkLst>
        <pc:spChg chg="mod">
          <ac:chgData name="Steve Hord" userId="7478402321db30a2" providerId="LiveId" clId="{295D5B02-D2C8-4673-9CCF-6329CF2FEDDA}" dt="2020-04-17T18:20:58.406" v="324" actId="255"/>
          <ac:spMkLst>
            <pc:docMk/>
            <pc:sldMk cId="4045060224" sldId="611"/>
            <ac:spMk id="2" creationId="{4615BB0C-211A-4A6B-A4FE-D9C725309C49}"/>
          </ac:spMkLst>
        </pc:spChg>
      </pc:sldChg>
      <pc:sldChg chg="modSp modNotesTx">
        <pc:chgData name="Steve Hord" userId="7478402321db30a2" providerId="LiveId" clId="{295D5B02-D2C8-4673-9CCF-6329CF2FEDDA}" dt="2020-04-17T18:23:08.658" v="328" actId="20577"/>
        <pc:sldMkLst>
          <pc:docMk/>
          <pc:sldMk cId="3073578741" sldId="612"/>
        </pc:sldMkLst>
        <pc:graphicFrameChg chg="mod">
          <ac:chgData name="Steve Hord" userId="7478402321db30a2" providerId="LiveId" clId="{295D5B02-D2C8-4673-9CCF-6329CF2FEDDA}" dt="2020-04-17T18:21:52.303" v="327" actId="255"/>
          <ac:graphicFrameMkLst>
            <pc:docMk/>
            <pc:sldMk cId="3073578741" sldId="612"/>
            <ac:graphicFrameMk id="3" creationId="{9484E1FE-7534-495E-863C-657A46F5E628}"/>
          </ac:graphicFrameMkLst>
        </pc:graphicFrameChg>
      </pc:sldChg>
      <pc:sldChg chg="modSp">
        <pc:chgData name="Steve Hord" userId="7478402321db30a2" providerId="LiveId" clId="{295D5B02-D2C8-4673-9CCF-6329CF2FEDDA}" dt="2020-04-16T19:51:36.389" v="14" actId="20577"/>
        <pc:sldMkLst>
          <pc:docMk/>
          <pc:sldMk cId="3621061219" sldId="621"/>
        </pc:sldMkLst>
        <pc:spChg chg="mod">
          <ac:chgData name="Steve Hord" userId="7478402321db30a2" providerId="LiveId" clId="{295D5B02-D2C8-4673-9CCF-6329CF2FEDDA}" dt="2020-04-16T19:51:36.389" v="14" actId="20577"/>
          <ac:spMkLst>
            <pc:docMk/>
            <pc:sldMk cId="3621061219" sldId="621"/>
            <ac:spMk id="4" creationId="{AEEA4260-17E9-4E74-91A2-0BAABFCF61CD}"/>
          </ac:spMkLst>
        </pc:spChg>
      </pc:sldChg>
      <pc:sldChg chg="modNotesTx">
        <pc:chgData name="Steve Hord" userId="7478402321db30a2" providerId="LiveId" clId="{295D5B02-D2C8-4673-9CCF-6329CF2FEDDA}" dt="2020-04-16T20:05:20.322" v="23" actId="6549"/>
        <pc:sldMkLst>
          <pc:docMk/>
          <pc:sldMk cId="3140255800" sldId="622"/>
        </pc:sldMkLst>
      </pc:sldChg>
      <pc:sldChg chg="modSp">
        <pc:chgData name="Steve Hord" userId="7478402321db30a2" providerId="LiveId" clId="{295D5B02-D2C8-4673-9CCF-6329CF2FEDDA}" dt="2020-04-16T19:58:08.920" v="19" actId="255"/>
        <pc:sldMkLst>
          <pc:docMk/>
          <pc:sldMk cId="1796066029" sldId="623"/>
        </pc:sldMkLst>
        <pc:graphicFrameChg chg="mod">
          <ac:chgData name="Steve Hord" userId="7478402321db30a2" providerId="LiveId" clId="{295D5B02-D2C8-4673-9CCF-6329CF2FEDDA}" dt="2020-04-16T19:58:08.920" v="19" actId="255"/>
          <ac:graphicFrameMkLst>
            <pc:docMk/>
            <pc:sldMk cId="1796066029" sldId="623"/>
            <ac:graphicFrameMk id="6" creationId="{87064D57-BB3B-4462-95AE-07724B78563C}"/>
          </ac:graphicFrameMkLst>
        </pc:graphicFrameChg>
      </pc:sldChg>
      <pc:sldChg chg="modSp modNotesTx">
        <pc:chgData name="Steve Hord" userId="7478402321db30a2" providerId="LiveId" clId="{295D5B02-D2C8-4673-9CCF-6329CF2FEDDA}" dt="2020-04-16T22:10:53.016" v="56" actId="20577"/>
        <pc:sldMkLst>
          <pc:docMk/>
          <pc:sldMk cId="120752799" sldId="624"/>
        </pc:sldMkLst>
        <pc:spChg chg="mod">
          <ac:chgData name="Steve Hord" userId="7478402321db30a2" providerId="LiveId" clId="{295D5B02-D2C8-4673-9CCF-6329CF2FEDDA}" dt="2020-04-16T22:07:59.963" v="53" actId="20577"/>
          <ac:spMkLst>
            <pc:docMk/>
            <pc:sldMk cId="120752799" sldId="624"/>
            <ac:spMk id="4" creationId="{BB405A71-C0F9-4A11-817B-A32A7886BFE6}"/>
          </ac:spMkLst>
        </pc:spChg>
      </pc:sldChg>
      <pc:sldChg chg="modNotesTx">
        <pc:chgData name="Steve Hord" userId="7478402321db30a2" providerId="LiveId" clId="{295D5B02-D2C8-4673-9CCF-6329CF2FEDDA}" dt="2020-04-16T22:13:15.134" v="57" actId="20577"/>
        <pc:sldMkLst>
          <pc:docMk/>
          <pc:sldMk cId="2862873360" sldId="625"/>
        </pc:sldMkLst>
      </pc:sldChg>
      <pc:sldChg chg="modSp">
        <pc:chgData name="Steve Hord" userId="7478402321db30a2" providerId="LiveId" clId="{295D5B02-D2C8-4673-9CCF-6329CF2FEDDA}" dt="2020-04-16T22:14:08.725" v="59" actId="20577"/>
        <pc:sldMkLst>
          <pc:docMk/>
          <pc:sldMk cId="738690530" sldId="626"/>
        </pc:sldMkLst>
        <pc:graphicFrameChg chg="mod">
          <ac:chgData name="Steve Hord" userId="7478402321db30a2" providerId="LiveId" clId="{295D5B02-D2C8-4673-9CCF-6329CF2FEDDA}" dt="2020-04-16T22:14:08.725" v="59" actId="20577"/>
          <ac:graphicFrameMkLst>
            <pc:docMk/>
            <pc:sldMk cId="738690530" sldId="626"/>
            <ac:graphicFrameMk id="5" creationId="{D48D6338-D593-460A-874C-4611E69E7AF0}"/>
          </ac:graphicFrameMkLst>
        </pc:graphicFrameChg>
      </pc:sldChg>
      <pc:sldChg chg="modNotesTx">
        <pc:chgData name="Steve Hord" userId="7478402321db30a2" providerId="LiveId" clId="{295D5B02-D2C8-4673-9CCF-6329CF2FEDDA}" dt="2020-04-16T22:19:53.072" v="61" actId="2711"/>
        <pc:sldMkLst>
          <pc:docMk/>
          <pc:sldMk cId="2665972638" sldId="627"/>
        </pc:sldMkLst>
      </pc:sldChg>
      <pc:sldChg chg="modSp modNotesTx">
        <pc:chgData name="Steve Hord" userId="7478402321db30a2" providerId="LiveId" clId="{295D5B02-D2C8-4673-9CCF-6329CF2FEDDA}" dt="2020-04-16T22:23:44.889" v="63" actId="2711"/>
        <pc:sldMkLst>
          <pc:docMk/>
          <pc:sldMk cId="3814048964" sldId="628"/>
        </pc:sldMkLst>
        <pc:spChg chg="mod">
          <ac:chgData name="Steve Hord" userId="7478402321db30a2" providerId="LiveId" clId="{295D5B02-D2C8-4673-9CCF-6329CF2FEDDA}" dt="2020-04-16T22:23:08.610" v="62" actId="20577"/>
          <ac:spMkLst>
            <pc:docMk/>
            <pc:sldMk cId="3814048964" sldId="628"/>
            <ac:spMk id="4" creationId="{AF51FDA4-9A2E-493D-B1DF-C70A4B33E99A}"/>
          </ac:spMkLst>
        </pc:spChg>
      </pc:sldChg>
      <pc:sldChg chg="modSp modNotesTx">
        <pc:chgData name="Steve Hord" userId="7478402321db30a2" providerId="LiveId" clId="{295D5B02-D2C8-4673-9CCF-6329CF2FEDDA}" dt="2020-04-16T22:52:15.578" v="95" actId="15"/>
        <pc:sldMkLst>
          <pc:docMk/>
          <pc:sldMk cId="477690210" sldId="629"/>
        </pc:sldMkLst>
        <pc:spChg chg="mod">
          <ac:chgData name="Steve Hord" userId="7478402321db30a2" providerId="LiveId" clId="{295D5B02-D2C8-4673-9CCF-6329CF2FEDDA}" dt="2020-04-16T22:49:31.371" v="94" actId="20577"/>
          <ac:spMkLst>
            <pc:docMk/>
            <pc:sldMk cId="477690210" sldId="629"/>
            <ac:spMk id="4" creationId="{DEE7FFCE-48C3-4FF3-AEAD-B2A2EDD4C621}"/>
          </ac:spMkLst>
        </pc:spChg>
      </pc:sldChg>
      <pc:sldChg chg="modSp">
        <pc:chgData name="Steve Hord" userId="7478402321db30a2" providerId="LiveId" clId="{295D5B02-D2C8-4673-9CCF-6329CF2FEDDA}" dt="2020-04-16T23:17:25.199" v="102" actId="255"/>
        <pc:sldMkLst>
          <pc:docMk/>
          <pc:sldMk cId="2579723068" sldId="630"/>
        </pc:sldMkLst>
        <pc:graphicFrameChg chg="mod">
          <ac:chgData name="Steve Hord" userId="7478402321db30a2" providerId="LiveId" clId="{295D5B02-D2C8-4673-9CCF-6329CF2FEDDA}" dt="2020-04-16T23:17:25.199" v="102" actId="255"/>
          <ac:graphicFrameMkLst>
            <pc:docMk/>
            <pc:sldMk cId="2579723068" sldId="630"/>
            <ac:graphicFrameMk id="5" creationId="{DBC46F64-1AA7-4968-9494-241F95F9231B}"/>
          </ac:graphicFrameMkLst>
        </pc:graphicFrameChg>
      </pc:sldChg>
      <pc:sldChg chg="modNotesTx">
        <pc:chgData name="Steve Hord" userId="7478402321db30a2" providerId="LiveId" clId="{295D5B02-D2C8-4673-9CCF-6329CF2FEDDA}" dt="2020-04-16T23:00:19.884" v="97" actId="20577"/>
        <pc:sldMkLst>
          <pc:docMk/>
          <pc:sldMk cId="2367546701" sldId="633"/>
        </pc:sldMkLst>
      </pc:sldChg>
      <pc:sldChg chg="modNotesTx">
        <pc:chgData name="Steve Hord" userId="7478402321db30a2" providerId="LiveId" clId="{295D5B02-D2C8-4673-9CCF-6329CF2FEDDA}" dt="2020-04-16T23:12:47.699" v="98" actId="20577"/>
        <pc:sldMkLst>
          <pc:docMk/>
          <pc:sldMk cId="3532870544" sldId="635"/>
        </pc:sldMkLst>
      </pc:sldChg>
      <pc:sldChg chg="modNotesTx">
        <pc:chgData name="Steve Hord" userId="7478402321db30a2" providerId="LiveId" clId="{295D5B02-D2C8-4673-9CCF-6329CF2FEDDA}" dt="2020-04-16T23:22:02.885" v="105" actId="20577"/>
        <pc:sldMkLst>
          <pc:docMk/>
          <pc:sldMk cId="1933118630" sldId="637"/>
        </pc:sldMkLst>
      </pc:sldChg>
      <pc:sldChg chg="modSp">
        <pc:chgData name="Steve Hord" userId="7478402321db30a2" providerId="LiveId" clId="{295D5B02-D2C8-4673-9CCF-6329CF2FEDDA}" dt="2020-04-16T23:24:03.589" v="110" actId="20577"/>
        <pc:sldMkLst>
          <pc:docMk/>
          <pc:sldMk cId="3432635991" sldId="638"/>
        </pc:sldMkLst>
        <pc:spChg chg="mod">
          <ac:chgData name="Steve Hord" userId="7478402321db30a2" providerId="LiveId" clId="{295D5B02-D2C8-4673-9CCF-6329CF2FEDDA}" dt="2020-04-16T23:24:03.589" v="110" actId="20577"/>
          <ac:spMkLst>
            <pc:docMk/>
            <pc:sldMk cId="3432635991" sldId="638"/>
            <ac:spMk id="4" creationId="{9E5F6C3F-32FD-41B0-AA7E-62673DD37149}"/>
          </ac:spMkLst>
        </pc:spChg>
      </pc:sldChg>
      <pc:sldChg chg="modSp">
        <pc:chgData name="Steve Hord" userId="7478402321db30a2" providerId="LiveId" clId="{295D5B02-D2C8-4673-9CCF-6329CF2FEDDA}" dt="2020-04-16T23:35:29.687" v="119" actId="20577"/>
        <pc:sldMkLst>
          <pc:docMk/>
          <pc:sldMk cId="3588095766" sldId="640"/>
        </pc:sldMkLst>
        <pc:graphicFrameChg chg="mod">
          <ac:chgData name="Steve Hord" userId="7478402321db30a2" providerId="LiveId" clId="{295D5B02-D2C8-4673-9CCF-6329CF2FEDDA}" dt="2020-04-16T23:35:29.687" v="119" actId="20577"/>
          <ac:graphicFrameMkLst>
            <pc:docMk/>
            <pc:sldMk cId="3588095766" sldId="640"/>
            <ac:graphicFrameMk id="5" creationId="{EF6236A6-6171-4711-B939-3BE774F4A615}"/>
          </ac:graphicFrameMkLst>
        </pc:graphicFrameChg>
      </pc:sldChg>
      <pc:sldChg chg="modSp">
        <pc:chgData name="Steve Hord" userId="7478402321db30a2" providerId="LiveId" clId="{295D5B02-D2C8-4673-9CCF-6329CF2FEDDA}" dt="2020-04-16T23:18:44.325" v="104" actId="255"/>
        <pc:sldMkLst>
          <pc:docMk/>
          <pc:sldMk cId="536156213" sldId="646"/>
        </pc:sldMkLst>
        <pc:graphicFrameChg chg="mod">
          <ac:chgData name="Steve Hord" userId="7478402321db30a2" providerId="LiveId" clId="{295D5B02-D2C8-4673-9CCF-6329CF2FEDDA}" dt="2020-04-16T23:18:44.325" v="104" actId="255"/>
          <ac:graphicFrameMkLst>
            <pc:docMk/>
            <pc:sldMk cId="536156213" sldId="646"/>
            <ac:graphicFrameMk id="5" creationId="{951F87FE-A7DB-4594-9534-11EE3F5DEE97}"/>
          </ac:graphicFrameMkLst>
        </pc:graphicFrameChg>
      </pc:sldChg>
      <pc:sldChg chg="modNotesTx">
        <pc:chgData name="Steve Hord" userId="7478402321db30a2" providerId="LiveId" clId="{295D5B02-D2C8-4673-9CCF-6329CF2FEDDA}" dt="2020-04-16T19:31:12.373" v="2" actId="20577"/>
        <pc:sldMkLst>
          <pc:docMk/>
          <pc:sldMk cId="2155057141" sldId="653"/>
        </pc:sldMkLst>
      </pc:sldChg>
      <pc:sldChg chg="modSp modAnim">
        <pc:chgData name="Steve Hord" userId="7478402321db30a2" providerId="LiveId" clId="{295D5B02-D2C8-4673-9CCF-6329CF2FEDDA}" dt="2020-04-16T19:48:40.532" v="13" actId="20577"/>
        <pc:sldMkLst>
          <pc:docMk/>
          <pc:sldMk cId="424115361" sldId="660"/>
        </pc:sldMkLst>
        <pc:spChg chg="mod">
          <ac:chgData name="Steve Hord" userId="7478402321db30a2" providerId="LiveId" clId="{295D5B02-D2C8-4673-9CCF-6329CF2FEDDA}" dt="2020-04-16T19:48:40.532" v="13" actId="20577"/>
          <ac:spMkLst>
            <pc:docMk/>
            <pc:sldMk cId="424115361" sldId="660"/>
            <ac:spMk id="4" creationId="{D5861A11-DA26-4FEC-99B1-AA665EE14FF6}"/>
          </ac:spMkLst>
        </pc:spChg>
      </pc:sldChg>
      <pc:sldChg chg="modNotesTx">
        <pc:chgData name="Steve Hord" userId="7478402321db30a2" providerId="LiveId" clId="{295D5B02-D2C8-4673-9CCF-6329CF2FEDDA}" dt="2020-04-16T22:44:45.830" v="79" actId="114"/>
        <pc:sldMkLst>
          <pc:docMk/>
          <pc:sldMk cId="3151014712" sldId="669"/>
        </pc:sldMkLst>
      </pc:sldChg>
      <pc:sldChg chg="modSp">
        <pc:chgData name="Steve Hord" userId="7478402321db30a2" providerId="LiveId" clId="{295D5B02-D2C8-4673-9CCF-6329CF2FEDDA}" dt="2020-04-16T20:14:51.632" v="32" actId="255"/>
        <pc:sldMkLst>
          <pc:docMk/>
          <pc:sldMk cId="3777781783" sldId="670"/>
        </pc:sldMkLst>
        <pc:graphicFrameChg chg="mod">
          <ac:chgData name="Steve Hord" userId="7478402321db30a2" providerId="LiveId" clId="{295D5B02-D2C8-4673-9CCF-6329CF2FEDDA}" dt="2020-04-16T20:14:51.632" v="32" actId="255"/>
          <ac:graphicFrameMkLst>
            <pc:docMk/>
            <pc:sldMk cId="3777781783" sldId="670"/>
            <ac:graphicFrameMk id="8" creationId="{2F32D89F-7A25-444D-9F39-FF1BE00E16DC}"/>
          </ac:graphicFrameMkLst>
        </pc:graphicFrameChg>
      </pc:sldChg>
      <pc:sldChg chg="modSp">
        <pc:chgData name="Steve Hord" userId="7478402321db30a2" providerId="LiveId" clId="{295D5B02-D2C8-4673-9CCF-6329CF2FEDDA}" dt="2020-04-16T23:52:36.453" v="138" actId="255"/>
        <pc:sldMkLst>
          <pc:docMk/>
          <pc:sldMk cId="2593387472" sldId="672"/>
        </pc:sldMkLst>
        <pc:graphicFrameChg chg="mod">
          <ac:chgData name="Steve Hord" userId="7478402321db30a2" providerId="LiveId" clId="{295D5B02-D2C8-4673-9CCF-6329CF2FEDDA}" dt="2020-04-16T23:52:36.453" v="138" actId="255"/>
          <ac:graphicFrameMkLst>
            <pc:docMk/>
            <pc:sldMk cId="2593387472" sldId="672"/>
            <ac:graphicFrameMk id="6" creationId="{7F0E37CA-36B5-4A4B-9588-5AFF7E11045C}"/>
          </ac:graphicFrameMkLst>
        </pc:graphicFrameChg>
      </pc:sldChg>
      <pc:sldChg chg="modNotesTx">
        <pc:chgData name="Steve Hord" userId="7478402321db30a2" providerId="LiveId" clId="{295D5B02-D2C8-4673-9CCF-6329CF2FEDDA}" dt="2020-04-16T23:56:39.795" v="143" actId="20577"/>
        <pc:sldMkLst>
          <pc:docMk/>
          <pc:sldMk cId="3473839749" sldId="673"/>
        </pc:sldMkLst>
      </pc:sldChg>
      <pc:sldChg chg="modSp">
        <pc:chgData name="Steve Hord" userId="7478402321db30a2" providerId="LiveId" clId="{295D5B02-D2C8-4673-9CCF-6329CF2FEDDA}" dt="2020-04-17T00:03:58.460" v="146" actId="20577"/>
        <pc:sldMkLst>
          <pc:docMk/>
          <pc:sldMk cId="1851708808" sldId="675"/>
        </pc:sldMkLst>
        <pc:spChg chg="mod">
          <ac:chgData name="Steve Hord" userId="7478402321db30a2" providerId="LiveId" clId="{295D5B02-D2C8-4673-9CCF-6329CF2FEDDA}" dt="2020-04-17T00:03:58.460" v="146" actId="20577"/>
          <ac:spMkLst>
            <pc:docMk/>
            <pc:sldMk cId="1851708808" sldId="675"/>
            <ac:spMk id="4" creationId="{F8DD0E4E-51B5-40C3-BB52-CF0E5591B6C3}"/>
          </ac:spMkLst>
        </pc:spChg>
      </pc:sldChg>
      <pc:sldChg chg="modSp">
        <pc:chgData name="Steve Hord" userId="7478402321db30a2" providerId="LiveId" clId="{295D5B02-D2C8-4673-9CCF-6329CF2FEDDA}" dt="2020-04-17T00:06:40.128" v="148" actId="20577"/>
        <pc:sldMkLst>
          <pc:docMk/>
          <pc:sldMk cId="3299218633" sldId="676"/>
        </pc:sldMkLst>
        <pc:spChg chg="mod">
          <ac:chgData name="Steve Hord" userId="7478402321db30a2" providerId="LiveId" clId="{295D5B02-D2C8-4673-9CCF-6329CF2FEDDA}" dt="2020-04-17T00:06:40.128" v="148" actId="20577"/>
          <ac:spMkLst>
            <pc:docMk/>
            <pc:sldMk cId="3299218633" sldId="676"/>
            <ac:spMk id="4" creationId="{A9D1E6B2-00CD-46D7-B956-32AAE3A5FBF1}"/>
          </ac:spMkLst>
        </pc:spChg>
      </pc:sldChg>
      <pc:sldChg chg="modSp">
        <pc:chgData name="Steve Hord" userId="7478402321db30a2" providerId="LiveId" clId="{295D5B02-D2C8-4673-9CCF-6329CF2FEDDA}" dt="2020-04-17T00:22:10.173" v="150" actId="255"/>
        <pc:sldMkLst>
          <pc:docMk/>
          <pc:sldMk cId="3596346425" sldId="678"/>
        </pc:sldMkLst>
        <pc:graphicFrameChg chg="mod">
          <ac:chgData name="Steve Hord" userId="7478402321db30a2" providerId="LiveId" clId="{295D5B02-D2C8-4673-9CCF-6329CF2FEDDA}" dt="2020-04-17T00:22:10.173" v="150" actId="255"/>
          <ac:graphicFrameMkLst>
            <pc:docMk/>
            <pc:sldMk cId="3596346425" sldId="678"/>
            <ac:graphicFrameMk id="5" creationId="{D2C649BE-99B2-4F64-9715-9F84DFE57F63}"/>
          </ac:graphicFrameMkLst>
        </pc:graphicFrameChg>
      </pc:sldChg>
      <pc:sldChg chg="modSp modNotesTx">
        <pc:chgData name="Steve Hord" userId="7478402321db30a2" providerId="LiveId" clId="{295D5B02-D2C8-4673-9CCF-6329CF2FEDDA}" dt="2020-04-17T16:28:59.537" v="159" actId="20577"/>
        <pc:sldMkLst>
          <pc:docMk/>
          <pc:sldMk cId="884684850" sldId="680"/>
        </pc:sldMkLst>
        <pc:spChg chg="mod">
          <ac:chgData name="Steve Hord" userId="7478402321db30a2" providerId="LiveId" clId="{295D5B02-D2C8-4673-9CCF-6329CF2FEDDA}" dt="2020-04-17T16:01:33.891" v="152" actId="2711"/>
          <ac:spMkLst>
            <pc:docMk/>
            <pc:sldMk cId="884684850" sldId="680"/>
            <ac:spMk id="6" creationId="{B5B47066-5E4A-4C0A-A6AB-56A1C28C0252}"/>
          </ac:spMkLst>
        </pc:spChg>
      </pc:sldChg>
      <pc:sldChg chg="modSp modNotesTx">
        <pc:chgData name="Steve Hord" userId="7478402321db30a2" providerId="LiveId" clId="{295D5B02-D2C8-4673-9CCF-6329CF2FEDDA}" dt="2020-04-17T16:34:59.286" v="164" actId="20577"/>
        <pc:sldMkLst>
          <pc:docMk/>
          <pc:sldMk cId="2155388841" sldId="681"/>
        </pc:sldMkLst>
        <pc:spChg chg="mod">
          <ac:chgData name="Steve Hord" userId="7478402321db30a2" providerId="LiveId" clId="{295D5B02-D2C8-4673-9CCF-6329CF2FEDDA}" dt="2020-04-17T16:30:48.009" v="163" actId="20577"/>
          <ac:spMkLst>
            <pc:docMk/>
            <pc:sldMk cId="2155388841" sldId="681"/>
            <ac:spMk id="4" creationId="{14ADA88D-5C95-40FD-A465-AB1818DE47FB}"/>
          </ac:spMkLst>
        </pc:spChg>
      </pc:sldChg>
      <pc:sldChg chg="modNotesTx">
        <pc:chgData name="Steve Hord" userId="7478402321db30a2" providerId="LiveId" clId="{295D5B02-D2C8-4673-9CCF-6329CF2FEDDA}" dt="2020-04-17T16:37:00.360" v="165" actId="6549"/>
        <pc:sldMkLst>
          <pc:docMk/>
          <pc:sldMk cId="1699401867" sldId="682"/>
        </pc:sldMkLst>
      </pc:sldChg>
      <pc:sldChg chg="modNotesTx">
        <pc:chgData name="Steve Hord" userId="7478402321db30a2" providerId="LiveId" clId="{295D5B02-D2C8-4673-9CCF-6329CF2FEDDA}" dt="2020-04-17T16:00:36.934" v="151" actId="114"/>
        <pc:sldMkLst>
          <pc:docMk/>
          <pc:sldMk cId="1300224634" sldId="683"/>
        </pc:sldMkLst>
      </pc:sldChg>
      <pc:sldChg chg="modSp modNotesTx">
        <pc:chgData name="Steve Hord" userId="7478402321db30a2" providerId="LiveId" clId="{295D5B02-D2C8-4673-9CCF-6329CF2FEDDA}" dt="2020-04-17T16:43:39.569" v="168" actId="20577"/>
        <pc:sldMkLst>
          <pc:docMk/>
          <pc:sldMk cId="1755439722" sldId="688"/>
        </pc:sldMkLst>
        <pc:graphicFrameChg chg="mod">
          <ac:chgData name="Steve Hord" userId="7478402321db30a2" providerId="LiveId" clId="{295D5B02-D2C8-4673-9CCF-6329CF2FEDDA}" dt="2020-04-17T16:41:07.327" v="167" actId="20577"/>
          <ac:graphicFrameMkLst>
            <pc:docMk/>
            <pc:sldMk cId="1755439722" sldId="688"/>
            <ac:graphicFrameMk id="10" creationId="{70968EFE-D801-442A-BE10-826BCBFED0D9}"/>
          </ac:graphicFrameMkLst>
        </pc:graphicFrameChg>
      </pc:sldChg>
      <pc:sldChg chg="modSp">
        <pc:chgData name="Steve Hord" userId="7478402321db30a2" providerId="LiveId" clId="{295D5B02-D2C8-4673-9CCF-6329CF2FEDDA}" dt="2020-04-17T16:49:11.033" v="179" actId="2711"/>
        <pc:sldMkLst>
          <pc:docMk/>
          <pc:sldMk cId="4158935505" sldId="689"/>
        </pc:sldMkLst>
        <pc:spChg chg="mod">
          <ac:chgData name="Steve Hord" userId="7478402321db30a2" providerId="LiveId" clId="{295D5B02-D2C8-4673-9CCF-6329CF2FEDDA}" dt="2020-04-17T16:48:42.540" v="178" actId="2711"/>
          <ac:spMkLst>
            <pc:docMk/>
            <pc:sldMk cId="4158935505" sldId="689"/>
            <ac:spMk id="6" creationId="{E57E0C42-6BE8-475B-9877-9EA01F142013}"/>
          </ac:spMkLst>
        </pc:spChg>
        <pc:spChg chg="mod">
          <ac:chgData name="Steve Hord" userId="7478402321db30a2" providerId="LiveId" clId="{295D5B02-D2C8-4673-9CCF-6329CF2FEDDA}" dt="2020-04-17T16:49:11.033" v="179" actId="2711"/>
          <ac:spMkLst>
            <pc:docMk/>
            <pc:sldMk cId="4158935505" sldId="689"/>
            <ac:spMk id="8" creationId="{32350CA0-1FA6-4493-A8B5-BBD6F8638637}"/>
          </ac:spMkLst>
        </pc:spChg>
        <pc:graphicFrameChg chg="mod">
          <ac:chgData name="Steve Hord" userId="7478402321db30a2" providerId="LiveId" clId="{295D5B02-D2C8-4673-9CCF-6329CF2FEDDA}" dt="2020-04-17T16:48:12.214" v="177" actId="20577"/>
          <ac:graphicFrameMkLst>
            <pc:docMk/>
            <pc:sldMk cId="4158935505" sldId="689"/>
            <ac:graphicFrameMk id="12" creationId="{0705DED7-D743-4AFE-BC06-2CD31E9C9725}"/>
          </ac:graphicFrameMkLst>
        </pc:graphicFrameChg>
      </pc:sldChg>
      <pc:sldChg chg="modNotesTx">
        <pc:chgData name="Steve Hord" userId="7478402321db30a2" providerId="LiveId" clId="{295D5B02-D2C8-4673-9CCF-6329CF2FEDDA}" dt="2020-04-17T16:53:07.287" v="180" actId="6549"/>
        <pc:sldMkLst>
          <pc:docMk/>
          <pc:sldMk cId="3445907994" sldId="691"/>
        </pc:sldMkLst>
      </pc:sldChg>
      <pc:sldChg chg="modSp">
        <pc:chgData name="Steve Hord" userId="7478402321db30a2" providerId="LiveId" clId="{295D5B02-D2C8-4673-9CCF-6329CF2FEDDA}" dt="2020-04-17T16:45:12.193" v="171" actId="255"/>
        <pc:sldMkLst>
          <pc:docMk/>
          <pc:sldMk cId="585167659" sldId="692"/>
        </pc:sldMkLst>
        <pc:graphicFrameChg chg="mod">
          <ac:chgData name="Steve Hord" userId="7478402321db30a2" providerId="LiveId" clId="{295D5B02-D2C8-4673-9CCF-6329CF2FEDDA}" dt="2020-04-17T16:45:12.193" v="171" actId="255"/>
          <ac:graphicFrameMkLst>
            <pc:docMk/>
            <pc:sldMk cId="585167659" sldId="692"/>
            <ac:graphicFrameMk id="5" creationId="{EE1313F9-7B12-4D52-B0D3-4624768F7EEF}"/>
          </ac:graphicFrameMkLst>
        </pc:graphicFrameChg>
      </pc:sldChg>
      <pc:sldChg chg="modSp modNotesTx">
        <pc:chgData name="Steve Hord" userId="7478402321db30a2" providerId="LiveId" clId="{295D5B02-D2C8-4673-9CCF-6329CF2FEDDA}" dt="2020-04-17T17:42:01.851" v="262" actId="20577"/>
        <pc:sldMkLst>
          <pc:docMk/>
          <pc:sldMk cId="3063153254" sldId="696"/>
        </pc:sldMkLst>
        <pc:graphicFrameChg chg="mod">
          <ac:chgData name="Steve Hord" userId="7478402321db30a2" providerId="LiveId" clId="{295D5B02-D2C8-4673-9CCF-6329CF2FEDDA}" dt="2020-04-17T17:42:01.851" v="262" actId="20577"/>
          <ac:graphicFrameMkLst>
            <pc:docMk/>
            <pc:sldMk cId="3063153254" sldId="696"/>
            <ac:graphicFrameMk id="8" creationId="{A7EE6CFF-945F-43A0-998B-B11DE045A313}"/>
          </ac:graphicFrameMkLst>
        </pc:graphicFrameChg>
      </pc:sldChg>
      <pc:sldChg chg="modSp">
        <pc:chgData name="Steve Hord" userId="7478402321db30a2" providerId="LiveId" clId="{295D5B02-D2C8-4673-9CCF-6329CF2FEDDA}" dt="2020-04-17T18:16:39.081" v="322" actId="313"/>
        <pc:sldMkLst>
          <pc:docMk/>
          <pc:sldMk cId="2947359390" sldId="697"/>
        </pc:sldMkLst>
        <pc:graphicFrameChg chg="mod">
          <ac:chgData name="Steve Hord" userId="7478402321db30a2" providerId="LiveId" clId="{295D5B02-D2C8-4673-9CCF-6329CF2FEDDA}" dt="2020-04-17T18:16:39.081" v="322" actId="313"/>
          <ac:graphicFrameMkLst>
            <pc:docMk/>
            <pc:sldMk cId="2947359390" sldId="697"/>
            <ac:graphicFrameMk id="5" creationId="{E2091831-A0CF-4E08-8116-37E2BBC99DB7}"/>
          </ac:graphicFrameMkLst>
        </pc:graphicFrameChg>
      </pc:sldChg>
      <pc:sldChg chg="modSp modNotesTx">
        <pc:chgData name="Steve Hord" userId="7478402321db30a2" providerId="LiveId" clId="{295D5B02-D2C8-4673-9CCF-6329CF2FEDDA}" dt="2020-04-17T17:32:21.412" v="203" actId="20577"/>
        <pc:sldMkLst>
          <pc:docMk/>
          <pc:sldMk cId="241800346" sldId="704"/>
        </pc:sldMkLst>
        <pc:graphicFrameChg chg="mod">
          <ac:chgData name="Steve Hord" userId="7478402321db30a2" providerId="LiveId" clId="{295D5B02-D2C8-4673-9CCF-6329CF2FEDDA}" dt="2020-04-17T17:03:53.960" v="201" actId="20577"/>
          <ac:graphicFrameMkLst>
            <pc:docMk/>
            <pc:sldMk cId="241800346" sldId="704"/>
            <ac:graphicFrameMk id="5" creationId="{04CBBDA1-E1FB-4E16-BE17-7A07D75BC01B}"/>
          </ac:graphicFrameMkLst>
        </pc:graphicFrameChg>
      </pc:sldChg>
      <pc:sldChg chg="modSp modNotesTx">
        <pc:chgData name="Steve Hord" userId="7478402321db30a2" providerId="LiveId" clId="{295D5B02-D2C8-4673-9CCF-6329CF2FEDDA}" dt="2020-04-17T17:38:23.405" v="236" actId="15"/>
        <pc:sldMkLst>
          <pc:docMk/>
          <pc:sldMk cId="3631232456" sldId="705"/>
        </pc:sldMkLst>
        <pc:graphicFrameChg chg="mod">
          <ac:chgData name="Steve Hord" userId="7478402321db30a2" providerId="LiveId" clId="{295D5B02-D2C8-4673-9CCF-6329CF2FEDDA}" dt="2020-04-17T17:34:00.122" v="204" actId="20577"/>
          <ac:graphicFrameMkLst>
            <pc:docMk/>
            <pc:sldMk cId="3631232456" sldId="705"/>
            <ac:graphicFrameMk id="5" creationId="{E833510A-A091-4440-96D0-AFFAB6B3D994}"/>
          </ac:graphicFrameMkLst>
        </pc:graphicFrameChg>
      </pc:sldChg>
      <pc:sldChg chg="modNotesTx">
        <pc:chgData name="Steve Hord" userId="7478402321db30a2" providerId="LiveId" clId="{295D5B02-D2C8-4673-9CCF-6329CF2FEDDA}" dt="2020-04-17T18:10:20.449" v="313" actId="113"/>
        <pc:sldMkLst>
          <pc:docMk/>
          <pc:sldMk cId="3460419959" sldId="709"/>
        </pc:sldMkLst>
      </pc:sldChg>
      <pc:sldChg chg="modNotesTx">
        <pc:chgData name="Steve Hord" userId="7478402321db30a2" providerId="LiveId" clId="{295D5B02-D2C8-4673-9CCF-6329CF2FEDDA}" dt="2020-04-17T18:00:08.044" v="304" actId="20577"/>
        <pc:sldMkLst>
          <pc:docMk/>
          <pc:sldMk cId="1735595973" sldId="711"/>
        </pc:sldMkLst>
      </pc:sldChg>
      <pc:sldChg chg="modNotesTx">
        <pc:chgData name="Steve Hord" userId="7478402321db30a2" providerId="LiveId" clId="{295D5B02-D2C8-4673-9CCF-6329CF2FEDDA}" dt="2020-04-17T18:01:34.583" v="306" actId="20577"/>
        <pc:sldMkLst>
          <pc:docMk/>
          <pc:sldMk cId="1860325513" sldId="714"/>
        </pc:sldMkLst>
      </pc:sldChg>
      <pc:sldChg chg="modNotesTx">
        <pc:chgData name="Steve Hord" userId="7478402321db30a2" providerId="LiveId" clId="{295D5B02-D2C8-4673-9CCF-6329CF2FEDDA}" dt="2020-04-17T18:04:07.492" v="307" actId="20577"/>
        <pc:sldMkLst>
          <pc:docMk/>
          <pc:sldMk cId="3224995500" sldId="715"/>
        </pc:sldMkLst>
      </pc:sldChg>
      <pc:sldChg chg="modSp modNotesTx">
        <pc:chgData name="Steve Hord" userId="7478402321db30a2" providerId="LiveId" clId="{295D5B02-D2C8-4673-9CCF-6329CF2FEDDA}" dt="2020-04-17T18:07:05.809" v="309" actId="2711"/>
        <pc:sldMkLst>
          <pc:docMk/>
          <pc:sldMk cId="4205441629" sldId="716"/>
        </pc:sldMkLst>
        <pc:spChg chg="mod">
          <ac:chgData name="Steve Hord" userId="7478402321db30a2" providerId="LiveId" clId="{295D5B02-D2C8-4673-9CCF-6329CF2FEDDA}" dt="2020-04-17T18:05:15.282" v="308" actId="2711"/>
          <ac:spMkLst>
            <pc:docMk/>
            <pc:sldMk cId="4205441629" sldId="716"/>
            <ac:spMk id="6" creationId="{50A6C54E-61B3-40E2-8EDD-5EC8F48131B7}"/>
          </ac:spMkLst>
        </pc:spChg>
      </pc:sldChg>
      <pc:sldChg chg="modSp">
        <pc:chgData name="Steve Hord" userId="7478402321db30a2" providerId="LiveId" clId="{295D5B02-D2C8-4673-9CCF-6329CF2FEDDA}" dt="2020-04-16T21:55:51.187" v="41" actId="20577"/>
        <pc:sldMkLst>
          <pc:docMk/>
          <pc:sldMk cId="1531234105" sldId="720"/>
        </pc:sldMkLst>
        <pc:spChg chg="mod">
          <ac:chgData name="Steve Hord" userId="7478402321db30a2" providerId="LiveId" clId="{295D5B02-D2C8-4673-9CCF-6329CF2FEDDA}" dt="2020-04-16T21:55:51.187" v="41" actId="20577"/>
          <ac:spMkLst>
            <pc:docMk/>
            <pc:sldMk cId="1531234105" sldId="720"/>
            <ac:spMk id="4" creationId="{1FAEEDEF-2E89-4B83-A97C-A810601474EF}"/>
          </ac:spMkLst>
        </pc:spChg>
      </pc:sldChg>
      <pc:sldChg chg="modNotesTx">
        <pc:chgData name="Steve Hord" userId="7478402321db30a2" providerId="LiveId" clId="{295D5B02-D2C8-4673-9CCF-6329CF2FEDDA}" dt="2020-04-16T21:59:14.956" v="45" actId="113"/>
        <pc:sldMkLst>
          <pc:docMk/>
          <pc:sldMk cId="3141979589" sldId="721"/>
        </pc:sldMkLst>
      </pc:sldChg>
      <pc:sldChg chg="modSp">
        <pc:chgData name="Steve Hord" userId="7478402321db30a2" providerId="LiveId" clId="{295D5B02-D2C8-4673-9CCF-6329CF2FEDDA}" dt="2020-04-16T22:01:49.082" v="47" actId="255"/>
        <pc:sldMkLst>
          <pc:docMk/>
          <pc:sldMk cId="3112427032" sldId="722"/>
        </pc:sldMkLst>
        <pc:spChg chg="mod">
          <ac:chgData name="Steve Hord" userId="7478402321db30a2" providerId="LiveId" clId="{295D5B02-D2C8-4673-9CCF-6329CF2FEDDA}" dt="2020-04-16T22:01:49.082" v="47" actId="255"/>
          <ac:spMkLst>
            <pc:docMk/>
            <pc:sldMk cId="3112427032" sldId="722"/>
            <ac:spMk id="4" creationId="{B93BA1DA-6489-4FFC-AF2A-B70913655403}"/>
          </ac:spMkLst>
        </pc:spChg>
      </pc:sldChg>
      <pc:sldChg chg="modNotesTx">
        <pc:chgData name="Steve Hord" userId="7478402321db30a2" providerId="LiveId" clId="{295D5B02-D2C8-4673-9CCF-6329CF2FEDDA}" dt="2020-04-16T22:02:36.482" v="49" actId="20577"/>
        <pc:sldMkLst>
          <pc:docMk/>
          <pc:sldMk cId="1589491491" sldId="723"/>
        </pc:sldMkLst>
      </pc:sldChg>
      <pc:sldChg chg="modNotesTx">
        <pc:chgData name="Steve Hord" userId="7478402321db30a2" providerId="LiveId" clId="{295D5B02-D2C8-4673-9CCF-6329CF2FEDDA}" dt="2020-04-16T22:18:38.471" v="60" actId="20577"/>
        <pc:sldMkLst>
          <pc:docMk/>
          <pc:sldMk cId="3040929960" sldId="726"/>
        </pc:sldMkLst>
      </pc:sldChg>
      <pc:sldChg chg="modSp">
        <pc:chgData name="Steve Hord" userId="7478402321db30a2" providerId="LiveId" clId="{295D5B02-D2C8-4673-9CCF-6329CF2FEDDA}" dt="2020-04-16T23:49:52.612" v="135"/>
        <pc:sldMkLst>
          <pc:docMk/>
          <pc:sldMk cId="503771874" sldId="762"/>
        </pc:sldMkLst>
        <pc:graphicFrameChg chg="mod">
          <ac:chgData name="Steve Hord" userId="7478402321db30a2" providerId="LiveId" clId="{295D5B02-D2C8-4673-9CCF-6329CF2FEDDA}" dt="2020-04-16T23:49:52.612" v="135"/>
          <ac:graphicFrameMkLst>
            <pc:docMk/>
            <pc:sldMk cId="503771874" sldId="762"/>
            <ac:graphicFrameMk id="7" creationId="{881C9504-9679-4FA3-9D14-33E3F4FADA90}"/>
          </ac:graphicFrameMkLst>
        </pc:graphicFrameChg>
      </pc:sldChg>
      <pc:sldChg chg="modSp modNotesTx">
        <pc:chgData name="Steve Hord" userId="7478402321db30a2" providerId="LiveId" clId="{295D5B02-D2C8-4673-9CCF-6329CF2FEDDA}" dt="2020-04-16T20:07:58.900" v="27" actId="6549"/>
        <pc:sldMkLst>
          <pc:docMk/>
          <pc:sldMk cId="3614889026" sldId="770"/>
        </pc:sldMkLst>
        <pc:graphicFrameChg chg="mod">
          <ac:chgData name="Steve Hord" userId="7478402321db30a2" providerId="LiveId" clId="{295D5B02-D2C8-4673-9CCF-6329CF2FEDDA}" dt="2020-04-16T20:06:57.745" v="25" actId="255"/>
          <ac:graphicFrameMkLst>
            <pc:docMk/>
            <pc:sldMk cId="3614889026" sldId="770"/>
            <ac:graphicFrameMk id="6" creationId="{86BC05FA-945C-42C3-8405-CAF4DBFA6705}"/>
          </ac:graphicFrameMkLst>
        </pc:graphicFrameChg>
      </pc:sldChg>
    </pc:docChg>
  </pc:docChgLst>
  <pc:docChgLst>
    <pc:chgData name="boB Taylor" userId="2ac94156-0040-455f-a13f-091fd330254d" providerId="ADAL" clId="{24EF5D66-C539-4D20-BF1A-843CF34993AE}"/>
    <pc:docChg chg="undo custSel modSld">
      <pc:chgData name="boB Taylor" userId="2ac94156-0040-455f-a13f-091fd330254d" providerId="ADAL" clId="{24EF5D66-C539-4D20-BF1A-843CF34993AE}" dt="2020-05-11T20:59:55.158" v="234" actId="478"/>
      <pc:docMkLst>
        <pc:docMk/>
      </pc:docMkLst>
      <pc:sldChg chg="delSp mod">
        <pc:chgData name="boB Taylor" userId="2ac94156-0040-455f-a13f-091fd330254d" providerId="ADAL" clId="{24EF5D66-C539-4D20-BF1A-843CF34993AE}" dt="2020-05-11T20:41:32.801" v="82" actId="478"/>
        <pc:sldMkLst>
          <pc:docMk/>
          <pc:sldMk cId="3235270007" sldId="257"/>
        </pc:sldMkLst>
        <pc:spChg chg="del">
          <ac:chgData name="boB Taylor" userId="2ac94156-0040-455f-a13f-091fd330254d" providerId="ADAL" clId="{24EF5D66-C539-4D20-BF1A-843CF34993AE}" dt="2020-05-11T20:41:32.801" v="82" actId="478"/>
          <ac:spMkLst>
            <pc:docMk/>
            <pc:sldMk cId="3235270007" sldId="257"/>
            <ac:spMk id="3" creationId="{F35E8CBB-5A7D-4DEF-BAF7-8DD5D042F9E0}"/>
          </ac:spMkLst>
        </pc:spChg>
      </pc:sldChg>
      <pc:sldChg chg="delSp mod">
        <pc:chgData name="boB Taylor" userId="2ac94156-0040-455f-a13f-091fd330254d" providerId="ADAL" clId="{24EF5D66-C539-4D20-BF1A-843CF34993AE}" dt="2020-05-11T20:54:44.242" v="193" actId="478"/>
        <pc:sldMkLst>
          <pc:docMk/>
          <pc:sldMk cId="4221783869" sldId="566"/>
        </pc:sldMkLst>
        <pc:spChg chg="del">
          <ac:chgData name="boB Taylor" userId="2ac94156-0040-455f-a13f-091fd330254d" providerId="ADAL" clId="{24EF5D66-C539-4D20-BF1A-843CF34993AE}" dt="2020-05-11T20:54:44.242" v="193" actId="478"/>
          <ac:spMkLst>
            <pc:docMk/>
            <pc:sldMk cId="4221783869" sldId="566"/>
            <ac:spMk id="3" creationId="{F35E8CBB-5A7D-4DEF-BAF7-8DD5D042F9E0}"/>
          </ac:spMkLst>
        </pc:spChg>
      </pc:sldChg>
      <pc:sldChg chg="delSp mod">
        <pc:chgData name="boB Taylor" userId="2ac94156-0040-455f-a13f-091fd330254d" providerId="ADAL" clId="{24EF5D66-C539-4D20-BF1A-843CF34993AE}" dt="2020-05-11T20:43:51.491" v="94" actId="478"/>
        <pc:sldMkLst>
          <pc:docMk/>
          <pc:sldMk cId="2551646555" sldId="580"/>
        </pc:sldMkLst>
        <pc:spChg chg="del">
          <ac:chgData name="boB Taylor" userId="2ac94156-0040-455f-a13f-091fd330254d" providerId="ADAL" clId="{24EF5D66-C539-4D20-BF1A-843CF34993AE}" dt="2020-05-11T20:43:51.491" v="94" actId="478"/>
          <ac:spMkLst>
            <pc:docMk/>
            <pc:sldMk cId="2551646555" sldId="580"/>
            <ac:spMk id="3" creationId="{F35E8CBB-5A7D-4DEF-BAF7-8DD5D042F9E0}"/>
          </ac:spMkLst>
        </pc:spChg>
      </pc:sldChg>
      <pc:sldChg chg="delSp modSp mod">
        <pc:chgData name="boB Taylor" userId="2ac94156-0040-455f-a13f-091fd330254d" providerId="ADAL" clId="{24EF5D66-C539-4D20-BF1A-843CF34993AE}" dt="2020-05-11T20:50:58.499" v="173" actId="478"/>
        <pc:sldMkLst>
          <pc:docMk/>
          <pc:sldMk cId="57508058" sldId="608"/>
        </pc:sldMkLst>
        <pc:spChg chg="del">
          <ac:chgData name="boB Taylor" userId="2ac94156-0040-455f-a13f-091fd330254d" providerId="ADAL" clId="{24EF5D66-C539-4D20-BF1A-843CF34993AE}" dt="2020-05-11T20:50:58.499" v="173" actId="478"/>
          <ac:spMkLst>
            <pc:docMk/>
            <pc:sldMk cId="57508058" sldId="608"/>
            <ac:spMk id="3" creationId="{F35E8CBB-5A7D-4DEF-BAF7-8DD5D042F9E0}"/>
          </ac:spMkLst>
        </pc:spChg>
        <pc:graphicFrameChg chg="mod">
          <ac:chgData name="boB Taylor" userId="2ac94156-0040-455f-a13f-091fd330254d" providerId="ADAL" clId="{24EF5D66-C539-4D20-BF1A-843CF34993AE}" dt="2020-05-11T20:50:51.676" v="172" actId="255"/>
          <ac:graphicFrameMkLst>
            <pc:docMk/>
            <pc:sldMk cId="57508058" sldId="608"/>
            <ac:graphicFrameMk id="10" creationId="{392FE5B8-B893-4B1E-9B29-2151F1892047}"/>
          </ac:graphicFrameMkLst>
        </pc:graphicFrameChg>
      </pc:sldChg>
      <pc:sldChg chg="delSp modSp mod">
        <pc:chgData name="boB Taylor" userId="2ac94156-0040-455f-a13f-091fd330254d" providerId="ADAL" clId="{24EF5D66-C539-4D20-BF1A-843CF34993AE}" dt="2020-05-11T20:52:37.105" v="185" actId="255"/>
        <pc:sldMkLst>
          <pc:docMk/>
          <pc:sldMk cId="2513964796" sldId="620"/>
        </pc:sldMkLst>
        <pc:spChg chg="del">
          <ac:chgData name="boB Taylor" userId="2ac94156-0040-455f-a13f-091fd330254d" providerId="ADAL" clId="{24EF5D66-C539-4D20-BF1A-843CF34993AE}" dt="2020-05-11T20:51:07.357" v="174" actId="478"/>
          <ac:spMkLst>
            <pc:docMk/>
            <pc:sldMk cId="2513964796" sldId="620"/>
            <ac:spMk id="3" creationId="{F35E8CBB-5A7D-4DEF-BAF7-8DD5D042F9E0}"/>
          </ac:spMkLst>
        </pc:spChg>
        <pc:spChg chg="mod">
          <ac:chgData name="boB Taylor" userId="2ac94156-0040-455f-a13f-091fd330254d" providerId="ADAL" clId="{24EF5D66-C539-4D20-BF1A-843CF34993AE}" dt="2020-05-11T20:51:34.725" v="177" actId="14100"/>
          <ac:spMkLst>
            <pc:docMk/>
            <pc:sldMk cId="2513964796" sldId="620"/>
            <ac:spMk id="7" creationId="{45E30E19-0D35-495C-B19B-7D0FC44C82C2}"/>
          </ac:spMkLst>
        </pc:spChg>
        <pc:graphicFrameChg chg="mod">
          <ac:chgData name="boB Taylor" userId="2ac94156-0040-455f-a13f-091fd330254d" providerId="ADAL" clId="{24EF5D66-C539-4D20-BF1A-843CF34993AE}" dt="2020-05-11T20:52:37.105" v="185" actId="255"/>
          <ac:graphicFrameMkLst>
            <pc:docMk/>
            <pc:sldMk cId="2513964796" sldId="620"/>
            <ac:graphicFrameMk id="39" creationId="{331F82BE-5309-4734-AF56-83324631F0DE}"/>
          </ac:graphicFrameMkLst>
        </pc:graphicFrameChg>
      </pc:sldChg>
      <pc:sldChg chg="addSp delSp modSp mod">
        <pc:chgData name="boB Taylor" userId="2ac94156-0040-455f-a13f-091fd330254d" providerId="ADAL" clId="{24EF5D66-C539-4D20-BF1A-843CF34993AE}" dt="2020-05-11T20:54:11.559" v="191" actId="5793"/>
        <pc:sldMkLst>
          <pc:docMk/>
          <pc:sldMk cId="3621061219" sldId="621"/>
        </pc:sldMkLst>
        <pc:spChg chg="del">
          <ac:chgData name="boB Taylor" userId="2ac94156-0040-455f-a13f-091fd330254d" providerId="ADAL" clId="{24EF5D66-C539-4D20-BF1A-843CF34993AE}" dt="2020-05-11T20:41:21.116" v="80" actId="478"/>
          <ac:spMkLst>
            <pc:docMk/>
            <pc:sldMk cId="3621061219" sldId="621"/>
            <ac:spMk id="3" creationId="{FAD6C60A-C473-4D9B-8D70-0E04CEEFEAED}"/>
          </ac:spMkLst>
        </pc:spChg>
        <pc:spChg chg="add del mod">
          <ac:chgData name="boB Taylor" userId="2ac94156-0040-455f-a13f-091fd330254d" providerId="ADAL" clId="{24EF5D66-C539-4D20-BF1A-843CF34993AE}" dt="2020-05-11T20:54:11.559" v="191" actId="5793"/>
          <ac:spMkLst>
            <pc:docMk/>
            <pc:sldMk cId="3621061219" sldId="621"/>
            <ac:spMk id="4" creationId="{AEEA4260-17E9-4E74-91A2-0BAABFCF61CD}"/>
          </ac:spMkLst>
        </pc:spChg>
        <pc:spChg chg="add del mod">
          <ac:chgData name="boB Taylor" userId="2ac94156-0040-455f-a13f-091fd330254d" providerId="ADAL" clId="{24EF5D66-C539-4D20-BF1A-843CF34993AE}" dt="2020-05-11T20:41:15.472" v="79" actId="478"/>
          <ac:spMkLst>
            <pc:docMk/>
            <pc:sldMk cId="3621061219" sldId="621"/>
            <ac:spMk id="6" creationId="{F4711481-136C-4DDC-B94F-4A1E6F496272}"/>
          </ac:spMkLst>
        </pc:spChg>
      </pc:sldChg>
      <pc:sldChg chg="delSp mod">
        <pc:chgData name="boB Taylor" userId="2ac94156-0040-455f-a13f-091fd330254d" providerId="ADAL" clId="{24EF5D66-C539-4D20-BF1A-843CF34993AE}" dt="2020-05-11T20:41:08.101" v="77" actId="478"/>
        <pc:sldMkLst>
          <pc:docMk/>
          <pc:sldMk cId="3140255800" sldId="622"/>
        </pc:sldMkLst>
        <pc:spChg chg="del">
          <ac:chgData name="boB Taylor" userId="2ac94156-0040-455f-a13f-091fd330254d" providerId="ADAL" clId="{24EF5D66-C539-4D20-BF1A-843CF34993AE}" dt="2020-05-11T20:41:08.101" v="77" actId="478"/>
          <ac:spMkLst>
            <pc:docMk/>
            <pc:sldMk cId="3140255800" sldId="622"/>
            <ac:spMk id="3" creationId="{CAE70848-9649-464A-B7E9-B28A122C588E}"/>
          </ac:spMkLst>
        </pc:spChg>
      </pc:sldChg>
      <pc:sldChg chg="delSp mod">
        <pc:chgData name="boB Taylor" userId="2ac94156-0040-455f-a13f-091fd330254d" providerId="ADAL" clId="{24EF5D66-C539-4D20-BF1A-843CF34993AE}" dt="2020-05-11T20:41:48.021" v="83" actId="478"/>
        <pc:sldMkLst>
          <pc:docMk/>
          <pc:sldMk cId="1796066029" sldId="623"/>
        </pc:sldMkLst>
        <pc:spChg chg="del">
          <ac:chgData name="boB Taylor" userId="2ac94156-0040-455f-a13f-091fd330254d" providerId="ADAL" clId="{24EF5D66-C539-4D20-BF1A-843CF34993AE}" dt="2020-05-11T20:41:48.021" v="83" actId="478"/>
          <ac:spMkLst>
            <pc:docMk/>
            <pc:sldMk cId="1796066029" sldId="623"/>
            <ac:spMk id="3" creationId="{8D566B6C-057D-403D-A06A-F16E54C2D9E2}"/>
          </ac:spMkLst>
        </pc:spChg>
      </pc:sldChg>
      <pc:sldChg chg="delSp mod">
        <pc:chgData name="boB Taylor" userId="2ac94156-0040-455f-a13f-091fd330254d" providerId="ADAL" clId="{24EF5D66-C539-4D20-BF1A-843CF34993AE}" dt="2020-05-11T20:44:36.560" v="99" actId="478"/>
        <pc:sldMkLst>
          <pc:docMk/>
          <pc:sldMk cId="477690210" sldId="629"/>
        </pc:sldMkLst>
        <pc:spChg chg="del">
          <ac:chgData name="boB Taylor" userId="2ac94156-0040-455f-a13f-091fd330254d" providerId="ADAL" clId="{24EF5D66-C539-4D20-BF1A-843CF34993AE}" dt="2020-05-11T20:44:36.560" v="99" actId="478"/>
          <ac:spMkLst>
            <pc:docMk/>
            <pc:sldMk cId="477690210" sldId="629"/>
            <ac:spMk id="3" creationId="{8A254388-7434-40C1-ADD7-907F10F9AED6}"/>
          </ac:spMkLst>
        </pc:spChg>
      </pc:sldChg>
      <pc:sldChg chg="delSp modSp mod">
        <pc:chgData name="boB Taylor" userId="2ac94156-0040-455f-a13f-091fd330254d" providerId="ADAL" clId="{24EF5D66-C539-4D20-BF1A-843CF34993AE}" dt="2020-05-11T20:45:38.985" v="109" actId="20577"/>
        <pc:sldMkLst>
          <pc:docMk/>
          <pc:sldMk cId="2579723068" sldId="630"/>
        </pc:sldMkLst>
        <pc:spChg chg="del">
          <ac:chgData name="boB Taylor" userId="2ac94156-0040-455f-a13f-091fd330254d" providerId="ADAL" clId="{24EF5D66-C539-4D20-BF1A-843CF34993AE}" dt="2020-05-11T20:44:55.129" v="100" actId="478"/>
          <ac:spMkLst>
            <pc:docMk/>
            <pc:sldMk cId="2579723068" sldId="630"/>
            <ac:spMk id="3" creationId="{77DDFA95-4C83-4314-951D-426525FBC900}"/>
          </ac:spMkLst>
        </pc:spChg>
        <pc:graphicFrameChg chg="mod">
          <ac:chgData name="boB Taylor" userId="2ac94156-0040-455f-a13f-091fd330254d" providerId="ADAL" clId="{24EF5D66-C539-4D20-BF1A-843CF34993AE}" dt="2020-05-11T20:45:38.985" v="109" actId="20577"/>
          <ac:graphicFrameMkLst>
            <pc:docMk/>
            <pc:sldMk cId="2579723068" sldId="630"/>
            <ac:graphicFrameMk id="5" creationId="{DBC46F64-1AA7-4968-9494-241F95F9231B}"/>
          </ac:graphicFrameMkLst>
        </pc:graphicFrameChg>
      </pc:sldChg>
      <pc:sldChg chg="delSp mod">
        <pc:chgData name="boB Taylor" userId="2ac94156-0040-455f-a13f-091fd330254d" providerId="ADAL" clId="{24EF5D66-C539-4D20-BF1A-843CF34993AE}" dt="2020-05-11T20:44:18.874" v="95" actId="478"/>
        <pc:sldMkLst>
          <pc:docMk/>
          <pc:sldMk cId="4019356817" sldId="631"/>
        </pc:sldMkLst>
        <pc:spChg chg="del">
          <ac:chgData name="boB Taylor" userId="2ac94156-0040-455f-a13f-091fd330254d" providerId="ADAL" clId="{24EF5D66-C539-4D20-BF1A-843CF34993AE}" dt="2020-05-11T20:44:18.874" v="95" actId="478"/>
          <ac:spMkLst>
            <pc:docMk/>
            <pc:sldMk cId="4019356817" sldId="631"/>
            <ac:spMk id="3" creationId="{8F8A1091-43DC-465A-9854-1E1F82CD7345}"/>
          </ac:spMkLst>
        </pc:spChg>
      </pc:sldChg>
      <pc:sldChg chg="delSp mod">
        <pc:chgData name="boB Taylor" userId="2ac94156-0040-455f-a13f-091fd330254d" providerId="ADAL" clId="{24EF5D66-C539-4D20-BF1A-843CF34993AE}" dt="2020-05-11T20:44:30.725" v="98" actId="478"/>
        <pc:sldMkLst>
          <pc:docMk/>
          <pc:sldMk cId="1286955050" sldId="632"/>
        </pc:sldMkLst>
        <pc:spChg chg="del">
          <ac:chgData name="boB Taylor" userId="2ac94156-0040-455f-a13f-091fd330254d" providerId="ADAL" clId="{24EF5D66-C539-4D20-BF1A-843CF34993AE}" dt="2020-05-11T20:44:30.725" v="98" actId="478"/>
          <ac:spMkLst>
            <pc:docMk/>
            <pc:sldMk cId="1286955050" sldId="632"/>
            <ac:spMk id="3" creationId="{86D5A6BB-65FC-43A4-A88F-09AF47E37180}"/>
          </ac:spMkLst>
        </pc:spChg>
      </pc:sldChg>
      <pc:sldChg chg="delSp mod">
        <pc:chgData name="boB Taylor" userId="2ac94156-0040-455f-a13f-091fd330254d" providerId="ADAL" clId="{24EF5D66-C539-4D20-BF1A-843CF34993AE}" dt="2020-05-11T20:44:22.133" v="96" actId="478"/>
        <pc:sldMkLst>
          <pc:docMk/>
          <pc:sldMk cId="481681720" sldId="634"/>
        </pc:sldMkLst>
        <pc:spChg chg="del">
          <ac:chgData name="boB Taylor" userId="2ac94156-0040-455f-a13f-091fd330254d" providerId="ADAL" clId="{24EF5D66-C539-4D20-BF1A-843CF34993AE}" dt="2020-05-11T20:44:22.133" v="96" actId="478"/>
          <ac:spMkLst>
            <pc:docMk/>
            <pc:sldMk cId="481681720" sldId="634"/>
            <ac:spMk id="3" creationId="{47415104-7663-42F0-8829-F4931D2518DB}"/>
          </ac:spMkLst>
        </pc:spChg>
      </pc:sldChg>
      <pc:sldChg chg="delSp mod">
        <pc:chgData name="boB Taylor" userId="2ac94156-0040-455f-a13f-091fd330254d" providerId="ADAL" clId="{24EF5D66-C539-4D20-BF1A-843CF34993AE}" dt="2020-05-11T20:44:25.903" v="97" actId="478"/>
        <pc:sldMkLst>
          <pc:docMk/>
          <pc:sldMk cId="3532870544" sldId="635"/>
        </pc:sldMkLst>
        <pc:spChg chg="del">
          <ac:chgData name="boB Taylor" userId="2ac94156-0040-455f-a13f-091fd330254d" providerId="ADAL" clId="{24EF5D66-C539-4D20-BF1A-843CF34993AE}" dt="2020-05-11T20:44:25.903" v="97" actId="478"/>
          <ac:spMkLst>
            <pc:docMk/>
            <pc:sldMk cId="3532870544" sldId="635"/>
            <ac:spMk id="3" creationId="{AEE26628-32DB-4FC3-9F2A-AE9DDE8AB00F}"/>
          </ac:spMkLst>
        </pc:spChg>
      </pc:sldChg>
      <pc:sldChg chg="delSp mod">
        <pc:chgData name="boB Taylor" userId="2ac94156-0040-455f-a13f-091fd330254d" providerId="ADAL" clId="{24EF5D66-C539-4D20-BF1A-843CF34993AE}" dt="2020-05-11T20:56:19.004" v="202" actId="478"/>
        <pc:sldMkLst>
          <pc:docMk/>
          <pc:sldMk cId="3709193865" sldId="636"/>
        </pc:sldMkLst>
        <pc:spChg chg="del">
          <ac:chgData name="boB Taylor" userId="2ac94156-0040-455f-a13f-091fd330254d" providerId="ADAL" clId="{24EF5D66-C539-4D20-BF1A-843CF34993AE}" dt="2020-05-11T20:56:19.004" v="202" actId="478"/>
          <ac:spMkLst>
            <pc:docMk/>
            <pc:sldMk cId="3709193865" sldId="636"/>
            <ac:spMk id="3" creationId="{BF917AC2-966F-4713-AADE-CA7F0D2F79BE}"/>
          </ac:spMkLst>
        </pc:spChg>
      </pc:sldChg>
      <pc:sldChg chg="delSp mod">
        <pc:chgData name="boB Taylor" userId="2ac94156-0040-455f-a13f-091fd330254d" providerId="ADAL" clId="{24EF5D66-C539-4D20-BF1A-843CF34993AE}" dt="2020-05-11T20:56:24.429" v="203" actId="478"/>
        <pc:sldMkLst>
          <pc:docMk/>
          <pc:sldMk cId="1933118630" sldId="637"/>
        </pc:sldMkLst>
        <pc:spChg chg="del">
          <ac:chgData name="boB Taylor" userId="2ac94156-0040-455f-a13f-091fd330254d" providerId="ADAL" clId="{24EF5D66-C539-4D20-BF1A-843CF34993AE}" dt="2020-05-11T20:56:24.429" v="203" actId="478"/>
          <ac:spMkLst>
            <pc:docMk/>
            <pc:sldMk cId="1933118630" sldId="637"/>
            <ac:spMk id="3" creationId="{D0203249-046F-4867-9A41-F9D466C7E0C6}"/>
          </ac:spMkLst>
        </pc:spChg>
      </pc:sldChg>
      <pc:sldChg chg="delSp mod">
        <pc:chgData name="boB Taylor" userId="2ac94156-0040-455f-a13f-091fd330254d" providerId="ADAL" clId="{24EF5D66-C539-4D20-BF1A-843CF34993AE}" dt="2020-05-11T20:56:28.596" v="204" actId="478"/>
        <pc:sldMkLst>
          <pc:docMk/>
          <pc:sldMk cId="3432635991" sldId="638"/>
        </pc:sldMkLst>
        <pc:spChg chg="del">
          <ac:chgData name="boB Taylor" userId="2ac94156-0040-455f-a13f-091fd330254d" providerId="ADAL" clId="{24EF5D66-C539-4D20-BF1A-843CF34993AE}" dt="2020-05-11T20:56:28.596" v="204" actId="478"/>
          <ac:spMkLst>
            <pc:docMk/>
            <pc:sldMk cId="3432635991" sldId="638"/>
            <ac:spMk id="3" creationId="{219D13C8-3A8D-4F42-A13C-0A0B59F07FCF}"/>
          </ac:spMkLst>
        </pc:spChg>
      </pc:sldChg>
      <pc:sldChg chg="delSp mod">
        <pc:chgData name="boB Taylor" userId="2ac94156-0040-455f-a13f-091fd330254d" providerId="ADAL" clId="{24EF5D66-C539-4D20-BF1A-843CF34993AE}" dt="2020-05-11T20:56:33.284" v="205" actId="478"/>
        <pc:sldMkLst>
          <pc:docMk/>
          <pc:sldMk cId="1459992327" sldId="639"/>
        </pc:sldMkLst>
        <pc:spChg chg="del">
          <ac:chgData name="boB Taylor" userId="2ac94156-0040-455f-a13f-091fd330254d" providerId="ADAL" clId="{24EF5D66-C539-4D20-BF1A-843CF34993AE}" dt="2020-05-11T20:56:33.284" v="205" actId="478"/>
          <ac:spMkLst>
            <pc:docMk/>
            <pc:sldMk cId="1459992327" sldId="639"/>
            <ac:spMk id="3" creationId="{0F0608CC-F5F5-41AF-AD0E-69BBBA57ACBF}"/>
          </ac:spMkLst>
        </pc:spChg>
      </pc:sldChg>
      <pc:sldChg chg="delSp mod">
        <pc:chgData name="boB Taylor" userId="2ac94156-0040-455f-a13f-091fd330254d" providerId="ADAL" clId="{24EF5D66-C539-4D20-BF1A-843CF34993AE}" dt="2020-05-11T20:56:37.164" v="206" actId="478"/>
        <pc:sldMkLst>
          <pc:docMk/>
          <pc:sldMk cId="3588095766" sldId="640"/>
        </pc:sldMkLst>
        <pc:spChg chg="del">
          <ac:chgData name="boB Taylor" userId="2ac94156-0040-455f-a13f-091fd330254d" providerId="ADAL" clId="{24EF5D66-C539-4D20-BF1A-843CF34993AE}" dt="2020-05-11T20:56:37.164" v="206" actId="478"/>
          <ac:spMkLst>
            <pc:docMk/>
            <pc:sldMk cId="3588095766" sldId="640"/>
            <ac:spMk id="3" creationId="{2B80E05E-76E6-4417-96FC-42718483C177}"/>
          </ac:spMkLst>
        </pc:spChg>
      </pc:sldChg>
      <pc:sldChg chg="delSp mod">
        <pc:chgData name="boB Taylor" userId="2ac94156-0040-455f-a13f-091fd330254d" providerId="ADAL" clId="{24EF5D66-C539-4D20-BF1A-843CF34993AE}" dt="2020-05-11T20:56:40.716" v="207" actId="478"/>
        <pc:sldMkLst>
          <pc:docMk/>
          <pc:sldMk cId="291468127" sldId="641"/>
        </pc:sldMkLst>
        <pc:spChg chg="del">
          <ac:chgData name="boB Taylor" userId="2ac94156-0040-455f-a13f-091fd330254d" providerId="ADAL" clId="{24EF5D66-C539-4D20-BF1A-843CF34993AE}" dt="2020-05-11T20:56:40.716" v="207" actId="478"/>
          <ac:spMkLst>
            <pc:docMk/>
            <pc:sldMk cId="291468127" sldId="641"/>
            <ac:spMk id="3" creationId="{0AE62165-A31D-4126-8A02-6C5890E39E02}"/>
          </ac:spMkLst>
        </pc:spChg>
      </pc:sldChg>
      <pc:sldChg chg="delSp mod">
        <pc:chgData name="boB Taylor" userId="2ac94156-0040-455f-a13f-091fd330254d" providerId="ADAL" clId="{24EF5D66-C539-4D20-BF1A-843CF34993AE}" dt="2020-05-11T20:56:14.574" v="201" actId="478"/>
        <pc:sldMkLst>
          <pc:docMk/>
          <pc:sldMk cId="536156213" sldId="646"/>
        </pc:sldMkLst>
        <pc:spChg chg="del">
          <ac:chgData name="boB Taylor" userId="2ac94156-0040-455f-a13f-091fd330254d" providerId="ADAL" clId="{24EF5D66-C539-4D20-BF1A-843CF34993AE}" dt="2020-05-11T20:56:14.574" v="201" actId="478"/>
          <ac:spMkLst>
            <pc:docMk/>
            <pc:sldMk cId="536156213" sldId="646"/>
            <ac:spMk id="3" creationId="{8A254388-7434-40C1-ADD7-907F10F9AED6}"/>
          </ac:spMkLst>
        </pc:spChg>
      </pc:sldChg>
      <pc:sldChg chg="addSp delSp modSp mod">
        <pc:chgData name="boB Taylor" userId="2ac94156-0040-455f-a13f-091fd330254d" providerId="ADAL" clId="{24EF5D66-C539-4D20-BF1A-843CF34993AE}" dt="2020-05-11T20:40:48.620" v="76" actId="255"/>
        <pc:sldMkLst>
          <pc:docMk/>
          <pc:sldMk cId="653830727" sldId="650"/>
        </pc:sldMkLst>
        <pc:spChg chg="del">
          <ac:chgData name="boB Taylor" userId="2ac94156-0040-455f-a13f-091fd330254d" providerId="ADAL" clId="{24EF5D66-C539-4D20-BF1A-843CF34993AE}" dt="2020-05-11T20:25:22.605" v="52" actId="478"/>
          <ac:spMkLst>
            <pc:docMk/>
            <pc:sldMk cId="653830727" sldId="650"/>
            <ac:spMk id="3" creationId="{F35E8CBB-5A7D-4DEF-BAF7-8DD5D042F9E0}"/>
          </ac:spMkLst>
        </pc:spChg>
        <pc:graphicFrameChg chg="add del modGraphic">
          <ac:chgData name="boB Taylor" userId="2ac94156-0040-455f-a13f-091fd330254d" providerId="ADAL" clId="{24EF5D66-C539-4D20-BF1A-843CF34993AE}" dt="2020-05-11T20:37:18.278" v="54" actId="1032"/>
          <ac:graphicFrameMkLst>
            <pc:docMk/>
            <pc:sldMk cId="653830727" sldId="650"/>
            <ac:graphicFrameMk id="4" creationId="{8B166EBB-A099-43C1-8364-1E47229F5286}"/>
          </ac:graphicFrameMkLst>
        </pc:graphicFrameChg>
        <pc:graphicFrameChg chg="mod">
          <ac:chgData name="boB Taylor" userId="2ac94156-0040-455f-a13f-091fd330254d" providerId="ADAL" clId="{24EF5D66-C539-4D20-BF1A-843CF34993AE}" dt="2020-05-11T20:40:48.620" v="76" actId="255"/>
          <ac:graphicFrameMkLst>
            <pc:docMk/>
            <pc:sldMk cId="653830727" sldId="650"/>
            <ac:graphicFrameMk id="5" creationId="{7BF6B113-9D4C-4D94-9A53-DD369DA9457A}"/>
          </ac:graphicFrameMkLst>
        </pc:graphicFrameChg>
      </pc:sldChg>
      <pc:sldChg chg="delSp modSp mod">
        <pc:chgData name="boB Taylor" userId="2ac94156-0040-455f-a13f-091fd330254d" providerId="ADAL" clId="{24EF5D66-C539-4D20-BF1A-843CF34993AE}" dt="2020-05-11T20:41:29.200" v="81" actId="478"/>
        <pc:sldMkLst>
          <pc:docMk/>
          <pc:sldMk cId="3461735569" sldId="651"/>
        </pc:sldMkLst>
        <pc:spChg chg="del">
          <ac:chgData name="boB Taylor" userId="2ac94156-0040-455f-a13f-091fd330254d" providerId="ADAL" clId="{24EF5D66-C539-4D20-BF1A-843CF34993AE}" dt="2020-05-11T20:41:29.200" v="81" actId="478"/>
          <ac:spMkLst>
            <pc:docMk/>
            <pc:sldMk cId="3461735569" sldId="651"/>
            <ac:spMk id="3" creationId="{B9086607-DE23-4A27-A2AF-4CB7F207B43B}"/>
          </ac:spMkLst>
        </pc:spChg>
        <pc:graphicFrameChg chg="mod">
          <ac:chgData name="boB Taylor" userId="2ac94156-0040-455f-a13f-091fd330254d" providerId="ADAL" clId="{24EF5D66-C539-4D20-BF1A-843CF34993AE}" dt="2020-05-11T20:40:39.088" v="75" actId="255"/>
          <ac:graphicFrameMkLst>
            <pc:docMk/>
            <pc:sldMk cId="3461735569" sldId="651"/>
            <ac:graphicFrameMk id="5" creationId="{869613B2-81D2-475A-BE71-A3D1DE973570}"/>
          </ac:graphicFrameMkLst>
        </pc:graphicFrameChg>
        <pc:graphicFrameChg chg="del mod">
          <ac:chgData name="boB Taylor" userId="2ac94156-0040-455f-a13f-091fd330254d" providerId="ADAL" clId="{24EF5D66-C539-4D20-BF1A-843CF34993AE}" dt="2020-05-11T20:40:03.662" v="73" actId="478"/>
          <ac:graphicFrameMkLst>
            <pc:docMk/>
            <pc:sldMk cId="3461735569" sldId="651"/>
            <ac:graphicFrameMk id="6" creationId="{FEF3C806-344F-4F8E-8683-15A730131214}"/>
          </ac:graphicFrameMkLst>
        </pc:graphicFrameChg>
      </pc:sldChg>
      <pc:sldChg chg="modSp mod">
        <pc:chgData name="boB Taylor" userId="2ac94156-0040-455f-a13f-091fd330254d" providerId="ADAL" clId="{24EF5D66-C539-4D20-BF1A-843CF34993AE}" dt="2020-05-11T20:23:46.613" v="51" actId="20577"/>
        <pc:sldMkLst>
          <pc:docMk/>
          <pc:sldMk cId="939928185" sldId="652"/>
        </pc:sldMkLst>
        <pc:graphicFrameChg chg="mod">
          <ac:chgData name="boB Taylor" userId="2ac94156-0040-455f-a13f-091fd330254d" providerId="ADAL" clId="{24EF5D66-C539-4D20-BF1A-843CF34993AE}" dt="2020-05-11T20:23:46.613" v="51" actId="20577"/>
          <ac:graphicFrameMkLst>
            <pc:docMk/>
            <pc:sldMk cId="939928185" sldId="652"/>
            <ac:graphicFrameMk id="5" creationId="{F06C3C49-98DB-4B1F-90FC-72E180BA3310}"/>
          </ac:graphicFrameMkLst>
        </pc:graphicFrameChg>
      </pc:sldChg>
      <pc:sldChg chg="delSp mod">
        <pc:chgData name="boB Taylor" userId="2ac94156-0040-455f-a13f-091fd330254d" providerId="ADAL" clId="{24EF5D66-C539-4D20-BF1A-843CF34993AE}" dt="2020-05-11T20:54:06.011" v="190" actId="478"/>
        <pc:sldMkLst>
          <pc:docMk/>
          <pc:sldMk cId="424115361" sldId="660"/>
        </pc:sldMkLst>
        <pc:spChg chg="del">
          <ac:chgData name="boB Taylor" userId="2ac94156-0040-455f-a13f-091fd330254d" providerId="ADAL" clId="{24EF5D66-C539-4D20-BF1A-843CF34993AE}" dt="2020-05-11T20:54:06.011" v="190" actId="478"/>
          <ac:spMkLst>
            <pc:docMk/>
            <pc:sldMk cId="424115361" sldId="660"/>
            <ac:spMk id="3" creationId="{C93C6BEB-3E06-43A1-A1D7-003E132D2905}"/>
          </ac:spMkLst>
        </pc:spChg>
      </pc:sldChg>
      <pc:sldChg chg="delSp mod">
        <pc:chgData name="boB Taylor" userId="2ac94156-0040-455f-a13f-091fd330254d" providerId="ADAL" clId="{24EF5D66-C539-4D20-BF1A-843CF34993AE}" dt="2020-05-11T20:43:47.024" v="93" actId="478"/>
        <pc:sldMkLst>
          <pc:docMk/>
          <pc:sldMk cId="2208586234" sldId="661"/>
        </pc:sldMkLst>
        <pc:spChg chg="del">
          <ac:chgData name="boB Taylor" userId="2ac94156-0040-455f-a13f-091fd330254d" providerId="ADAL" clId="{24EF5D66-C539-4D20-BF1A-843CF34993AE}" dt="2020-05-11T20:43:47.024" v="93" actId="478"/>
          <ac:spMkLst>
            <pc:docMk/>
            <pc:sldMk cId="2208586234" sldId="661"/>
            <ac:spMk id="3" creationId="{A0923F4E-D855-4995-ABEE-6AC39C0DAF19}"/>
          </ac:spMkLst>
        </pc:spChg>
      </pc:sldChg>
      <pc:sldChg chg="delSp mod">
        <pc:chgData name="boB Taylor" userId="2ac94156-0040-455f-a13f-091fd330254d" providerId="ADAL" clId="{24EF5D66-C539-4D20-BF1A-843CF34993AE}" dt="2020-05-11T20:43:43.627" v="92" actId="478"/>
        <pc:sldMkLst>
          <pc:docMk/>
          <pc:sldMk cId="3467512254" sldId="662"/>
        </pc:sldMkLst>
        <pc:spChg chg="del">
          <ac:chgData name="boB Taylor" userId="2ac94156-0040-455f-a13f-091fd330254d" providerId="ADAL" clId="{24EF5D66-C539-4D20-BF1A-843CF34993AE}" dt="2020-05-11T20:43:43.627" v="92" actId="478"/>
          <ac:spMkLst>
            <pc:docMk/>
            <pc:sldMk cId="3467512254" sldId="662"/>
            <ac:spMk id="3" creationId="{329456A5-E8D2-461C-B556-E4921B57A41C}"/>
          </ac:spMkLst>
        </pc:spChg>
      </pc:sldChg>
      <pc:sldChg chg="delSp mod">
        <pc:chgData name="boB Taylor" userId="2ac94156-0040-455f-a13f-091fd330254d" providerId="ADAL" clId="{24EF5D66-C539-4D20-BF1A-843CF34993AE}" dt="2020-05-11T20:55:51.897" v="200" actId="478"/>
        <pc:sldMkLst>
          <pc:docMk/>
          <pc:sldMk cId="3669873639" sldId="664"/>
        </pc:sldMkLst>
        <pc:spChg chg="del">
          <ac:chgData name="boB Taylor" userId="2ac94156-0040-455f-a13f-091fd330254d" providerId="ADAL" clId="{24EF5D66-C539-4D20-BF1A-843CF34993AE}" dt="2020-05-11T20:55:51.897" v="200" actId="478"/>
          <ac:spMkLst>
            <pc:docMk/>
            <pc:sldMk cId="3669873639" sldId="664"/>
            <ac:spMk id="3" creationId="{BFB0D80F-D839-4E49-99FC-74FB33366FFA}"/>
          </ac:spMkLst>
        </pc:spChg>
      </pc:sldChg>
      <pc:sldChg chg="delSp mod">
        <pc:chgData name="boB Taylor" userId="2ac94156-0040-455f-a13f-091fd330254d" providerId="ADAL" clId="{24EF5D66-C539-4D20-BF1A-843CF34993AE}" dt="2020-05-11T20:54:25.470" v="192" actId="478"/>
        <pc:sldMkLst>
          <pc:docMk/>
          <pc:sldMk cId="3777781783" sldId="670"/>
        </pc:sldMkLst>
        <pc:spChg chg="del">
          <ac:chgData name="boB Taylor" userId="2ac94156-0040-455f-a13f-091fd330254d" providerId="ADAL" clId="{24EF5D66-C539-4D20-BF1A-843CF34993AE}" dt="2020-05-11T20:54:25.470" v="192" actId="478"/>
          <ac:spMkLst>
            <pc:docMk/>
            <pc:sldMk cId="3777781783" sldId="670"/>
            <ac:spMk id="3" creationId="{FF036CDC-799C-4C4A-9DAF-E7D63DAB3629}"/>
          </ac:spMkLst>
        </pc:spChg>
      </pc:sldChg>
      <pc:sldChg chg="delSp mod">
        <pc:chgData name="boB Taylor" userId="2ac94156-0040-455f-a13f-091fd330254d" providerId="ADAL" clId="{24EF5D66-C539-4D20-BF1A-843CF34993AE}" dt="2020-05-11T20:56:52.423" v="208" actId="478"/>
        <pc:sldMkLst>
          <pc:docMk/>
          <pc:sldMk cId="2593387472" sldId="672"/>
        </pc:sldMkLst>
        <pc:spChg chg="del">
          <ac:chgData name="boB Taylor" userId="2ac94156-0040-455f-a13f-091fd330254d" providerId="ADAL" clId="{24EF5D66-C539-4D20-BF1A-843CF34993AE}" dt="2020-05-11T20:56:52.423" v="208" actId="478"/>
          <ac:spMkLst>
            <pc:docMk/>
            <pc:sldMk cId="2593387472" sldId="672"/>
            <ac:spMk id="3" creationId="{0427A184-CE02-4549-B199-B9918E88CF83}"/>
          </ac:spMkLst>
        </pc:spChg>
      </pc:sldChg>
      <pc:sldChg chg="delSp mod">
        <pc:chgData name="boB Taylor" userId="2ac94156-0040-455f-a13f-091fd330254d" providerId="ADAL" clId="{24EF5D66-C539-4D20-BF1A-843CF34993AE}" dt="2020-05-11T20:57:00.625" v="209" actId="478"/>
        <pc:sldMkLst>
          <pc:docMk/>
          <pc:sldMk cId="3473839749" sldId="673"/>
        </pc:sldMkLst>
        <pc:spChg chg="del">
          <ac:chgData name="boB Taylor" userId="2ac94156-0040-455f-a13f-091fd330254d" providerId="ADAL" clId="{24EF5D66-C539-4D20-BF1A-843CF34993AE}" dt="2020-05-11T20:57:00.625" v="209" actId="478"/>
          <ac:spMkLst>
            <pc:docMk/>
            <pc:sldMk cId="3473839749" sldId="673"/>
            <ac:spMk id="3" creationId="{7D53C68F-48EE-4298-805E-BCF4A374A093}"/>
          </ac:spMkLst>
        </pc:spChg>
      </pc:sldChg>
      <pc:sldChg chg="delSp mod">
        <pc:chgData name="boB Taylor" userId="2ac94156-0040-455f-a13f-091fd330254d" providerId="ADAL" clId="{24EF5D66-C539-4D20-BF1A-843CF34993AE}" dt="2020-05-11T20:57:06.863" v="210" actId="478"/>
        <pc:sldMkLst>
          <pc:docMk/>
          <pc:sldMk cId="1300762399" sldId="674"/>
        </pc:sldMkLst>
        <pc:spChg chg="del">
          <ac:chgData name="boB Taylor" userId="2ac94156-0040-455f-a13f-091fd330254d" providerId="ADAL" clId="{24EF5D66-C539-4D20-BF1A-843CF34993AE}" dt="2020-05-11T20:57:06.863" v="210" actId="478"/>
          <ac:spMkLst>
            <pc:docMk/>
            <pc:sldMk cId="1300762399" sldId="674"/>
            <ac:spMk id="3" creationId="{056FEA93-2077-485E-BC7F-BF330466A35F}"/>
          </ac:spMkLst>
        </pc:spChg>
      </pc:sldChg>
      <pc:sldChg chg="delSp mod">
        <pc:chgData name="boB Taylor" userId="2ac94156-0040-455f-a13f-091fd330254d" providerId="ADAL" clId="{24EF5D66-C539-4D20-BF1A-843CF34993AE}" dt="2020-05-11T20:57:11.995" v="211" actId="478"/>
        <pc:sldMkLst>
          <pc:docMk/>
          <pc:sldMk cId="1851708808" sldId="675"/>
        </pc:sldMkLst>
        <pc:spChg chg="del">
          <ac:chgData name="boB Taylor" userId="2ac94156-0040-455f-a13f-091fd330254d" providerId="ADAL" clId="{24EF5D66-C539-4D20-BF1A-843CF34993AE}" dt="2020-05-11T20:57:11.995" v="211" actId="478"/>
          <ac:spMkLst>
            <pc:docMk/>
            <pc:sldMk cId="1851708808" sldId="675"/>
            <ac:spMk id="3" creationId="{C70E1359-A51C-4FD9-B17D-60944E9280F6}"/>
          </ac:spMkLst>
        </pc:spChg>
      </pc:sldChg>
      <pc:sldChg chg="delSp mod">
        <pc:chgData name="boB Taylor" userId="2ac94156-0040-455f-a13f-091fd330254d" providerId="ADAL" clId="{24EF5D66-C539-4D20-BF1A-843CF34993AE}" dt="2020-05-11T20:57:16.819" v="212" actId="478"/>
        <pc:sldMkLst>
          <pc:docMk/>
          <pc:sldMk cId="3299218633" sldId="676"/>
        </pc:sldMkLst>
        <pc:spChg chg="del">
          <ac:chgData name="boB Taylor" userId="2ac94156-0040-455f-a13f-091fd330254d" providerId="ADAL" clId="{24EF5D66-C539-4D20-BF1A-843CF34993AE}" dt="2020-05-11T20:57:16.819" v="212" actId="478"/>
          <ac:spMkLst>
            <pc:docMk/>
            <pc:sldMk cId="3299218633" sldId="676"/>
            <ac:spMk id="3" creationId="{CB3A1484-2E03-455A-9294-5C9F820DC3F4}"/>
          </ac:spMkLst>
        </pc:spChg>
      </pc:sldChg>
      <pc:sldChg chg="delSp mod">
        <pc:chgData name="boB Taylor" userId="2ac94156-0040-455f-a13f-091fd330254d" providerId="ADAL" clId="{24EF5D66-C539-4D20-BF1A-843CF34993AE}" dt="2020-05-11T20:57:21.148" v="213" actId="478"/>
        <pc:sldMkLst>
          <pc:docMk/>
          <pc:sldMk cId="3299027233" sldId="677"/>
        </pc:sldMkLst>
        <pc:spChg chg="del">
          <ac:chgData name="boB Taylor" userId="2ac94156-0040-455f-a13f-091fd330254d" providerId="ADAL" clId="{24EF5D66-C539-4D20-BF1A-843CF34993AE}" dt="2020-05-11T20:57:21.148" v="213" actId="478"/>
          <ac:spMkLst>
            <pc:docMk/>
            <pc:sldMk cId="3299027233" sldId="677"/>
            <ac:spMk id="3" creationId="{D61F61B5-78CF-406C-9FEA-3BF602FB6EE9}"/>
          </ac:spMkLst>
        </pc:spChg>
      </pc:sldChg>
      <pc:sldChg chg="delSp modSp mod">
        <pc:chgData name="boB Taylor" userId="2ac94156-0040-455f-a13f-091fd330254d" providerId="ADAL" clId="{24EF5D66-C539-4D20-BF1A-843CF34993AE}" dt="2020-05-11T20:53:26.243" v="189" actId="14100"/>
        <pc:sldMkLst>
          <pc:docMk/>
          <pc:sldMk cId="3596346425" sldId="678"/>
        </pc:sldMkLst>
        <pc:spChg chg="del">
          <ac:chgData name="boB Taylor" userId="2ac94156-0040-455f-a13f-091fd330254d" providerId="ADAL" clId="{24EF5D66-C539-4D20-BF1A-843CF34993AE}" dt="2020-05-11T20:53:05.884" v="186" actId="478"/>
          <ac:spMkLst>
            <pc:docMk/>
            <pc:sldMk cId="3596346425" sldId="678"/>
            <ac:spMk id="3" creationId="{2DD87D55-C0D3-44E0-9696-14A791454277}"/>
          </ac:spMkLst>
        </pc:spChg>
        <pc:graphicFrameChg chg="mod">
          <ac:chgData name="boB Taylor" userId="2ac94156-0040-455f-a13f-091fd330254d" providerId="ADAL" clId="{24EF5D66-C539-4D20-BF1A-843CF34993AE}" dt="2020-05-11T20:53:26.243" v="189" actId="14100"/>
          <ac:graphicFrameMkLst>
            <pc:docMk/>
            <pc:sldMk cId="3596346425" sldId="678"/>
            <ac:graphicFrameMk id="5" creationId="{D2C649BE-99B2-4F64-9715-9F84DFE57F63}"/>
          </ac:graphicFrameMkLst>
        </pc:graphicFrameChg>
      </pc:sldChg>
      <pc:sldChg chg="delSp mod">
        <pc:chgData name="boB Taylor" userId="2ac94156-0040-455f-a13f-091fd330254d" providerId="ADAL" clId="{24EF5D66-C539-4D20-BF1A-843CF34993AE}" dt="2020-05-11T20:57:26.522" v="214" actId="478"/>
        <pc:sldMkLst>
          <pc:docMk/>
          <pc:sldMk cId="2695069304" sldId="679"/>
        </pc:sldMkLst>
        <pc:spChg chg="del">
          <ac:chgData name="boB Taylor" userId="2ac94156-0040-455f-a13f-091fd330254d" providerId="ADAL" clId="{24EF5D66-C539-4D20-BF1A-843CF34993AE}" dt="2020-05-11T20:57:26.522" v="214" actId="478"/>
          <ac:spMkLst>
            <pc:docMk/>
            <pc:sldMk cId="2695069304" sldId="679"/>
            <ac:spMk id="3" creationId="{345CCF9A-C3EF-4063-97B1-887CDAF85FAE}"/>
          </ac:spMkLst>
        </pc:spChg>
      </pc:sldChg>
      <pc:sldChg chg="delSp mod">
        <pc:chgData name="boB Taylor" userId="2ac94156-0040-455f-a13f-091fd330254d" providerId="ADAL" clId="{24EF5D66-C539-4D20-BF1A-843CF34993AE}" dt="2020-05-11T20:57:32.755" v="215" actId="478"/>
        <pc:sldMkLst>
          <pc:docMk/>
          <pc:sldMk cId="884684850" sldId="680"/>
        </pc:sldMkLst>
        <pc:spChg chg="del">
          <ac:chgData name="boB Taylor" userId="2ac94156-0040-455f-a13f-091fd330254d" providerId="ADAL" clId="{24EF5D66-C539-4D20-BF1A-843CF34993AE}" dt="2020-05-11T20:57:32.755" v="215" actId="478"/>
          <ac:spMkLst>
            <pc:docMk/>
            <pc:sldMk cId="884684850" sldId="680"/>
            <ac:spMk id="3" creationId="{15CAADDC-1CDC-4933-B38E-94D690BD9D2F}"/>
          </ac:spMkLst>
        </pc:spChg>
      </pc:sldChg>
      <pc:sldChg chg="delSp mod">
        <pc:chgData name="boB Taylor" userId="2ac94156-0040-455f-a13f-091fd330254d" providerId="ADAL" clId="{24EF5D66-C539-4D20-BF1A-843CF34993AE}" dt="2020-05-11T20:57:36.660" v="216" actId="478"/>
        <pc:sldMkLst>
          <pc:docMk/>
          <pc:sldMk cId="2155388841" sldId="681"/>
        </pc:sldMkLst>
        <pc:spChg chg="del">
          <ac:chgData name="boB Taylor" userId="2ac94156-0040-455f-a13f-091fd330254d" providerId="ADAL" clId="{24EF5D66-C539-4D20-BF1A-843CF34993AE}" dt="2020-05-11T20:57:36.660" v="216" actId="478"/>
          <ac:spMkLst>
            <pc:docMk/>
            <pc:sldMk cId="2155388841" sldId="681"/>
            <ac:spMk id="3" creationId="{FDC8516F-08BC-4823-8DEE-2F1FC9C4AC80}"/>
          </ac:spMkLst>
        </pc:spChg>
      </pc:sldChg>
      <pc:sldChg chg="delSp mod">
        <pc:chgData name="boB Taylor" userId="2ac94156-0040-455f-a13f-091fd330254d" providerId="ADAL" clId="{24EF5D66-C539-4D20-BF1A-843CF34993AE}" dt="2020-05-11T20:57:39.524" v="217" actId="478"/>
        <pc:sldMkLst>
          <pc:docMk/>
          <pc:sldMk cId="1699401867" sldId="682"/>
        </pc:sldMkLst>
        <pc:spChg chg="del">
          <ac:chgData name="boB Taylor" userId="2ac94156-0040-455f-a13f-091fd330254d" providerId="ADAL" clId="{24EF5D66-C539-4D20-BF1A-843CF34993AE}" dt="2020-05-11T20:57:39.524" v="217" actId="478"/>
          <ac:spMkLst>
            <pc:docMk/>
            <pc:sldMk cId="1699401867" sldId="682"/>
            <ac:spMk id="3" creationId="{818CA85A-34CE-4F37-AFCC-F408C9169943}"/>
          </ac:spMkLst>
        </pc:spChg>
      </pc:sldChg>
      <pc:sldChg chg="delSp mod">
        <pc:chgData name="boB Taylor" userId="2ac94156-0040-455f-a13f-091fd330254d" providerId="ADAL" clId="{24EF5D66-C539-4D20-BF1A-843CF34993AE}" dt="2020-05-11T20:57:43.961" v="218" actId="478"/>
        <pc:sldMkLst>
          <pc:docMk/>
          <pc:sldMk cId="1755439722" sldId="688"/>
        </pc:sldMkLst>
        <pc:spChg chg="del">
          <ac:chgData name="boB Taylor" userId="2ac94156-0040-455f-a13f-091fd330254d" providerId="ADAL" clId="{24EF5D66-C539-4D20-BF1A-843CF34993AE}" dt="2020-05-11T20:57:43.961" v="218" actId="478"/>
          <ac:spMkLst>
            <pc:docMk/>
            <pc:sldMk cId="1755439722" sldId="688"/>
            <ac:spMk id="3" creationId="{AA509AE9-01E7-4DF1-AC3B-9C8B454ECEC3}"/>
          </ac:spMkLst>
        </pc:spChg>
      </pc:sldChg>
      <pc:sldChg chg="delSp mod">
        <pc:chgData name="boB Taylor" userId="2ac94156-0040-455f-a13f-091fd330254d" providerId="ADAL" clId="{24EF5D66-C539-4D20-BF1A-843CF34993AE}" dt="2020-05-11T20:57:50.163" v="220" actId="478"/>
        <pc:sldMkLst>
          <pc:docMk/>
          <pc:sldMk cId="4158935505" sldId="689"/>
        </pc:sldMkLst>
        <pc:spChg chg="del">
          <ac:chgData name="boB Taylor" userId="2ac94156-0040-455f-a13f-091fd330254d" providerId="ADAL" clId="{24EF5D66-C539-4D20-BF1A-843CF34993AE}" dt="2020-05-11T20:57:50.163" v="220" actId="478"/>
          <ac:spMkLst>
            <pc:docMk/>
            <pc:sldMk cId="4158935505" sldId="689"/>
            <ac:spMk id="3" creationId="{2FAB296E-CC92-486C-A958-44CAAFF0ADF1}"/>
          </ac:spMkLst>
        </pc:spChg>
      </pc:sldChg>
      <pc:sldChg chg="delSp modSp mod">
        <pc:chgData name="boB Taylor" userId="2ac94156-0040-455f-a13f-091fd330254d" providerId="ADAL" clId="{24EF5D66-C539-4D20-BF1A-843CF34993AE}" dt="2020-05-11T20:48:06.347" v="117" actId="478"/>
        <pc:sldMkLst>
          <pc:docMk/>
          <pc:sldMk cId="1044664172" sldId="690"/>
        </pc:sldMkLst>
        <pc:spChg chg="del">
          <ac:chgData name="boB Taylor" userId="2ac94156-0040-455f-a13f-091fd330254d" providerId="ADAL" clId="{24EF5D66-C539-4D20-BF1A-843CF34993AE}" dt="2020-05-11T20:48:06.347" v="117" actId="478"/>
          <ac:spMkLst>
            <pc:docMk/>
            <pc:sldMk cId="1044664172" sldId="690"/>
            <ac:spMk id="3" creationId="{5F3A8B5D-7304-4156-ABA8-0C2DD3976FD1}"/>
          </ac:spMkLst>
        </pc:spChg>
        <pc:graphicFrameChg chg="mod">
          <ac:chgData name="boB Taylor" userId="2ac94156-0040-455f-a13f-091fd330254d" providerId="ADAL" clId="{24EF5D66-C539-4D20-BF1A-843CF34993AE}" dt="2020-05-11T20:47:51.897" v="116"/>
          <ac:graphicFrameMkLst>
            <pc:docMk/>
            <pc:sldMk cId="1044664172" sldId="690"/>
            <ac:graphicFrameMk id="6" creationId="{9E782462-F17D-4951-B6ED-A231ABE35517}"/>
          </ac:graphicFrameMkLst>
        </pc:graphicFrameChg>
      </pc:sldChg>
      <pc:sldChg chg="delSp mod">
        <pc:chgData name="boB Taylor" userId="2ac94156-0040-455f-a13f-091fd330254d" providerId="ADAL" clId="{24EF5D66-C539-4D20-BF1A-843CF34993AE}" dt="2020-05-11T20:48:11.302" v="118" actId="478"/>
        <pc:sldMkLst>
          <pc:docMk/>
          <pc:sldMk cId="3445907994" sldId="691"/>
        </pc:sldMkLst>
        <pc:spChg chg="del">
          <ac:chgData name="boB Taylor" userId="2ac94156-0040-455f-a13f-091fd330254d" providerId="ADAL" clId="{24EF5D66-C539-4D20-BF1A-843CF34993AE}" dt="2020-05-11T20:48:11.302" v="118" actId="478"/>
          <ac:spMkLst>
            <pc:docMk/>
            <pc:sldMk cId="3445907994" sldId="691"/>
            <ac:spMk id="3" creationId="{BF2D2C86-440C-44E6-AF98-C61FE192D024}"/>
          </ac:spMkLst>
        </pc:spChg>
      </pc:sldChg>
      <pc:sldChg chg="delSp mod">
        <pc:chgData name="boB Taylor" userId="2ac94156-0040-455f-a13f-091fd330254d" providerId="ADAL" clId="{24EF5D66-C539-4D20-BF1A-843CF34993AE}" dt="2020-05-11T20:57:47.539" v="219" actId="478"/>
        <pc:sldMkLst>
          <pc:docMk/>
          <pc:sldMk cId="585167659" sldId="692"/>
        </pc:sldMkLst>
        <pc:spChg chg="del">
          <ac:chgData name="boB Taylor" userId="2ac94156-0040-455f-a13f-091fd330254d" providerId="ADAL" clId="{24EF5D66-C539-4D20-BF1A-843CF34993AE}" dt="2020-05-11T20:57:47.539" v="219" actId="478"/>
          <ac:spMkLst>
            <pc:docMk/>
            <pc:sldMk cId="585167659" sldId="692"/>
            <ac:spMk id="3" creationId="{0985E9B1-700D-43EA-8581-C931CC2F385B}"/>
          </ac:spMkLst>
        </pc:spChg>
      </pc:sldChg>
      <pc:sldChg chg="delSp mod">
        <pc:chgData name="boB Taylor" userId="2ac94156-0040-455f-a13f-091fd330254d" providerId="ADAL" clId="{24EF5D66-C539-4D20-BF1A-843CF34993AE}" dt="2020-05-11T20:58:15.459" v="225" actId="478"/>
        <pc:sldMkLst>
          <pc:docMk/>
          <pc:sldMk cId="3063153254" sldId="696"/>
        </pc:sldMkLst>
        <pc:spChg chg="del">
          <ac:chgData name="boB Taylor" userId="2ac94156-0040-455f-a13f-091fd330254d" providerId="ADAL" clId="{24EF5D66-C539-4D20-BF1A-843CF34993AE}" dt="2020-05-11T20:58:15.459" v="225" actId="478"/>
          <ac:spMkLst>
            <pc:docMk/>
            <pc:sldMk cId="3063153254" sldId="696"/>
            <ac:spMk id="3" creationId="{D6149141-409A-49C8-8A46-C28914D87C5D}"/>
          </ac:spMkLst>
        </pc:spChg>
      </pc:sldChg>
      <pc:sldChg chg="delSp mod">
        <pc:chgData name="boB Taylor" userId="2ac94156-0040-455f-a13f-091fd330254d" providerId="ADAL" clId="{24EF5D66-C539-4D20-BF1A-843CF34993AE}" dt="2020-05-11T20:58:19.249" v="226" actId="478"/>
        <pc:sldMkLst>
          <pc:docMk/>
          <pc:sldMk cId="2947359390" sldId="697"/>
        </pc:sldMkLst>
        <pc:spChg chg="del">
          <ac:chgData name="boB Taylor" userId="2ac94156-0040-455f-a13f-091fd330254d" providerId="ADAL" clId="{24EF5D66-C539-4D20-BF1A-843CF34993AE}" dt="2020-05-11T20:58:19.249" v="226" actId="478"/>
          <ac:spMkLst>
            <pc:docMk/>
            <pc:sldMk cId="2947359390" sldId="697"/>
            <ac:spMk id="3" creationId="{B4766E1F-6C91-4730-B1A0-3804834B1BB1}"/>
          </ac:spMkLst>
        </pc:spChg>
      </pc:sldChg>
      <pc:sldChg chg="delSp mod">
        <pc:chgData name="boB Taylor" userId="2ac94156-0040-455f-a13f-091fd330254d" providerId="ADAL" clId="{24EF5D66-C539-4D20-BF1A-843CF34993AE}" dt="2020-05-11T20:59:55.158" v="234" actId="478"/>
        <pc:sldMkLst>
          <pc:docMk/>
          <pc:sldMk cId="4197261083" sldId="703"/>
        </pc:sldMkLst>
        <pc:spChg chg="del">
          <ac:chgData name="boB Taylor" userId="2ac94156-0040-455f-a13f-091fd330254d" providerId="ADAL" clId="{24EF5D66-C539-4D20-BF1A-843CF34993AE}" dt="2020-05-11T20:59:55.158" v="234" actId="478"/>
          <ac:spMkLst>
            <pc:docMk/>
            <pc:sldMk cId="4197261083" sldId="703"/>
            <ac:spMk id="4" creationId="{9213652A-EFDA-44E7-85B4-8893ADD74B3E}"/>
          </ac:spMkLst>
        </pc:spChg>
      </pc:sldChg>
      <pc:sldChg chg="delSp mod">
        <pc:chgData name="boB Taylor" userId="2ac94156-0040-455f-a13f-091fd330254d" providerId="ADAL" clId="{24EF5D66-C539-4D20-BF1A-843CF34993AE}" dt="2020-05-11T20:58:06.819" v="223" actId="478"/>
        <pc:sldMkLst>
          <pc:docMk/>
          <pc:sldMk cId="241800346" sldId="704"/>
        </pc:sldMkLst>
        <pc:spChg chg="del">
          <ac:chgData name="boB Taylor" userId="2ac94156-0040-455f-a13f-091fd330254d" providerId="ADAL" clId="{24EF5D66-C539-4D20-BF1A-843CF34993AE}" dt="2020-05-11T20:58:06.819" v="223" actId="478"/>
          <ac:spMkLst>
            <pc:docMk/>
            <pc:sldMk cId="241800346" sldId="704"/>
            <ac:spMk id="3" creationId="{57239E14-5300-4AF9-8F3E-FFF89735D650}"/>
          </ac:spMkLst>
        </pc:spChg>
      </pc:sldChg>
      <pc:sldChg chg="delSp mod">
        <pc:chgData name="boB Taylor" userId="2ac94156-0040-455f-a13f-091fd330254d" providerId="ADAL" clId="{24EF5D66-C539-4D20-BF1A-843CF34993AE}" dt="2020-05-11T20:58:12.268" v="224" actId="478"/>
        <pc:sldMkLst>
          <pc:docMk/>
          <pc:sldMk cId="3631232456" sldId="705"/>
        </pc:sldMkLst>
        <pc:spChg chg="del">
          <ac:chgData name="boB Taylor" userId="2ac94156-0040-455f-a13f-091fd330254d" providerId="ADAL" clId="{24EF5D66-C539-4D20-BF1A-843CF34993AE}" dt="2020-05-11T20:58:12.268" v="224" actId="478"/>
          <ac:spMkLst>
            <pc:docMk/>
            <pc:sldMk cId="3631232456" sldId="705"/>
            <ac:spMk id="3" creationId="{329B7197-2648-4272-A56F-B9D0AE090A3A}"/>
          </ac:spMkLst>
        </pc:spChg>
      </pc:sldChg>
      <pc:sldChg chg="delSp mod">
        <pc:chgData name="boB Taylor" userId="2ac94156-0040-455f-a13f-091fd330254d" providerId="ADAL" clId="{24EF5D66-C539-4D20-BF1A-843CF34993AE}" dt="2020-05-11T20:58:55.278" v="232" actId="478"/>
        <pc:sldMkLst>
          <pc:docMk/>
          <pc:sldMk cId="3460419959" sldId="709"/>
        </pc:sldMkLst>
        <pc:spChg chg="del">
          <ac:chgData name="boB Taylor" userId="2ac94156-0040-455f-a13f-091fd330254d" providerId="ADAL" clId="{24EF5D66-C539-4D20-BF1A-843CF34993AE}" dt="2020-05-11T20:58:55.278" v="232" actId="478"/>
          <ac:spMkLst>
            <pc:docMk/>
            <pc:sldMk cId="3460419959" sldId="709"/>
            <ac:spMk id="3" creationId="{851C1580-9DFB-4873-8416-AE189F9188E5}"/>
          </ac:spMkLst>
        </pc:spChg>
      </pc:sldChg>
      <pc:sldChg chg="delSp mod">
        <pc:chgData name="boB Taylor" userId="2ac94156-0040-455f-a13f-091fd330254d" providerId="ADAL" clId="{24EF5D66-C539-4D20-BF1A-843CF34993AE}" dt="2020-05-11T20:58:31.902" v="227" actId="478"/>
        <pc:sldMkLst>
          <pc:docMk/>
          <pc:sldMk cId="1735595973" sldId="711"/>
        </pc:sldMkLst>
        <pc:spChg chg="del">
          <ac:chgData name="boB Taylor" userId="2ac94156-0040-455f-a13f-091fd330254d" providerId="ADAL" clId="{24EF5D66-C539-4D20-BF1A-843CF34993AE}" dt="2020-05-11T20:58:31.902" v="227" actId="478"/>
          <ac:spMkLst>
            <pc:docMk/>
            <pc:sldMk cId="1735595973" sldId="711"/>
            <ac:spMk id="3" creationId="{03CDB67A-8E94-4151-B9FE-F5F23AB355C1}"/>
          </ac:spMkLst>
        </pc:spChg>
      </pc:sldChg>
      <pc:sldChg chg="delSp mod">
        <pc:chgData name="boB Taylor" userId="2ac94156-0040-455f-a13f-091fd330254d" providerId="ADAL" clId="{24EF5D66-C539-4D20-BF1A-843CF34993AE}" dt="2020-05-11T20:59:08.257" v="233" actId="478"/>
        <pc:sldMkLst>
          <pc:docMk/>
          <pc:sldMk cId="2581647386" sldId="713"/>
        </pc:sldMkLst>
        <pc:spChg chg="del">
          <ac:chgData name="boB Taylor" userId="2ac94156-0040-455f-a13f-091fd330254d" providerId="ADAL" clId="{24EF5D66-C539-4D20-BF1A-843CF34993AE}" dt="2020-05-11T20:59:08.257" v="233" actId="478"/>
          <ac:spMkLst>
            <pc:docMk/>
            <pc:sldMk cId="2581647386" sldId="713"/>
            <ac:spMk id="3" creationId="{54DC2232-66F1-4C2A-A425-0B5114DAF492}"/>
          </ac:spMkLst>
        </pc:spChg>
      </pc:sldChg>
      <pc:sldChg chg="delSp modSp mod">
        <pc:chgData name="boB Taylor" userId="2ac94156-0040-455f-a13f-091fd330254d" providerId="ADAL" clId="{24EF5D66-C539-4D20-BF1A-843CF34993AE}" dt="2020-05-11T20:58:40.992" v="229" actId="5793"/>
        <pc:sldMkLst>
          <pc:docMk/>
          <pc:sldMk cId="1860325513" sldId="714"/>
        </pc:sldMkLst>
        <pc:spChg chg="del">
          <ac:chgData name="boB Taylor" userId="2ac94156-0040-455f-a13f-091fd330254d" providerId="ADAL" clId="{24EF5D66-C539-4D20-BF1A-843CF34993AE}" dt="2020-05-11T20:58:36.891" v="228" actId="478"/>
          <ac:spMkLst>
            <pc:docMk/>
            <pc:sldMk cId="1860325513" sldId="714"/>
            <ac:spMk id="3" creationId="{69C4BBE1-2D53-4B42-842E-164E6AB29457}"/>
          </ac:spMkLst>
        </pc:spChg>
        <pc:spChg chg="mod">
          <ac:chgData name="boB Taylor" userId="2ac94156-0040-455f-a13f-091fd330254d" providerId="ADAL" clId="{24EF5D66-C539-4D20-BF1A-843CF34993AE}" dt="2020-05-11T20:58:40.992" v="229" actId="5793"/>
          <ac:spMkLst>
            <pc:docMk/>
            <pc:sldMk cId="1860325513" sldId="714"/>
            <ac:spMk id="4" creationId="{1CE9DF03-627E-4FC2-ADDA-F2C4085E1ECC}"/>
          </ac:spMkLst>
        </pc:spChg>
      </pc:sldChg>
      <pc:sldChg chg="delSp mod">
        <pc:chgData name="boB Taylor" userId="2ac94156-0040-455f-a13f-091fd330254d" providerId="ADAL" clId="{24EF5D66-C539-4D20-BF1A-843CF34993AE}" dt="2020-05-11T20:58:48.127" v="230" actId="478"/>
        <pc:sldMkLst>
          <pc:docMk/>
          <pc:sldMk cId="3224995500" sldId="715"/>
        </pc:sldMkLst>
        <pc:spChg chg="del">
          <ac:chgData name="boB Taylor" userId="2ac94156-0040-455f-a13f-091fd330254d" providerId="ADAL" clId="{24EF5D66-C539-4D20-BF1A-843CF34993AE}" dt="2020-05-11T20:58:48.127" v="230" actId="478"/>
          <ac:spMkLst>
            <pc:docMk/>
            <pc:sldMk cId="3224995500" sldId="715"/>
            <ac:spMk id="3" creationId="{69C4BBE1-2D53-4B42-842E-164E6AB29457}"/>
          </ac:spMkLst>
        </pc:spChg>
      </pc:sldChg>
      <pc:sldChg chg="delSp mod">
        <pc:chgData name="boB Taylor" userId="2ac94156-0040-455f-a13f-091fd330254d" providerId="ADAL" clId="{24EF5D66-C539-4D20-BF1A-843CF34993AE}" dt="2020-05-11T20:58:51.958" v="231" actId="478"/>
        <pc:sldMkLst>
          <pc:docMk/>
          <pc:sldMk cId="4205441629" sldId="716"/>
        </pc:sldMkLst>
        <pc:spChg chg="del">
          <ac:chgData name="boB Taylor" userId="2ac94156-0040-455f-a13f-091fd330254d" providerId="ADAL" clId="{24EF5D66-C539-4D20-BF1A-843CF34993AE}" dt="2020-05-11T20:58:51.958" v="231" actId="478"/>
          <ac:spMkLst>
            <pc:docMk/>
            <pc:sldMk cId="4205441629" sldId="716"/>
            <ac:spMk id="3" creationId="{69C4BBE1-2D53-4B42-842E-164E6AB29457}"/>
          </ac:spMkLst>
        </pc:spChg>
      </pc:sldChg>
      <pc:sldChg chg="delSp mod">
        <pc:chgData name="boB Taylor" userId="2ac94156-0040-455f-a13f-091fd330254d" providerId="ADAL" clId="{24EF5D66-C539-4D20-BF1A-843CF34993AE}" dt="2020-05-11T20:54:59.284" v="195" actId="478"/>
        <pc:sldMkLst>
          <pc:docMk/>
          <pc:sldMk cId="1727005961" sldId="717"/>
        </pc:sldMkLst>
        <pc:spChg chg="del">
          <ac:chgData name="boB Taylor" userId="2ac94156-0040-455f-a13f-091fd330254d" providerId="ADAL" clId="{24EF5D66-C539-4D20-BF1A-843CF34993AE}" dt="2020-05-11T20:54:59.284" v="195" actId="478"/>
          <ac:spMkLst>
            <pc:docMk/>
            <pc:sldMk cId="1727005961" sldId="717"/>
            <ac:spMk id="3" creationId="{6794E696-C068-4B3E-992F-BDC0BAAC946C}"/>
          </ac:spMkLst>
        </pc:spChg>
      </pc:sldChg>
      <pc:sldChg chg="delSp mod">
        <pc:chgData name="boB Taylor" userId="2ac94156-0040-455f-a13f-091fd330254d" providerId="ADAL" clId="{24EF5D66-C539-4D20-BF1A-843CF34993AE}" dt="2020-05-11T20:54:52.035" v="194" actId="478"/>
        <pc:sldMkLst>
          <pc:docMk/>
          <pc:sldMk cId="306519833" sldId="718"/>
        </pc:sldMkLst>
        <pc:spChg chg="del">
          <ac:chgData name="boB Taylor" userId="2ac94156-0040-455f-a13f-091fd330254d" providerId="ADAL" clId="{24EF5D66-C539-4D20-BF1A-843CF34993AE}" dt="2020-05-11T20:54:52.035" v="194" actId="478"/>
          <ac:spMkLst>
            <pc:docMk/>
            <pc:sldMk cId="306519833" sldId="718"/>
            <ac:spMk id="3" creationId="{44E921BD-E4EF-4AFF-8F6C-64CB1A8CC26A}"/>
          </ac:spMkLst>
        </pc:spChg>
      </pc:sldChg>
      <pc:sldChg chg="delSp mod">
        <pc:chgData name="boB Taylor" userId="2ac94156-0040-455f-a13f-091fd330254d" providerId="ADAL" clId="{24EF5D66-C539-4D20-BF1A-843CF34993AE}" dt="2020-05-11T20:55:03.474" v="196" actId="478"/>
        <pc:sldMkLst>
          <pc:docMk/>
          <pc:sldMk cId="3892410228" sldId="719"/>
        </pc:sldMkLst>
        <pc:spChg chg="del">
          <ac:chgData name="boB Taylor" userId="2ac94156-0040-455f-a13f-091fd330254d" providerId="ADAL" clId="{24EF5D66-C539-4D20-BF1A-843CF34993AE}" dt="2020-05-11T20:55:03.474" v="196" actId="478"/>
          <ac:spMkLst>
            <pc:docMk/>
            <pc:sldMk cId="3892410228" sldId="719"/>
            <ac:spMk id="3" creationId="{0BF79A8C-D717-4BB7-96FF-D75C327E3090}"/>
          </ac:spMkLst>
        </pc:spChg>
      </pc:sldChg>
      <pc:sldChg chg="delSp mod">
        <pc:chgData name="boB Taylor" userId="2ac94156-0040-455f-a13f-091fd330254d" providerId="ADAL" clId="{24EF5D66-C539-4D20-BF1A-843CF34993AE}" dt="2020-05-11T20:55:09.030" v="197" actId="478"/>
        <pc:sldMkLst>
          <pc:docMk/>
          <pc:sldMk cId="1531234105" sldId="720"/>
        </pc:sldMkLst>
        <pc:spChg chg="del">
          <ac:chgData name="boB Taylor" userId="2ac94156-0040-455f-a13f-091fd330254d" providerId="ADAL" clId="{24EF5D66-C539-4D20-BF1A-843CF34993AE}" dt="2020-05-11T20:55:09.030" v="197" actId="478"/>
          <ac:spMkLst>
            <pc:docMk/>
            <pc:sldMk cId="1531234105" sldId="720"/>
            <ac:spMk id="3" creationId="{37E0B816-4FB4-49EF-991E-EB9419A82DCA}"/>
          </ac:spMkLst>
        </pc:spChg>
      </pc:sldChg>
      <pc:sldChg chg="delSp mod">
        <pc:chgData name="boB Taylor" userId="2ac94156-0040-455f-a13f-091fd330254d" providerId="ADAL" clId="{24EF5D66-C539-4D20-BF1A-843CF34993AE}" dt="2020-05-11T20:55:15.556" v="198" actId="478"/>
        <pc:sldMkLst>
          <pc:docMk/>
          <pc:sldMk cId="3141979589" sldId="721"/>
        </pc:sldMkLst>
        <pc:spChg chg="del">
          <ac:chgData name="boB Taylor" userId="2ac94156-0040-455f-a13f-091fd330254d" providerId="ADAL" clId="{24EF5D66-C539-4D20-BF1A-843CF34993AE}" dt="2020-05-11T20:55:15.556" v="198" actId="478"/>
          <ac:spMkLst>
            <pc:docMk/>
            <pc:sldMk cId="3141979589" sldId="721"/>
            <ac:spMk id="3" creationId="{37E0B816-4FB4-49EF-991E-EB9419A82DCA}"/>
          </ac:spMkLst>
        </pc:spChg>
      </pc:sldChg>
      <pc:sldChg chg="delSp mod">
        <pc:chgData name="boB Taylor" userId="2ac94156-0040-455f-a13f-091fd330254d" providerId="ADAL" clId="{24EF5D66-C539-4D20-BF1A-843CF34993AE}" dt="2020-05-11T20:55:19.825" v="199" actId="478"/>
        <pc:sldMkLst>
          <pc:docMk/>
          <pc:sldMk cId="3112427032" sldId="722"/>
        </pc:sldMkLst>
        <pc:spChg chg="del">
          <ac:chgData name="boB Taylor" userId="2ac94156-0040-455f-a13f-091fd330254d" providerId="ADAL" clId="{24EF5D66-C539-4D20-BF1A-843CF34993AE}" dt="2020-05-11T20:55:19.825" v="199" actId="478"/>
          <ac:spMkLst>
            <pc:docMk/>
            <pc:sldMk cId="3112427032" sldId="722"/>
            <ac:spMk id="3" creationId="{8866CFA1-7F49-4D71-9816-65C3EE68BF0F}"/>
          </ac:spMkLst>
        </pc:spChg>
      </pc:sldChg>
      <pc:sldChg chg="delSp modSp mod">
        <pc:chgData name="boB Taylor" userId="2ac94156-0040-455f-a13f-091fd330254d" providerId="ADAL" clId="{24EF5D66-C539-4D20-BF1A-843CF34993AE}" dt="2020-05-11T20:43:12.077" v="91" actId="1076"/>
        <pc:sldMkLst>
          <pc:docMk/>
          <pc:sldMk cId="4273182634" sldId="739"/>
        </pc:sldMkLst>
        <pc:spChg chg="del">
          <ac:chgData name="boB Taylor" userId="2ac94156-0040-455f-a13f-091fd330254d" providerId="ADAL" clId="{24EF5D66-C539-4D20-BF1A-843CF34993AE}" dt="2020-05-11T20:42:34.587" v="84" actId="478"/>
          <ac:spMkLst>
            <pc:docMk/>
            <pc:sldMk cId="4273182634" sldId="739"/>
            <ac:spMk id="3" creationId="{FF036CDC-799C-4C4A-9DAF-E7D63DAB3629}"/>
          </ac:spMkLst>
        </pc:spChg>
        <pc:spChg chg="mod">
          <ac:chgData name="boB Taylor" userId="2ac94156-0040-455f-a13f-091fd330254d" providerId="ADAL" clId="{24EF5D66-C539-4D20-BF1A-843CF34993AE}" dt="2020-05-11T20:43:01.899" v="89" actId="255"/>
          <ac:spMkLst>
            <pc:docMk/>
            <pc:sldMk cId="4273182634" sldId="739"/>
            <ac:spMk id="4" creationId="{EB8FEEE0-7D03-497F-99E3-2992983D127E}"/>
          </ac:spMkLst>
        </pc:spChg>
        <pc:picChg chg="mod">
          <ac:chgData name="boB Taylor" userId="2ac94156-0040-455f-a13f-091fd330254d" providerId="ADAL" clId="{24EF5D66-C539-4D20-BF1A-843CF34993AE}" dt="2020-05-11T20:43:12.077" v="91" actId="1076"/>
          <ac:picMkLst>
            <pc:docMk/>
            <pc:sldMk cId="4273182634" sldId="739"/>
            <ac:picMk id="6" creationId="{32EEFF7D-7B83-4E51-9C9D-CDCDD68B2E0B}"/>
          </ac:picMkLst>
        </pc:picChg>
      </pc:sldChg>
      <pc:sldChg chg="delSp modSp mod">
        <pc:chgData name="boB Taylor" userId="2ac94156-0040-455f-a13f-091fd330254d" providerId="ADAL" clId="{24EF5D66-C539-4D20-BF1A-843CF34993AE}" dt="2020-05-11T20:46:52.476" v="115" actId="14100"/>
        <pc:sldMkLst>
          <pc:docMk/>
          <pc:sldMk cId="503771874" sldId="762"/>
        </pc:sldMkLst>
        <pc:spChg chg="del">
          <ac:chgData name="boB Taylor" userId="2ac94156-0040-455f-a13f-091fd330254d" providerId="ADAL" clId="{24EF5D66-C539-4D20-BF1A-843CF34993AE}" dt="2020-05-11T20:46:48.882" v="114" actId="478"/>
          <ac:spMkLst>
            <pc:docMk/>
            <pc:sldMk cId="503771874" sldId="762"/>
            <ac:spMk id="3" creationId="{B9086607-DE23-4A27-A2AF-4CB7F207B43B}"/>
          </ac:spMkLst>
        </pc:spChg>
        <pc:graphicFrameChg chg="mod">
          <ac:chgData name="boB Taylor" userId="2ac94156-0040-455f-a13f-091fd330254d" providerId="ADAL" clId="{24EF5D66-C539-4D20-BF1A-843CF34993AE}" dt="2020-05-11T20:46:15.057" v="110"/>
          <ac:graphicFrameMkLst>
            <pc:docMk/>
            <pc:sldMk cId="503771874" sldId="762"/>
            <ac:graphicFrameMk id="6" creationId="{FEF3C806-344F-4F8E-8683-15A730131214}"/>
          </ac:graphicFrameMkLst>
        </pc:graphicFrameChg>
        <pc:graphicFrameChg chg="mod">
          <ac:chgData name="boB Taylor" userId="2ac94156-0040-455f-a13f-091fd330254d" providerId="ADAL" clId="{24EF5D66-C539-4D20-BF1A-843CF34993AE}" dt="2020-05-11T20:46:52.476" v="115" actId="14100"/>
          <ac:graphicFrameMkLst>
            <pc:docMk/>
            <pc:sldMk cId="503771874" sldId="762"/>
            <ac:graphicFrameMk id="7" creationId="{881C9504-9679-4FA3-9D14-33E3F4FADA90}"/>
          </ac:graphicFrameMkLst>
        </pc:graphicFrameChg>
      </pc:sldChg>
      <pc:sldChg chg="delSp mod">
        <pc:chgData name="boB Taylor" userId="2ac94156-0040-455f-a13f-091fd330254d" providerId="ADAL" clId="{24EF5D66-C539-4D20-BF1A-843CF34993AE}" dt="2020-05-11T20:57:56.939" v="221" actId="478"/>
        <pc:sldMkLst>
          <pc:docMk/>
          <pc:sldMk cId="1741957811" sldId="768"/>
        </pc:sldMkLst>
        <pc:spChg chg="del">
          <ac:chgData name="boB Taylor" userId="2ac94156-0040-455f-a13f-091fd330254d" providerId="ADAL" clId="{24EF5D66-C539-4D20-BF1A-843CF34993AE}" dt="2020-05-11T20:57:56.939" v="221" actId="478"/>
          <ac:spMkLst>
            <pc:docMk/>
            <pc:sldMk cId="1741957811" sldId="768"/>
            <ac:spMk id="3" creationId="{F35E8CBB-5A7D-4DEF-BAF7-8DD5D042F9E0}"/>
          </ac:spMkLst>
        </pc:spChg>
      </pc:sldChg>
      <pc:sldChg chg="delSp mod">
        <pc:chgData name="boB Taylor" userId="2ac94156-0040-455f-a13f-091fd330254d" providerId="ADAL" clId="{24EF5D66-C539-4D20-BF1A-843CF34993AE}" dt="2020-05-11T20:58:01.165" v="222" actId="478"/>
        <pc:sldMkLst>
          <pc:docMk/>
          <pc:sldMk cId="2238154609" sldId="769"/>
        </pc:sldMkLst>
        <pc:spChg chg="del">
          <ac:chgData name="boB Taylor" userId="2ac94156-0040-455f-a13f-091fd330254d" providerId="ADAL" clId="{24EF5D66-C539-4D20-BF1A-843CF34993AE}" dt="2020-05-11T20:58:01.165" v="222" actId="478"/>
          <ac:spMkLst>
            <pc:docMk/>
            <pc:sldMk cId="2238154609" sldId="769"/>
            <ac:spMk id="3" creationId="{F35E8CBB-5A7D-4DEF-BAF7-8DD5D042F9E0}"/>
          </ac:spMkLst>
        </pc:spChg>
      </pc:sldChg>
    </pc:docChg>
  </pc:docChgLst>
  <pc:docChgLst>
    <pc:chgData name="Carlos Reyes García" userId="8f106461-3865-4cda-a443-ca56f71f97d2" providerId="ADAL" clId="{D3EFDC9E-C770-4EC4-8A5A-B4E22FBE207B}"/>
    <pc:docChg chg="undo redo custSel mod addSld delSld modSld sldOrd modSection">
      <pc:chgData name="Carlos Reyes García" userId="8f106461-3865-4cda-a443-ca56f71f97d2" providerId="ADAL" clId="{D3EFDC9E-C770-4EC4-8A5A-B4E22FBE207B}" dt="2020-03-03T09:02:20.163" v="15152" actId="20577"/>
      <pc:docMkLst>
        <pc:docMk/>
      </pc:docMkLst>
      <pc:sldChg chg="addSp delSp modSp mod">
        <pc:chgData name="Carlos Reyes García" userId="8f106461-3865-4cda-a443-ca56f71f97d2" providerId="ADAL" clId="{D3EFDC9E-C770-4EC4-8A5A-B4E22FBE207B}" dt="2020-02-26T06:47:47.780" v="2466" actId="20577"/>
        <pc:sldMkLst>
          <pc:docMk/>
          <pc:sldMk cId="3235270007" sldId="257"/>
        </pc:sldMkLst>
        <pc:spChg chg="mod">
          <ac:chgData name="Carlos Reyes García" userId="8f106461-3865-4cda-a443-ca56f71f97d2" providerId="ADAL" clId="{D3EFDC9E-C770-4EC4-8A5A-B4E22FBE207B}" dt="2020-02-26T06:47:47.780" v="2466" actId="20577"/>
          <ac:spMkLst>
            <pc:docMk/>
            <pc:sldMk cId="3235270007" sldId="257"/>
            <ac:spMk id="2" creationId="{EB67312A-9819-43C6-8D84-D9136E6CFFCC}"/>
          </ac:spMkLst>
        </pc:spChg>
        <pc:spChg chg="mod">
          <ac:chgData name="Carlos Reyes García" userId="8f106461-3865-4cda-a443-ca56f71f97d2" providerId="ADAL" clId="{D3EFDC9E-C770-4EC4-8A5A-B4E22FBE207B}" dt="2020-02-26T06:43:56.945" v="2433" actId="1076"/>
          <ac:spMkLst>
            <pc:docMk/>
            <pc:sldMk cId="3235270007" sldId="257"/>
            <ac:spMk id="141" creationId="{DF781616-F235-4DB8-8529-272D6CB21493}"/>
          </ac:spMkLst>
        </pc:spChg>
        <pc:spChg chg="mod">
          <ac:chgData name="Carlos Reyes García" userId="8f106461-3865-4cda-a443-ca56f71f97d2" providerId="ADAL" clId="{D3EFDC9E-C770-4EC4-8A5A-B4E22FBE207B}" dt="2020-02-26T06:43:56.945" v="2433" actId="1076"/>
          <ac:spMkLst>
            <pc:docMk/>
            <pc:sldMk cId="3235270007" sldId="257"/>
            <ac:spMk id="142" creationId="{5576CC37-D32D-4EBF-84C4-2B333862C496}"/>
          </ac:spMkLst>
        </pc:spChg>
        <pc:spChg chg="mod topLvl">
          <ac:chgData name="Carlos Reyes García" userId="8f106461-3865-4cda-a443-ca56f71f97d2" providerId="ADAL" clId="{D3EFDC9E-C770-4EC4-8A5A-B4E22FBE207B}" dt="2020-02-26T06:42:29.146" v="2428" actId="164"/>
          <ac:spMkLst>
            <pc:docMk/>
            <pc:sldMk cId="3235270007" sldId="257"/>
            <ac:spMk id="146" creationId="{2DC7E142-BBDD-4FBC-9463-2ABB068615A6}"/>
          </ac:spMkLst>
        </pc:spChg>
        <pc:spChg chg="mod">
          <ac:chgData name="Carlos Reyes García" userId="8f106461-3865-4cda-a443-ca56f71f97d2" providerId="ADAL" clId="{D3EFDC9E-C770-4EC4-8A5A-B4E22FBE207B}" dt="2020-02-26T06:44:10.169" v="2434" actId="1076"/>
          <ac:spMkLst>
            <pc:docMk/>
            <pc:sldMk cId="3235270007" sldId="257"/>
            <ac:spMk id="149" creationId="{F8322EAD-FD06-4A1D-92BC-22090BF8F5E0}"/>
          </ac:spMkLst>
        </pc:spChg>
        <pc:spChg chg="mod">
          <ac:chgData name="Carlos Reyes García" userId="8f106461-3865-4cda-a443-ca56f71f97d2" providerId="ADAL" clId="{D3EFDC9E-C770-4EC4-8A5A-B4E22FBE207B}" dt="2020-02-26T06:44:10.169" v="2434" actId="1076"/>
          <ac:spMkLst>
            <pc:docMk/>
            <pc:sldMk cId="3235270007" sldId="257"/>
            <ac:spMk id="150" creationId="{98D8E4DF-0AD8-45D5-B761-2F8B7C851EBF}"/>
          </ac:spMkLst>
        </pc:spChg>
        <pc:grpChg chg="add mod">
          <ac:chgData name="Carlos Reyes García" userId="8f106461-3865-4cda-a443-ca56f71f97d2" providerId="ADAL" clId="{D3EFDC9E-C770-4EC4-8A5A-B4E22FBE207B}" dt="2020-02-26T06:42:29.146" v="2428" actId="164"/>
          <ac:grpSpMkLst>
            <pc:docMk/>
            <pc:sldMk cId="3235270007" sldId="257"/>
            <ac:grpSpMk id="10" creationId="{204F4067-F42E-47B3-A6E8-C8D8FE9D7092}"/>
          </ac:grpSpMkLst>
        </pc:grpChg>
        <pc:grpChg chg="add mod">
          <ac:chgData name="Carlos Reyes García" userId="8f106461-3865-4cda-a443-ca56f71f97d2" providerId="ADAL" clId="{D3EFDC9E-C770-4EC4-8A5A-B4E22FBE207B}" dt="2020-02-26T06:42:29.146" v="2428" actId="164"/>
          <ac:grpSpMkLst>
            <pc:docMk/>
            <pc:sldMk cId="3235270007" sldId="257"/>
            <ac:grpSpMk id="11" creationId="{CAE7F2FC-9E0D-499A-84B4-5531397E3F62}"/>
          </ac:grpSpMkLst>
        </pc:grpChg>
        <pc:grpChg chg="add mod">
          <ac:chgData name="Carlos Reyes García" userId="8f106461-3865-4cda-a443-ca56f71f97d2" providerId="ADAL" clId="{D3EFDC9E-C770-4EC4-8A5A-B4E22FBE207B}" dt="2020-02-26T06:42:29.146" v="2428" actId="164"/>
          <ac:grpSpMkLst>
            <pc:docMk/>
            <pc:sldMk cId="3235270007" sldId="257"/>
            <ac:grpSpMk id="12" creationId="{E0F61E2E-3C80-4C39-B6F1-1CE7C4EE412D}"/>
          </ac:grpSpMkLst>
        </pc:grpChg>
        <pc:grpChg chg="add mod">
          <ac:chgData name="Carlos Reyes García" userId="8f106461-3865-4cda-a443-ca56f71f97d2" providerId="ADAL" clId="{D3EFDC9E-C770-4EC4-8A5A-B4E22FBE207B}" dt="2020-02-26T06:44:26.511" v="2438" actId="1076"/>
          <ac:grpSpMkLst>
            <pc:docMk/>
            <pc:sldMk cId="3235270007" sldId="257"/>
            <ac:grpSpMk id="13" creationId="{A22EF2A5-4FF4-46F7-B9B5-8DDC1C329478}"/>
          </ac:grpSpMkLst>
        </pc:grpChg>
        <pc:grpChg chg="mod topLvl">
          <ac:chgData name="Carlos Reyes García" userId="8f106461-3865-4cda-a443-ca56f71f97d2" providerId="ADAL" clId="{D3EFDC9E-C770-4EC4-8A5A-B4E22FBE207B}" dt="2020-02-26T06:42:14.519" v="2426" actId="164"/>
          <ac:grpSpMkLst>
            <pc:docMk/>
            <pc:sldMk cId="3235270007" sldId="257"/>
            <ac:grpSpMk id="127" creationId="{E64C6550-9E02-4A31-AAC9-60A19058ED15}"/>
          </ac:grpSpMkLst>
        </pc:grpChg>
        <pc:grpChg chg="mod topLvl">
          <ac:chgData name="Carlos Reyes García" userId="8f106461-3865-4cda-a443-ca56f71f97d2" providerId="ADAL" clId="{D3EFDC9E-C770-4EC4-8A5A-B4E22FBE207B}" dt="2020-02-26T06:42:03.705" v="2425" actId="164"/>
          <ac:grpSpMkLst>
            <pc:docMk/>
            <pc:sldMk cId="3235270007" sldId="257"/>
            <ac:grpSpMk id="134" creationId="{47D9745F-BBB7-4F34-9A1A-B5D592DA89AD}"/>
          </ac:grpSpMkLst>
        </pc:grpChg>
        <pc:grpChg chg="mod topLvl">
          <ac:chgData name="Carlos Reyes García" userId="8f106461-3865-4cda-a443-ca56f71f97d2" providerId="ADAL" clId="{D3EFDC9E-C770-4EC4-8A5A-B4E22FBE207B}" dt="2020-02-26T06:42:14.519" v="2426" actId="164"/>
          <ac:grpSpMkLst>
            <pc:docMk/>
            <pc:sldMk cId="3235270007" sldId="257"/>
            <ac:grpSpMk id="1031" creationId="{F97069B8-BEDD-453C-B30D-B8065D6B1B76}"/>
          </ac:grpSpMkLst>
        </pc:grpChg>
        <pc:grpChg chg="mod topLvl">
          <ac:chgData name="Carlos Reyes García" userId="8f106461-3865-4cda-a443-ca56f71f97d2" providerId="ADAL" clId="{D3EFDC9E-C770-4EC4-8A5A-B4E22FBE207B}" dt="2020-02-26T06:42:03.705" v="2425" actId="164"/>
          <ac:grpSpMkLst>
            <pc:docMk/>
            <pc:sldMk cId="3235270007" sldId="257"/>
            <ac:grpSpMk id="1032" creationId="{C925393D-2692-40A7-B431-7079460BD92C}"/>
          </ac:grpSpMkLst>
        </pc:grpChg>
        <pc:grpChg chg="mod topLvl">
          <ac:chgData name="Carlos Reyes García" userId="8f106461-3865-4cda-a443-ca56f71f97d2" providerId="ADAL" clId="{D3EFDC9E-C770-4EC4-8A5A-B4E22FBE207B}" dt="2020-02-26T06:42:03.705" v="2425" actId="164"/>
          <ac:grpSpMkLst>
            <pc:docMk/>
            <pc:sldMk cId="3235270007" sldId="257"/>
            <ac:grpSpMk id="1033" creationId="{C0236F85-AB79-4401-B5AF-2AF1EBB70324}"/>
          </ac:grpSpMkLst>
        </pc:grpChg>
        <pc:grpChg chg="mod topLvl">
          <ac:chgData name="Carlos Reyes García" userId="8f106461-3865-4cda-a443-ca56f71f97d2" providerId="ADAL" clId="{D3EFDC9E-C770-4EC4-8A5A-B4E22FBE207B}" dt="2020-02-26T06:42:23.045" v="2427" actId="164"/>
          <ac:grpSpMkLst>
            <pc:docMk/>
            <pc:sldMk cId="3235270007" sldId="257"/>
            <ac:grpSpMk id="1034" creationId="{A576078D-6B2C-49AA-AEE9-BE70B32F90AB}"/>
          </ac:grpSpMkLst>
        </pc:grpChg>
        <pc:grpChg chg="del mod topLvl">
          <ac:chgData name="Carlos Reyes García" userId="8f106461-3865-4cda-a443-ca56f71f97d2" providerId="ADAL" clId="{D3EFDC9E-C770-4EC4-8A5A-B4E22FBE207B}" dt="2020-02-26T06:38:32.335" v="2397" actId="165"/>
          <ac:grpSpMkLst>
            <pc:docMk/>
            <pc:sldMk cId="3235270007" sldId="257"/>
            <ac:grpSpMk id="1035" creationId="{1F042B14-068C-4DDF-88D3-B0D81D7B3589}"/>
          </ac:grpSpMkLst>
        </pc:grpChg>
        <pc:grpChg chg="del mod topLvl">
          <ac:chgData name="Carlos Reyes García" userId="8f106461-3865-4cda-a443-ca56f71f97d2" providerId="ADAL" clId="{D3EFDC9E-C770-4EC4-8A5A-B4E22FBE207B}" dt="2020-02-26T06:38:27.503" v="2396" actId="165"/>
          <ac:grpSpMkLst>
            <pc:docMk/>
            <pc:sldMk cId="3235270007" sldId="257"/>
            <ac:grpSpMk id="1036" creationId="{ACCD0767-D5C3-4D64-97F5-4B13A0F9262D}"/>
          </ac:grpSpMkLst>
        </pc:grpChg>
        <pc:grpChg chg="del">
          <ac:chgData name="Carlos Reyes García" userId="8f106461-3865-4cda-a443-ca56f71f97d2" providerId="ADAL" clId="{D3EFDC9E-C770-4EC4-8A5A-B4E22FBE207B}" dt="2020-02-26T06:38:21.066" v="2395" actId="165"/>
          <ac:grpSpMkLst>
            <pc:docMk/>
            <pc:sldMk cId="3235270007" sldId="257"/>
            <ac:grpSpMk id="1037" creationId="{8AB733B5-7CC9-4F8F-9470-44A0631E012D}"/>
          </ac:grpSpMkLst>
        </pc:grpChg>
        <pc:picChg chg="mod topLvl">
          <ac:chgData name="Carlos Reyes García" userId="8f106461-3865-4cda-a443-ca56f71f97d2" providerId="ADAL" clId="{D3EFDC9E-C770-4EC4-8A5A-B4E22FBE207B}" dt="2020-02-26T06:42:14.519" v="2426" actId="164"/>
          <ac:picMkLst>
            <pc:docMk/>
            <pc:sldMk cId="3235270007" sldId="257"/>
            <ac:picMk id="1024" creationId="{5BF40D55-7D53-4747-BDAD-D2E095919935}"/>
          </ac:picMkLst>
        </pc:picChg>
        <pc:picChg chg="mod topLvl">
          <ac:chgData name="Carlos Reyes García" userId="8f106461-3865-4cda-a443-ca56f71f97d2" providerId="ADAL" clId="{D3EFDC9E-C770-4EC4-8A5A-B4E22FBE207B}" dt="2020-02-26T06:42:14.519" v="2426" actId="164"/>
          <ac:picMkLst>
            <pc:docMk/>
            <pc:sldMk cId="3235270007" sldId="257"/>
            <ac:picMk id="1025" creationId="{FEECB594-4358-4A6E-89B8-70A0C7FDF987}"/>
          </ac:picMkLst>
        </pc:picChg>
        <pc:cxnChg chg="add mod">
          <ac:chgData name="Carlos Reyes García" userId="8f106461-3865-4cda-a443-ca56f71f97d2" providerId="ADAL" clId="{D3EFDC9E-C770-4EC4-8A5A-B4E22FBE207B}" dt="2020-02-26T06:42:23.045" v="2427" actId="164"/>
          <ac:cxnSpMkLst>
            <pc:docMk/>
            <pc:sldMk cId="3235270007" sldId="257"/>
            <ac:cxnSpMk id="6" creationId="{B897E8AD-01C1-4425-B43D-CA23EC7D727D}"/>
          </ac:cxnSpMkLst>
        </pc:cxnChg>
        <pc:cxnChg chg="add mod">
          <ac:chgData name="Carlos Reyes García" userId="8f106461-3865-4cda-a443-ca56f71f97d2" providerId="ADAL" clId="{D3EFDC9E-C770-4EC4-8A5A-B4E22FBE207B}" dt="2020-02-26T06:42:14.519" v="2426" actId="164"/>
          <ac:cxnSpMkLst>
            <pc:docMk/>
            <pc:sldMk cId="3235270007" sldId="257"/>
            <ac:cxnSpMk id="35" creationId="{0350A5C1-C1F4-4CF8-A0FF-DA6E9C661491}"/>
          </ac:cxnSpMkLst>
        </pc:cxnChg>
        <pc:cxnChg chg="add mod">
          <ac:chgData name="Carlos Reyes García" userId="8f106461-3865-4cda-a443-ca56f71f97d2" providerId="ADAL" clId="{D3EFDC9E-C770-4EC4-8A5A-B4E22FBE207B}" dt="2020-02-26T06:42:14.519" v="2426" actId="164"/>
          <ac:cxnSpMkLst>
            <pc:docMk/>
            <pc:sldMk cId="3235270007" sldId="257"/>
            <ac:cxnSpMk id="36" creationId="{43E510D2-EAE2-4DDC-B00E-C1D7407D07F6}"/>
          </ac:cxnSpMkLst>
        </pc:cxnChg>
      </pc:sldChg>
      <pc:sldChg chg="modSp mod modNotesTx">
        <pc:chgData name="Carlos Reyes García" userId="8f106461-3865-4cda-a443-ca56f71f97d2" providerId="ADAL" clId="{D3EFDC9E-C770-4EC4-8A5A-B4E22FBE207B}" dt="2020-02-26T23:52:46.866" v="3232" actId="20577"/>
        <pc:sldMkLst>
          <pc:docMk/>
          <pc:sldMk cId="4267675391" sldId="531"/>
        </pc:sldMkLst>
        <pc:spChg chg="mod">
          <ac:chgData name="Carlos Reyes García" userId="8f106461-3865-4cda-a443-ca56f71f97d2" providerId="ADAL" clId="{D3EFDC9E-C770-4EC4-8A5A-B4E22FBE207B}" dt="2020-02-26T23:49:48.496" v="3017" actId="20577"/>
          <ac:spMkLst>
            <pc:docMk/>
            <pc:sldMk cId="4267675391" sldId="531"/>
            <ac:spMk id="6" creationId="{637E159C-9ACF-48AE-927A-D5FB13695C7F}"/>
          </ac:spMkLst>
        </pc:spChg>
      </pc:sldChg>
      <pc:sldChg chg="addSp delSp">
        <pc:chgData name="Carlos Reyes García" userId="8f106461-3865-4cda-a443-ca56f71f97d2" providerId="ADAL" clId="{D3EFDC9E-C770-4EC4-8A5A-B4E22FBE207B}" dt="2020-02-26T06:53:28.187" v="2490"/>
        <pc:sldMkLst>
          <pc:docMk/>
          <pc:sldMk cId="2621600474" sldId="534"/>
        </pc:sldMkLst>
        <pc:spChg chg="add del">
          <ac:chgData name="Carlos Reyes García" userId="8f106461-3865-4cda-a443-ca56f71f97d2" providerId="ADAL" clId="{D3EFDC9E-C770-4EC4-8A5A-B4E22FBE207B}" dt="2020-02-26T06:53:28.187" v="2490"/>
          <ac:spMkLst>
            <pc:docMk/>
            <pc:sldMk cId="2621600474" sldId="534"/>
            <ac:spMk id="2" creationId="{221B9391-11E1-4C18-9A62-6D47AE9DDAB7}"/>
          </ac:spMkLst>
        </pc:spChg>
      </pc:sldChg>
      <pc:sldChg chg="addSp delSp modSp mod">
        <pc:chgData name="Carlos Reyes García" userId="8f106461-3865-4cda-a443-ca56f71f97d2" providerId="ADAL" clId="{D3EFDC9E-C770-4EC4-8A5A-B4E22FBE207B}" dt="2020-02-26T06:25:17.440" v="2394" actId="478"/>
        <pc:sldMkLst>
          <pc:docMk/>
          <pc:sldMk cId="3735096506" sldId="563"/>
        </pc:sldMkLst>
        <pc:graphicFrameChg chg="mod">
          <ac:chgData name="Carlos Reyes García" userId="8f106461-3865-4cda-a443-ca56f71f97d2" providerId="ADAL" clId="{D3EFDC9E-C770-4EC4-8A5A-B4E22FBE207B}" dt="2020-02-26T06:24:49.455" v="2392" actId="1035"/>
          <ac:graphicFrameMkLst>
            <pc:docMk/>
            <pc:sldMk cId="3735096506" sldId="563"/>
            <ac:graphicFrameMk id="3" creationId="{9484E1FE-7534-495E-863C-657A46F5E628}"/>
          </ac:graphicFrameMkLst>
        </pc:graphicFrameChg>
        <pc:graphicFrameChg chg="add del mod ord">
          <ac:chgData name="Carlos Reyes García" userId="8f106461-3865-4cda-a443-ca56f71f97d2" providerId="ADAL" clId="{D3EFDC9E-C770-4EC4-8A5A-B4E22FBE207B}" dt="2020-02-26T06:25:17.440" v="2394" actId="478"/>
          <ac:graphicFrameMkLst>
            <pc:docMk/>
            <pc:sldMk cId="3735096506" sldId="563"/>
            <ac:graphicFrameMk id="5" creationId="{D8AF2D2C-661E-443C-9BCB-6CA9BB9F0428}"/>
          </ac:graphicFrameMkLst>
        </pc:graphicFrameChg>
      </pc:sldChg>
      <pc:sldChg chg="modSp mod">
        <pc:chgData name="Carlos Reyes García" userId="8f106461-3865-4cda-a443-ca56f71f97d2" providerId="ADAL" clId="{D3EFDC9E-C770-4EC4-8A5A-B4E22FBE207B}" dt="2020-03-03T03:07:33.198" v="11719" actId="20577"/>
        <pc:sldMkLst>
          <pc:docMk/>
          <pc:sldMk cId="2034824179" sldId="565"/>
        </pc:sldMkLst>
        <pc:spChg chg="mod">
          <ac:chgData name="Carlos Reyes García" userId="8f106461-3865-4cda-a443-ca56f71f97d2" providerId="ADAL" clId="{D3EFDC9E-C770-4EC4-8A5A-B4E22FBE207B}" dt="2020-03-03T03:07:33.198" v="11719" actId="20577"/>
          <ac:spMkLst>
            <pc:docMk/>
            <pc:sldMk cId="2034824179" sldId="565"/>
            <ac:spMk id="5" creationId="{55182462-DFDF-4D48-A92C-42FD52821C4E}"/>
          </ac:spMkLst>
        </pc:spChg>
      </pc:sldChg>
      <pc:sldChg chg="addSp delSp modSp mod modNotesTx">
        <pc:chgData name="Carlos Reyes García" userId="8f106461-3865-4cda-a443-ca56f71f97d2" providerId="ADAL" clId="{D3EFDC9E-C770-4EC4-8A5A-B4E22FBE207B}" dt="2020-03-03T05:35:29.012" v="12638" actId="20577"/>
        <pc:sldMkLst>
          <pc:docMk/>
          <pc:sldMk cId="4221783869" sldId="566"/>
        </pc:sldMkLst>
        <pc:spChg chg="mod">
          <ac:chgData name="Carlos Reyes García" userId="8f106461-3865-4cda-a443-ca56f71f97d2" providerId="ADAL" clId="{D3EFDC9E-C770-4EC4-8A5A-B4E22FBE207B}" dt="2020-03-03T03:11:38.185" v="11734" actId="20577"/>
          <ac:spMkLst>
            <pc:docMk/>
            <pc:sldMk cId="4221783869" sldId="566"/>
            <ac:spMk id="2" creationId="{EB67312A-9819-43C6-8D84-D9136E6CFFCC}"/>
          </ac:spMkLst>
        </pc:spChg>
        <pc:spChg chg="del mod">
          <ac:chgData name="Carlos Reyes García" userId="8f106461-3865-4cda-a443-ca56f71f97d2" providerId="ADAL" clId="{D3EFDC9E-C770-4EC4-8A5A-B4E22FBE207B}" dt="2020-03-03T03:13:14.459" v="11750" actId="12084"/>
          <ac:spMkLst>
            <pc:docMk/>
            <pc:sldMk cId="4221783869" sldId="566"/>
            <ac:spMk id="4" creationId="{F3616A99-090F-45E1-9334-58D58B148205}"/>
          </ac:spMkLst>
        </pc:spChg>
        <pc:graphicFrameChg chg="add mod">
          <ac:chgData name="Carlos Reyes García" userId="8f106461-3865-4cda-a443-ca56f71f97d2" providerId="ADAL" clId="{D3EFDC9E-C770-4EC4-8A5A-B4E22FBE207B}" dt="2020-03-03T05:34:40.897" v="12635" actId="20577"/>
          <ac:graphicFrameMkLst>
            <pc:docMk/>
            <pc:sldMk cId="4221783869" sldId="566"/>
            <ac:graphicFrameMk id="5" creationId="{C1363F5E-683B-4FEB-B13E-3D9A4DF29C81}"/>
          </ac:graphicFrameMkLst>
        </pc:graphicFrameChg>
      </pc:sldChg>
      <pc:sldChg chg="modSp mod modNotesTx">
        <pc:chgData name="Carlos Reyes García" userId="8f106461-3865-4cda-a443-ca56f71f97d2" providerId="ADAL" clId="{D3EFDC9E-C770-4EC4-8A5A-B4E22FBE207B}" dt="2020-03-03T06:48:32.578" v="13143" actId="20577"/>
        <pc:sldMkLst>
          <pc:docMk/>
          <pc:sldMk cId="670385602" sldId="567"/>
        </pc:sldMkLst>
        <pc:spChg chg="mod">
          <ac:chgData name="Carlos Reyes García" userId="8f106461-3865-4cda-a443-ca56f71f97d2" providerId="ADAL" clId="{D3EFDC9E-C770-4EC4-8A5A-B4E22FBE207B}" dt="2020-03-03T04:06:53.542" v="12248" actId="20577"/>
          <ac:spMkLst>
            <pc:docMk/>
            <pc:sldMk cId="670385602" sldId="567"/>
            <ac:spMk id="6" creationId="{637E159C-9ACF-48AE-927A-D5FB13695C7F}"/>
          </ac:spMkLst>
        </pc:spChg>
      </pc:sldChg>
      <pc:sldChg chg="modSp mod">
        <pc:chgData name="Carlos Reyes García" userId="8f106461-3865-4cda-a443-ca56f71f97d2" providerId="ADAL" clId="{D3EFDC9E-C770-4EC4-8A5A-B4E22FBE207B}" dt="2020-03-03T04:08:02.394" v="12317" actId="20577"/>
        <pc:sldMkLst>
          <pc:docMk/>
          <pc:sldMk cId="2147177822" sldId="568"/>
        </pc:sldMkLst>
        <pc:spChg chg="mod">
          <ac:chgData name="Carlos Reyes García" userId="8f106461-3865-4cda-a443-ca56f71f97d2" providerId="ADAL" clId="{D3EFDC9E-C770-4EC4-8A5A-B4E22FBE207B}" dt="2020-03-03T04:08:02.394" v="12317" actId="20577"/>
          <ac:spMkLst>
            <pc:docMk/>
            <pc:sldMk cId="2147177822" sldId="568"/>
            <ac:spMk id="2" creationId="{BC57B38C-8413-4861-A4F5-7DF656AEAD0D}"/>
          </ac:spMkLst>
        </pc:spChg>
      </pc:sldChg>
      <pc:sldChg chg="modSp modNotesTx">
        <pc:chgData name="Carlos Reyes García" userId="8f106461-3865-4cda-a443-ca56f71f97d2" providerId="ADAL" clId="{D3EFDC9E-C770-4EC4-8A5A-B4E22FBE207B}" dt="2020-03-03T05:31:59.084" v="12617" actId="20577"/>
        <pc:sldMkLst>
          <pc:docMk/>
          <pc:sldMk cId="2346840044" sldId="570"/>
        </pc:sldMkLst>
        <pc:graphicFrameChg chg="mod">
          <ac:chgData name="Carlos Reyes García" userId="8f106461-3865-4cda-a443-ca56f71f97d2" providerId="ADAL" clId="{D3EFDC9E-C770-4EC4-8A5A-B4E22FBE207B}" dt="2020-03-03T05:31:36.278" v="12600" actId="20577"/>
          <ac:graphicFrameMkLst>
            <pc:docMk/>
            <pc:sldMk cId="2346840044" sldId="570"/>
            <ac:graphicFrameMk id="3" creationId="{9484E1FE-7534-495E-863C-657A46F5E628}"/>
          </ac:graphicFrameMkLst>
        </pc:graphicFrameChg>
      </pc:sldChg>
      <pc:sldChg chg="del">
        <pc:chgData name="Carlos Reyes García" userId="8f106461-3865-4cda-a443-ca56f71f97d2" providerId="ADAL" clId="{D3EFDC9E-C770-4EC4-8A5A-B4E22FBE207B}" dt="2020-03-03T05:59:15.629" v="12746" actId="47"/>
        <pc:sldMkLst>
          <pc:docMk/>
          <pc:sldMk cId="4248838292" sldId="573"/>
        </pc:sldMkLst>
      </pc:sldChg>
      <pc:sldChg chg="modSp modNotesTx">
        <pc:chgData name="Carlos Reyes García" userId="8f106461-3865-4cda-a443-ca56f71f97d2" providerId="ADAL" clId="{D3EFDC9E-C770-4EC4-8A5A-B4E22FBE207B}" dt="2020-03-03T08:43:03.298" v="14301" actId="20577"/>
        <pc:sldMkLst>
          <pc:docMk/>
          <pc:sldMk cId="1487953619" sldId="574"/>
        </pc:sldMkLst>
        <pc:spChg chg="mod">
          <ac:chgData name="Carlos Reyes García" userId="8f106461-3865-4cda-a443-ca56f71f97d2" providerId="ADAL" clId="{D3EFDC9E-C770-4EC4-8A5A-B4E22FBE207B}" dt="2020-03-03T06:01:04.172" v="12748"/>
          <ac:spMkLst>
            <pc:docMk/>
            <pc:sldMk cId="1487953619" sldId="574"/>
            <ac:spMk id="6" creationId="{637E159C-9ACF-48AE-927A-D5FB13695C7F}"/>
          </ac:spMkLst>
        </pc:spChg>
      </pc:sldChg>
      <pc:sldChg chg="modSp">
        <pc:chgData name="Carlos Reyes García" userId="8f106461-3865-4cda-a443-ca56f71f97d2" providerId="ADAL" clId="{D3EFDC9E-C770-4EC4-8A5A-B4E22FBE207B}" dt="2020-03-03T06:01:06.271" v="12749"/>
        <pc:sldMkLst>
          <pc:docMk/>
          <pc:sldMk cId="3563492871" sldId="575"/>
        </pc:sldMkLst>
        <pc:spChg chg="mod">
          <ac:chgData name="Carlos Reyes García" userId="8f106461-3865-4cda-a443-ca56f71f97d2" providerId="ADAL" clId="{D3EFDC9E-C770-4EC4-8A5A-B4E22FBE207B}" dt="2020-03-03T06:01:06.271" v="12749"/>
          <ac:spMkLst>
            <pc:docMk/>
            <pc:sldMk cId="3563492871" sldId="575"/>
            <ac:spMk id="2" creationId="{BC57B38C-8413-4861-A4F5-7DF656AEAD0D}"/>
          </ac:spMkLst>
        </pc:spChg>
      </pc:sldChg>
      <pc:sldChg chg="modSp">
        <pc:chgData name="Carlos Reyes García" userId="8f106461-3865-4cda-a443-ca56f71f97d2" providerId="ADAL" clId="{D3EFDC9E-C770-4EC4-8A5A-B4E22FBE207B}" dt="2020-03-03T06:04:07.056" v="12993" actId="403"/>
        <pc:sldMkLst>
          <pc:docMk/>
          <pc:sldMk cId="4206133277" sldId="577"/>
        </pc:sldMkLst>
        <pc:graphicFrameChg chg="mod">
          <ac:chgData name="Carlos Reyes García" userId="8f106461-3865-4cda-a443-ca56f71f97d2" providerId="ADAL" clId="{D3EFDC9E-C770-4EC4-8A5A-B4E22FBE207B}" dt="2020-03-03T06:04:07.056" v="12993" actId="403"/>
          <ac:graphicFrameMkLst>
            <pc:docMk/>
            <pc:sldMk cId="4206133277" sldId="577"/>
            <ac:graphicFrameMk id="3" creationId="{9484E1FE-7534-495E-863C-657A46F5E628}"/>
          </ac:graphicFrameMkLst>
        </pc:graphicFrameChg>
      </pc:sldChg>
      <pc:sldChg chg="modSp mod">
        <pc:chgData name="Carlos Reyes García" userId="8f106461-3865-4cda-a443-ca56f71f97d2" providerId="ADAL" clId="{D3EFDC9E-C770-4EC4-8A5A-B4E22FBE207B}" dt="2020-02-27T02:29:33.230" v="5240" actId="20577"/>
        <pc:sldMkLst>
          <pc:docMk/>
          <pc:sldMk cId="3424530645" sldId="579"/>
        </pc:sldMkLst>
        <pc:spChg chg="mod">
          <ac:chgData name="Carlos Reyes García" userId="8f106461-3865-4cda-a443-ca56f71f97d2" providerId="ADAL" clId="{D3EFDC9E-C770-4EC4-8A5A-B4E22FBE207B}" dt="2020-02-27T02:29:33.230" v="5240" actId="20577"/>
          <ac:spMkLst>
            <pc:docMk/>
            <pc:sldMk cId="3424530645" sldId="579"/>
            <ac:spMk id="5" creationId="{55182462-DFDF-4D48-A92C-42FD52821C4E}"/>
          </ac:spMkLst>
        </pc:spChg>
      </pc:sldChg>
      <pc:sldChg chg="addSp delSp modSp mod setBg modClrScheme chgLayout modNotesTx">
        <pc:chgData name="Carlos Reyes García" userId="8f106461-3865-4cda-a443-ca56f71f97d2" providerId="ADAL" clId="{D3EFDC9E-C770-4EC4-8A5A-B4E22FBE207B}" dt="2020-02-28T22:11:13.970" v="8130" actId="20577"/>
        <pc:sldMkLst>
          <pc:docMk/>
          <pc:sldMk cId="2551646555" sldId="580"/>
        </pc:sldMkLst>
        <pc:spChg chg="mod">
          <ac:chgData name="Carlos Reyes García" userId="8f106461-3865-4cda-a443-ca56f71f97d2" providerId="ADAL" clId="{D3EFDC9E-C770-4EC4-8A5A-B4E22FBE207B}" dt="2020-02-27T02:44:39.037" v="5376" actId="26606"/>
          <ac:spMkLst>
            <pc:docMk/>
            <pc:sldMk cId="2551646555" sldId="580"/>
            <ac:spMk id="2" creationId="{EB67312A-9819-43C6-8D84-D9136E6CFFCC}"/>
          </ac:spMkLst>
        </pc:spChg>
        <pc:spChg chg="add del">
          <ac:chgData name="Carlos Reyes García" userId="8f106461-3865-4cda-a443-ca56f71f97d2" providerId="ADAL" clId="{D3EFDC9E-C770-4EC4-8A5A-B4E22FBE207B}" dt="2020-02-27T02:44:39.037" v="5376" actId="26606"/>
          <ac:spMkLst>
            <pc:docMk/>
            <pc:sldMk cId="2551646555" sldId="580"/>
            <ac:spMk id="3" creationId="{F35E8CBB-5A7D-4DEF-BAF7-8DD5D042F9E0}"/>
          </ac:spMkLst>
        </pc:spChg>
        <pc:spChg chg="mod">
          <ac:chgData name="Carlos Reyes García" userId="8f106461-3865-4cda-a443-ca56f71f97d2" providerId="ADAL" clId="{D3EFDC9E-C770-4EC4-8A5A-B4E22FBE207B}" dt="2020-02-28T22:11:13.970" v="8130" actId="20577"/>
          <ac:spMkLst>
            <pc:docMk/>
            <pc:sldMk cId="2551646555" sldId="580"/>
            <ac:spMk id="4" creationId="{F3616A99-090F-45E1-9334-58D58B148205}"/>
          </ac:spMkLst>
        </pc:spChg>
        <pc:spChg chg="add del">
          <ac:chgData name="Carlos Reyes García" userId="8f106461-3865-4cda-a443-ca56f71f97d2" providerId="ADAL" clId="{D3EFDC9E-C770-4EC4-8A5A-B4E22FBE207B}" dt="2020-02-27T02:54:05.206" v="5396" actId="12084"/>
          <ac:spMkLst>
            <pc:docMk/>
            <pc:sldMk cId="2551646555" sldId="580"/>
            <ac:spMk id="5" creationId="{7FCA427D-3062-4BD2-835C-0F9DEEEEE307}"/>
          </ac:spMkLst>
        </pc:spChg>
        <pc:graphicFrameChg chg="add mod">
          <ac:chgData name="Carlos Reyes García" userId="8f106461-3865-4cda-a443-ca56f71f97d2" providerId="ADAL" clId="{D3EFDC9E-C770-4EC4-8A5A-B4E22FBE207B}" dt="2020-02-28T22:10:47.767" v="8128" actId="12100"/>
          <ac:graphicFrameMkLst>
            <pc:docMk/>
            <pc:sldMk cId="2551646555" sldId="580"/>
            <ac:graphicFrameMk id="6" creationId="{CAFD2B46-67E6-4F2A-A5F8-EF0F2B9B7060}"/>
          </ac:graphicFrameMkLst>
        </pc:graphicFrameChg>
        <pc:picChg chg="add del mod">
          <ac:chgData name="Carlos Reyes García" userId="8f106461-3865-4cda-a443-ca56f71f97d2" providerId="ADAL" clId="{D3EFDC9E-C770-4EC4-8A5A-B4E22FBE207B}" dt="2020-02-27T02:33:51.767" v="5278" actId="478"/>
          <ac:picMkLst>
            <pc:docMk/>
            <pc:sldMk cId="2551646555" sldId="580"/>
            <ac:picMk id="1026" creationId="{C9C765D5-5964-4A03-89B3-24640C2EF5D4}"/>
          </ac:picMkLst>
        </pc:picChg>
        <pc:picChg chg="add del mod">
          <ac:chgData name="Carlos Reyes García" userId="8f106461-3865-4cda-a443-ca56f71f97d2" providerId="ADAL" clId="{D3EFDC9E-C770-4EC4-8A5A-B4E22FBE207B}" dt="2020-02-27T02:34:09.002" v="5282" actId="478"/>
          <ac:picMkLst>
            <pc:docMk/>
            <pc:sldMk cId="2551646555" sldId="580"/>
            <ac:picMk id="1028" creationId="{E6B71EC5-2C8F-4127-8FB3-AE355D30BC92}"/>
          </ac:picMkLst>
        </pc:picChg>
        <pc:picChg chg="add mod">
          <ac:chgData name="Carlos Reyes García" userId="8f106461-3865-4cda-a443-ca56f71f97d2" providerId="ADAL" clId="{D3EFDC9E-C770-4EC4-8A5A-B4E22FBE207B}" dt="2020-02-27T02:44:44.994" v="5378" actId="1076"/>
          <ac:picMkLst>
            <pc:docMk/>
            <pc:sldMk cId="2551646555" sldId="580"/>
            <ac:picMk id="1030" creationId="{3AF0B53A-9956-46C9-AE8C-3193F1A3B5A3}"/>
          </ac:picMkLst>
        </pc:picChg>
      </pc:sldChg>
      <pc:sldChg chg="modSp mod modNotesTx">
        <pc:chgData name="Carlos Reyes García" userId="8f106461-3865-4cda-a443-ca56f71f97d2" providerId="ADAL" clId="{D3EFDC9E-C770-4EC4-8A5A-B4E22FBE207B}" dt="2020-02-27T18:44:50.900" v="5437" actId="20577"/>
        <pc:sldMkLst>
          <pc:docMk/>
          <pc:sldMk cId="3006523152" sldId="581"/>
        </pc:sldMkLst>
        <pc:spChg chg="mod">
          <ac:chgData name="Carlos Reyes García" userId="8f106461-3865-4cda-a443-ca56f71f97d2" providerId="ADAL" clId="{D3EFDC9E-C770-4EC4-8A5A-B4E22FBE207B}" dt="2020-02-27T02:47:17.073" v="5385" actId="20577"/>
          <ac:spMkLst>
            <pc:docMk/>
            <pc:sldMk cId="3006523152" sldId="581"/>
            <ac:spMk id="6" creationId="{637E159C-9ACF-48AE-927A-D5FB13695C7F}"/>
          </ac:spMkLst>
        </pc:spChg>
      </pc:sldChg>
      <pc:sldChg chg="del">
        <pc:chgData name="Carlos Reyes García" userId="8f106461-3865-4cda-a443-ca56f71f97d2" providerId="ADAL" clId="{D3EFDC9E-C770-4EC4-8A5A-B4E22FBE207B}" dt="2020-02-27T02:47:26.431" v="5387" actId="47"/>
        <pc:sldMkLst>
          <pc:docMk/>
          <pc:sldMk cId="1528516655" sldId="582"/>
        </pc:sldMkLst>
      </pc:sldChg>
      <pc:sldChg chg="modSp modNotesTx">
        <pc:chgData name="Carlos Reyes García" userId="8f106461-3865-4cda-a443-ca56f71f97d2" providerId="ADAL" clId="{D3EFDC9E-C770-4EC4-8A5A-B4E22FBE207B}" dt="2020-02-27T21:11:53.480" v="6830" actId="20577"/>
        <pc:sldMkLst>
          <pc:docMk/>
          <pc:sldMk cId="2444463328" sldId="584"/>
        </pc:sldMkLst>
        <pc:graphicFrameChg chg="mod">
          <ac:chgData name="Carlos Reyes García" userId="8f106461-3865-4cda-a443-ca56f71f97d2" providerId="ADAL" clId="{D3EFDC9E-C770-4EC4-8A5A-B4E22FBE207B}" dt="2020-02-27T21:09:58.325" v="6771" actId="20577"/>
          <ac:graphicFrameMkLst>
            <pc:docMk/>
            <pc:sldMk cId="2444463328" sldId="584"/>
            <ac:graphicFrameMk id="3" creationId="{9484E1FE-7534-495E-863C-657A46F5E628}"/>
          </ac:graphicFrameMkLst>
        </pc:graphicFrameChg>
      </pc:sldChg>
      <pc:sldChg chg="modSp mod">
        <pc:chgData name="Carlos Reyes García" userId="8f106461-3865-4cda-a443-ca56f71f97d2" providerId="ADAL" clId="{D3EFDC9E-C770-4EC4-8A5A-B4E22FBE207B}" dt="2020-02-26T06:47:15.117" v="2459" actId="20577"/>
        <pc:sldMkLst>
          <pc:docMk/>
          <pc:sldMk cId="1635185343" sldId="587"/>
        </pc:sldMkLst>
        <pc:spChg chg="mod">
          <ac:chgData name="Carlos Reyes García" userId="8f106461-3865-4cda-a443-ca56f71f97d2" providerId="ADAL" clId="{D3EFDC9E-C770-4EC4-8A5A-B4E22FBE207B}" dt="2020-02-26T06:47:15.117" v="2459" actId="20577"/>
          <ac:spMkLst>
            <pc:docMk/>
            <pc:sldMk cId="1635185343" sldId="587"/>
            <ac:spMk id="2" creationId="{EB67312A-9819-43C6-8D84-D9136E6CFFCC}"/>
          </ac:spMkLst>
        </pc:spChg>
      </pc:sldChg>
      <pc:sldChg chg="modSp mod modNotesTx">
        <pc:chgData name="Carlos Reyes García" userId="8f106461-3865-4cda-a443-ca56f71f97d2" providerId="ADAL" clId="{D3EFDC9E-C770-4EC4-8A5A-B4E22FBE207B}" dt="2020-02-26T00:36:12.529" v="917" actId="20577"/>
        <pc:sldMkLst>
          <pc:docMk/>
          <pc:sldMk cId="1564438252" sldId="588"/>
        </pc:sldMkLst>
        <pc:spChg chg="mod">
          <ac:chgData name="Carlos Reyes García" userId="8f106461-3865-4cda-a443-ca56f71f97d2" providerId="ADAL" clId="{D3EFDC9E-C770-4EC4-8A5A-B4E22FBE207B}" dt="2020-02-26T00:35:48.501" v="863" actId="20577"/>
          <ac:spMkLst>
            <pc:docMk/>
            <pc:sldMk cId="1564438252" sldId="588"/>
            <ac:spMk id="6" creationId="{637E159C-9ACF-48AE-927A-D5FB13695C7F}"/>
          </ac:spMkLst>
        </pc:spChg>
      </pc:sldChg>
      <pc:sldChg chg="del">
        <pc:chgData name="Carlos Reyes García" userId="8f106461-3865-4cda-a443-ca56f71f97d2" providerId="ADAL" clId="{D3EFDC9E-C770-4EC4-8A5A-B4E22FBE207B}" dt="2020-02-26T05:58:29.873" v="1775" actId="47"/>
        <pc:sldMkLst>
          <pc:docMk/>
          <pc:sldMk cId="2725246263" sldId="589"/>
        </pc:sldMkLst>
      </pc:sldChg>
      <pc:sldChg chg="modSp modNotesTx">
        <pc:chgData name="Carlos Reyes García" userId="8f106461-3865-4cda-a443-ca56f71f97d2" providerId="ADAL" clId="{D3EFDC9E-C770-4EC4-8A5A-B4E22FBE207B}" dt="2020-02-26T06:07:55.923" v="2289" actId="20577"/>
        <pc:sldMkLst>
          <pc:docMk/>
          <pc:sldMk cId="1737290916" sldId="591"/>
        </pc:sldMkLst>
        <pc:graphicFrameChg chg="mod">
          <ac:chgData name="Carlos Reyes García" userId="8f106461-3865-4cda-a443-ca56f71f97d2" providerId="ADAL" clId="{D3EFDC9E-C770-4EC4-8A5A-B4E22FBE207B}" dt="2020-02-26T06:07:50.641" v="2288" actId="20577"/>
          <ac:graphicFrameMkLst>
            <pc:docMk/>
            <pc:sldMk cId="1737290916" sldId="591"/>
            <ac:graphicFrameMk id="3" creationId="{9484E1FE-7534-495E-863C-657A46F5E628}"/>
          </ac:graphicFrameMkLst>
        </pc:graphicFrameChg>
      </pc:sldChg>
      <pc:sldChg chg="modSp mod">
        <pc:chgData name="Carlos Reyes García" userId="8f106461-3865-4cda-a443-ca56f71f97d2" providerId="ADAL" clId="{D3EFDC9E-C770-4EC4-8A5A-B4E22FBE207B}" dt="2020-02-27T21:02:00.023" v="6658" actId="20577"/>
        <pc:sldMkLst>
          <pc:docMk/>
          <pc:sldMk cId="1849063011" sldId="593"/>
        </pc:sldMkLst>
        <pc:spChg chg="mod">
          <ac:chgData name="Carlos Reyes García" userId="8f106461-3865-4cda-a443-ca56f71f97d2" providerId="ADAL" clId="{D3EFDC9E-C770-4EC4-8A5A-B4E22FBE207B}" dt="2020-02-27T21:02:00.023" v="6658" actId="20577"/>
          <ac:spMkLst>
            <pc:docMk/>
            <pc:sldMk cId="1849063011" sldId="593"/>
            <ac:spMk id="5" creationId="{55182462-DFDF-4D48-A92C-42FD52821C4E}"/>
          </ac:spMkLst>
        </pc:spChg>
      </pc:sldChg>
      <pc:sldChg chg="addSp delSp modSp del mod">
        <pc:chgData name="Carlos Reyes García" userId="8f106461-3865-4cda-a443-ca56f71f97d2" providerId="ADAL" clId="{D3EFDC9E-C770-4EC4-8A5A-B4E22FBE207B}" dt="2020-02-28T22:08:53.949" v="8127" actId="47"/>
        <pc:sldMkLst>
          <pc:docMk/>
          <pc:sldMk cId="512892420" sldId="594"/>
        </pc:sldMkLst>
        <pc:spChg chg="mod">
          <ac:chgData name="Carlos Reyes García" userId="8f106461-3865-4cda-a443-ca56f71f97d2" providerId="ADAL" clId="{D3EFDC9E-C770-4EC4-8A5A-B4E22FBE207B}" dt="2020-02-27T21:02:14.850" v="6659"/>
          <ac:spMkLst>
            <pc:docMk/>
            <pc:sldMk cId="512892420" sldId="594"/>
            <ac:spMk id="2" creationId="{EB67312A-9819-43C6-8D84-D9136E6CFFCC}"/>
          </ac:spMkLst>
        </pc:spChg>
        <pc:spChg chg="mod">
          <ac:chgData name="Carlos Reyes García" userId="8f106461-3865-4cda-a443-ca56f71f97d2" providerId="ADAL" clId="{D3EFDC9E-C770-4EC4-8A5A-B4E22FBE207B}" dt="2020-02-27T21:02:33.044" v="6664" actId="20577"/>
          <ac:spMkLst>
            <pc:docMk/>
            <pc:sldMk cId="512892420" sldId="594"/>
            <ac:spMk id="4" creationId="{F3616A99-090F-45E1-9334-58D58B148205}"/>
          </ac:spMkLst>
        </pc:spChg>
        <pc:spChg chg="add del">
          <ac:chgData name="Carlos Reyes García" userId="8f106461-3865-4cda-a443-ca56f71f97d2" providerId="ADAL" clId="{D3EFDC9E-C770-4EC4-8A5A-B4E22FBE207B}" dt="2020-02-27T21:02:37.303" v="6666" actId="12084"/>
          <ac:spMkLst>
            <pc:docMk/>
            <pc:sldMk cId="512892420" sldId="594"/>
            <ac:spMk id="5" creationId="{477A5F74-3D0A-4A58-86A4-87246B8A9FBB}"/>
          </ac:spMkLst>
        </pc:spChg>
        <pc:graphicFrameChg chg="add mod">
          <ac:chgData name="Carlos Reyes García" userId="8f106461-3865-4cda-a443-ca56f71f97d2" providerId="ADAL" clId="{D3EFDC9E-C770-4EC4-8A5A-B4E22FBE207B}" dt="2020-02-27T21:02:55.855" v="6671" actId="14100"/>
          <ac:graphicFrameMkLst>
            <pc:docMk/>
            <pc:sldMk cId="512892420" sldId="594"/>
            <ac:graphicFrameMk id="6" creationId="{D8A7FE85-3EDB-457A-8E5A-6E7DE50F4381}"/>
          </ac:graphicFrameMkLst>
        </pc:graphicFrameChg>
      </pc:sldChg>
      <pc:sldChg chg="modSp modNotesTx">
        <pc:chgData name="Carlos Reyes García" userId="8f106461-3865-4cda-a443-ca56f71f97d2" providerId="ADAL" clId="{D3EFDC9E-C770-4EC4-8A5A-B4E22FBE207B}" dt="2020-02-28T00:18:42.369" v="7047" actId="20577"/>
        <pc:sldMkLst>
          <pc:docMk/>
          <pc:sldMk cId="1064848225" sldId="595"/>
        </pc:sldMkLst>
        <pc:spChg chg="mod">
          <ac:chgData name="Carlos Reyes García" userId="8f106461-3865-4cda-a443-ca56f71f97d2" providerId="ADAL" clId="{D3EFDC9E-C770-4EC4-8A5A-B4E22FBE207B}" dt="2020-02-27T22:23:54.507" v="6897"/>
          <ac:spMkLst>
            <pc:docMk/>
            <pc:sldMk cId="1064848225" sldId="595"/>
            <ac:spMk id="6" creationId="{637E159C-9ACF-48AE-927A-D5FB13695C7F}"/>
          </ac:spMkLst>
        </pc:spChg>
      </pc:sldChg>
      <pc:sldChg chg="del">
        <pc:chgData name="Carlos Reyes García" userId="8f106461-3865-4cda-a443-ca56f71f97d2" providerId="ADAL" clId="{D3EFDC9E-C770-4EC4-8A5A-B4E22FBE207B}" dt="2020-02-27T22:26:15.260" v="6901" actId="47"/>
        <pc:sldMkLst>
          <pc:docMk/>
          <pc:sldMk cId="1274964080" sldId="596"/>
        </pc:sldMkLst>
      </pc:sldChg>
      <pc:sldChg chg="modSp modNotesTx">
        <pc:chgData name="Carlos Reyes García" userId="8f106461-3865-4cda-a443-ca56f71f97d2" providerId="ADAL" clId="{D3EFDC9E-C770-4EC4-8A5A-B4E22FBE207B}" dt="2020-03-03T02:58:08.715" v="11615" actId="20577"/>
        <pc:sldMkLst>
          <pc:docMk/>
          <pc:sldMk cId="1731718220" sldId="598"/>
        </pc:sldMkLst>
        <pc:graphicFrameChg chg="mod">
          <ac:chgData name="Carlos Reyes García" userId="8f106461-3865-4cda-a443-ca56f71f97d2" providerId="ADAL" clId="{D3EFDC9E-C770-4EC4-8A5A-B4E22FBE207B}" dt="2020-02-27T22:51:34.917" v="7033" actId="14100"/>
          <ac:graphicFrameMkLst>
            <pc:docMk/>
            <pc:sldMk cId="1731718220" sldId="598"/>
            <ac:graphicFrameMk id="3" creationId="{9484E1FE-7534-495E-863C-657A46F5E628}"/>
          </ac:graphicFrameMkLst>
        </pc:graphicFrameChg>
      </pc:sldChg>
      <pc:sldChg chg="modSp mod">
        <pc:chgData name="Carlos Reyes García" userId="8f106461-3865-4cda-a443-ca56f71f97d2" providerId="ADAL" clId="{D3EFDC9E-C770-4EC4-8A5A-B4E22FBE207B}" dt="2020-02-29T01:28:55.709" v="9389" actId="20577"/>
        <pc:sldMkLst>
          <pc:docMk/>
          <pc:sldMk cId="247321886" sldId="600"/>
        </pc:sldMkLst>
        <pc:spChg chg="mod">
          <ac:chgData name="Carlos Reyes García" userId="8f106461-3865-4cda-a443-ca56f71f97d2" providerId="ADAL" clId="{D3EFDC9E-C770-4EC4-8A5A-B4E22FBE207B}" dt="2020-02-29T01:28:55.709" v="9389" actId="20577"/>
          <ac:spMkLst>
            <pc:docMk/>
            <pc:sldMk cId="247321886" sldId="600"/>
            <ac:spMk id="5" creationId="{55182462-DFDF-4D48-A92C-42FD52821C4E}"/>
          </ac:spMkLst>
        </pc:spChg>
      </pc:sldChg>
      <pc:sldChg chg="addSp delSp modSp del mod modNotesTx">
        <pc:chgData name="Carlos Reyes García" userId="8f106461-3865-4cda-a443-ca56f71f97d2" providerId="ADAL" clId="{D3EFDC9E-C770-4EC4-8A5A-B4E22FBE207B}" dt="2020-02-29T00:22:56.206" v="8954" actId="47"/>
        <pc:sldMkLst>
          <pc:docMk/>
          <pc:sldMk cId="3908502129" sldId="601"/>
        </pc:sldMkLst>
        <pc:spChg chg="mod">
          <ac:chgData name="Carlos Reyes García" userId="8f106461-3865-4cda-a443-ca56f71f97d2" providerId="ADAL" clId="{D3EFDC9E-C770-4EC4-8A5A-B4E22FBE207B}" dt="2020-02-28T21:10:25.160" v="7655" actId="20577"/>
          <ac:spMkLst>
            <pc:docMk/>
            <pc:sldMk cId="3908502129" sldId="601"/>
            <ac:spMk id="2" creationId="{EB67312A-9819-43C6-8D84-D9136E6CFFCC}"/>
          </ac:spMkLst>
        </pc:spChg>
        <pc:spChg chg="del mod">
          <ac:chgData name="Carlos Reyes García" userId="8f106461-3865-4cda-a443-ca56f71f97d2" providerId="ADAL" clId="{D3EFDC9E-C770-4EC4-8A5A-B4E22FBE207B}" dt="2020-02-28T21:59:37.146" v="8030" actId="12084"/>
          <ac:spMkLst>
            <pc:docMk/>
            <pc:sldMk cId="3908502129" sldId="601"/>
            <ac:spMk id="4" creationId="{F3616A99-090F-45E1-9334-58D58B148205}"/>
          </ac:spMkLst>
        </pc:spChg>
        <pc:spChg chg="add del">
          <ac:chgData name="Carlos Reyes García" userId="8f106461-3865-4cda-a443-ca56f71f97d2" providerId="ADAL" clId="{D3EFDC9E-C770-4EC4-8A5A-B4E22FBE207B}" dt="2020-02-28T21:14:00.395" v="7716"/>
          <ac:spMkLst>
            <pc:docMk/>
            <pc:sldMk cId="3908502129" sldId="601"/>
            <ac:spMk id="5" creationId="{E45CC553-08DC-434C-A4C2-0C528AF93CC5}"/>
          </ac:spMkLst>
        </pc:spChg>
        <pc:spChg chg="add mod">
          <ac:chgData name="Carlos Reyes García" userId="8f106461-3865-4cda-a443-ca56f71f97d2" providerId="ADAL" clId="{D3EFDC9E-C770-4EC4-8A5A-B4E22FBE207B}" dt="2020-02-29T00:22:52.510" v="8953" actId="20577"/>
          <ac:spMkLst>
            <pc:docMk/>
            <pc:sldMk cId="3908502129" sldId="601"/>
            <ac:spMk id="8" creationId="{0F792000-16B3-470D-90A5-F4BBAE9233A4}"/>
          </ac:spMkLst>
        </pc:spChg>
        <pc:graphicFrameChg chg="add del mod">
          <ac:chgData name="Carlos Reyes García" userId="8f106461-3865-4cda-a443-ca56f71f97d2" providerId="ADAL" clId="{D3EFDC9E-C770-4EC4-8A5A-B4E22FBE207B}" dt="2020-02-28T21:13:59.997" v="7715" actId="12084"/>
          <ac:graphicFrameMkLst>
            <pc:docMk/>
            <pc:sldMk cId="3908502129" sldId="601"/>
            <ac:graphicFrameMk id="6" creationId="{F7CDED5C-CBA0-46B1-85A6-F557B380418E}"/>
          </ac:graphicFrameMkLst>
        </pc:graphicFrameChg>
        <pc:graphicFrameChg chg="add del mod">
          <ac:chgData name="Carlos Reyes García" userId="8f106461-3865-4cda-a443-ca56f71f97d2" providerId="ADAL" clId="{D3EFDC9E-C770-4EC4-8A5A-B4E22FBE207B}" dt="2020-02-29T00:11:27.399" v="8701" actId="11529"/>
          <ac:graphicFrameMkLst>
            <pc:docMk/>
            <pc:sldMk cId="3908502129" sldId="601"/>
            <ac:graphicFrameMk id="7" creationId="{FC3A6627-FE1C-4B5A-B103-2D6937562B38}"/>
          </ac:graphicFrameMkLst>
        </pc:graphicFrameChg>
      </pc:sldChg>
      <pc:sldChg chg="modSp mod modNotesTx">
        <pc:chgData name="Carlos Reyes García" userId="8f106461-3865-4cda-a443-ca56f71f97d2" providerId="ADAL" clId="{D3EFDC9E-C770-4EC4-8A5A-B4E22FBE207B}" dt="2020-02-29T05:28:44.373" v="9426" actId="20577"/>
        <pc:sldMkLst>
          <pc:docMk/>
          <pc:sldMk cId="1466982777" sldId="602"/>
        </pc:sldMkLst>
        <pc:spChg chg="mod">
          <ac:chgData name="Carlos Reyes García" userId="8f106461-3865-4cda-a443-ca56f71f97d2" providerId="ADAL" clId="{D3EFDC9E-C770-4EC4-8A5A-B4E22FBE207B}" dt="2020-02-29T05:28:44.373" v="9426" actId="20577"/>
          <ac:spMkLst>
            <pc:docMk/>
            <pc:sldMk cId="1466982777" sldId="602"/>
            <ac:spMk id="6" creationId="{637E159C-9ACF-48AE-927A-D5FB13695C7F}"/>
          </ac:spMkLst>
        </pc:spChg>
      </pc:sldChg>
      <pc:sldChg chg="del">
        <pc:chgData name="Carlos Reyes García" userId="8f106461-3865-4cda-a443-ca56f71f97d2" providerId="ADAL" clId="{D3EFDC9E-C770-4EC4-8A5A-B4E22FBE207B}" dt="2020-02-29T04:49:05.089" v="9394" actId="47"/>
        <pc:sldMkLst>
          <pc:docMk/>
          <pc:sldMk cId="3803232285" sldId="603"/>
        </pc:sldMkLst>
      </pc:sldChg>
      <pc:sldChg chg="addSp delSp modSp mod modNotesTx">
        <pc:chgData name="Carlos Reyes García" userId="8f106461-3865-4cda-a443-ca56f71f97d2" providerId="ADAL" clId="{D3EFDC9E-C770-4EC4-8A5A-B4E22FBE207B}" dt="2020-02-29T06:04:31.948" v="10415" actId="113"/>
        <pc:sldMkLst>
          <pc:docMk/>
          <pc:sldMk cId="2889285480" sldId="605"/>
        </pc:sldMkLst>
        <pc:graphicFrameChg chg="mod">
          <ac:chgData name="Carlos Reyes García" userId="8f106461-3865-4cda-a443-ca56f71f97d2" providerId="ADAL" clId="{D3EFDC9E-C770-4EC4-8A5A-B4E22FBE207B}" dt="2020-02-29T06:03:18.016" v="10408" actId="1076"/>
          <ac:graphicFrameMkLst>
            <pc:docMk/>
            <pc:sldMk cId="2889285480" sldId="605"/>
            <ac:graphicFrameMk id="3" creationId="{9484E1FE-7534-495E-863C-657A46F5E628}"/>
          </ac:graphicFrameMkLst>
        </pc:graphicFrameChg>
        <pc:graphicFrameChg chg="add del">
          <ac:chgData name="Carlos Reyes García" userId="8f106461-3865-4cda-a443-ca56f71f97d2" providerId="ADAL" clId="{D3EFDC9E-C770-4EC4-8A5A-B4E22FBE207B}" dt="2020-02-29T06:03:24.559" v="10409" actId="478"/>
          <ac:graphicFrameMkLst>
            <pc:docMk/>
            <pc:sldMk cId="2889285480" sldId="605"/>
            <ac:graphicFrameMk id="5" creationId="{EA041E5F-B08C-4247-9455-8B38CF1D8874}"/>
          </ac:graphicFrameMkLst>
        </pc:graphicFrameChg>
      </pc:sldChg>
      <pc:sldChg chg="addSp delSp modSp mod modNotesTx">
        <pc:chgData name="Carlos Reyes García" userId="8f106461-3865-4cda-a443-ca56f71f97d2" providerId="ADAL" clId="{D3EFDC9E-C770-4EC4-8A5A-B4E22FBE207B}" dt="2020-03-03T02:45:59.972" v="11489" actId="20577"/>
        <pc:sldMkLst>
          <pc:docMk/>
          <pc:sldMk cId="57508058" sldId="608"/>
        </pc:sldMkLst>
        <pc:spChg chg="mod">
          <ac:chgData name="Carlos Reyes García" userId="8f106461-3865-4cda-a443-ca56f71f97d2" providerId="ADAL" clId="{D3EFDC9E-C770-4EC4-8A5A-B4E22FBE207B}" dt="2020-03-03T00:47:41.184" v="10725" actId="20577"/>
          <ac:spMkLst>
            <pc:docMk/>
            <pc:sldMk cId="57508058" sldId="608"/>
            <ac:spMk id="2" creationId="{EB67312A-9819-43C6-8D84-D9136E6CFFCC}"/>
          </ac:spMkLst>
        </pc:spChg>
        <pc:spChg chg="del">
          <ac:chgData name="Carlos Reyes García" userId="8f106461-3865-4cda-a443-ca56f71f97d2" providerId="ADAL" clId="{D3EFDC9E-C770-4EC4-8A5A-B4E22FBE207B}" dt="2020-03-03T00:16:35.962" v="10426" actId="1032"/>
          <ac:spMkLst>
            <pc:docMk/>
            <pc:sldMk cId="57508058" sldId="608"/>
            <ac:spMk id="4" creationId="{F3616A99-090F-45E1-9334-58D58B148205}"/>
          </ac:spMkLst>
        </pc:spChg>
        <pc:spChg chg="add">
          <ac:chgData name="Carlos Reyes García" userId="8f106461-3865-4cda-a443-ca56f71f97d2" providerId="ADAL" clId="{D3EFDC9E-C770-4EC4-8A5A-B4E22FBE207B}" dt="2020-03-03T00:15:47.845" v="10419"/>
          <ac:spMkLst>
            <pc:docMk/>
            <pc:sldMk cId="57508058" sldId="608"/>
            <ac:spMk id="6" creationId="{9D9AA4A0-CF8F-40D2-B770-B7F901F7B2CE}"/>
          </ac:spMkLst>
        </pc:spChg>
        <pc:spChg chg="add">
          <ac:chgData name="Carlos Reyes García" userId="8f106461-3865-4cda-a443-ca56f71f97d2" providerId="ADAL" clId="{D3EFDC9E-C770-4EC4-8A5A-B4E22FBE207B}" dt="2020-03-03T00:15:47.845" v="10419"/>
          <ac:spMkLst>
            <pc:docMk/>
            <pc:sldMk cId="57508058" sldId="608"/>
            <ac:spMk id="7" creationId="{80A090FC-29C2-46E9-92D3-F18E20B73E3B}"/>
          </ac:spMkLst>
        </pc:spChg>
        <pc:grpChg chg="add mod">
          <ac:chgData name="Carlos Reyes García" userId="8f106461-3865-4cda-a443-ca56f71f97d2" providerId="ADAL" clId="{D3EFDC9E-C770-4EC4-8A5A-B4E22FBE207B}" dt="2020-03-03T00:15:49.786" v="10420"/>
          <ac:grpSpMkLst>
            <pc:docMk/>
            <pc:sldMk cId="57508058" sldId="608"/>
            <ac:grpSpMk id="5" creationId="{03F4F406-CC53-4674-90AE-EE82552171FE}"/>
          </ac:grpSpMkLst>
        </pc:grpChg>
        <pc:graphicFrameChg chg="add del mod">
          <ac:chgData name="Carlos Reyes García" userId="8f106461-3865-4cda-a443-ca56f71f97d2" providerId="ADAL" clId="{D3EFDC9E-C770-4EC4-8A5A-B4E22FBE207B}" dt="2020-03-03T00:16:04.730" v="10425" actId="478"/>
          <ac:graphicFrameMkLst>
            <pc:docMk/>
            <pc:sldMk cId="57508058" sldId="608"/>
            <ac:graphicFrameMk id="9" creationId="{60C64193-6D18-4E36-9673-3B95E52BE4C8}"/>
          </ac:graphicFrameMkLst>
        </pc:graphicFrameChg>
        <pc:graphicFrameChg chg="add mod modGraphic">
          <ac:chgData name="Carlos Reyes García" userId="8f106461-3865-4cda-a443-ca56f71f97d2" providerId="ADAL" clId="{D3EFDC9E-C770-4EC4-8A5A-B4E22FBE207B}" dt="2020-03-03T02:45:54.472" v="11486" actId="20577"/>
          <ac:graphicFrameMkLst>
            <pc:docMk/>
            <pc:sldMk cId="57508058" sldId="608"/>
            <ac:graphicFrameMk id="10" creationId="{392FE5B8-B893-4B1E-9B29-2151F1892047}"/>
          </ac:graphicFrameMkLst>
        </pc:graphicFrameChg>
      </pc:sldChg>
      <pc:sldChg chg="del">
        <pc:chgData name="Carlos Reyes García" userId="8f106461-3865-4cda-a443-ca56f71f97d2" providerId="ADAL" clId="{D3EFDC9E-C770-4EC4-8A5A-B4E22FBE207B}" dt="2020-03-03T01:33:20.268" v="11068" actId="47"/>
        <pc:sldMkLst>
          <pc:docMk/>
          <pc:sldMk cId="3995482144" sldId="609"/>
        </pc:sldMkLst>
      </pc:sldChg>
      <pc:sldChg chg="modSp mod">
        <pc:chgData name="Carlos Reyes García" userId="8f106461-3865-4cda-a443-ca56f71f97d2" providerId="ADAL" clId="{D3EFDC9E-C770-4EC4-8A5A-B4E22FBE207B}" dt="2020-03-03T01:33:31.995" v="11107" actId="20577"/>
        <pc:sldMkLst>
          <pc:docMk/>
          <pc:sldMk cId="747863857" sldId="610"/>
        </pc:sldMkLst>
        <pc:spChg chg="mod">
          <ac:chgData name="Carlos Reyes García" userId="8f106461-3865-4cda-a443-ca56f71f97d2" providerId="ADAL" clId="{D3EFDC9E-C770-4EC4-8A5A-B4E22FBE207B}" dt="2020-03-03T01:33:31.995" v="11107" actId="20577"/>
          <ac:spMkLst>
            <pc:docMk/>
            <pc:sldMk cId="747863857" sldId="610"/>
            <ac:spMk id="2" creationId="{BC57B38C-8413-4861-A4F5-7DF656AEAD0D}"/>
          </ac:spMkLst>
        </pc:spChg>
      </pc:sldChg>
      <pc:sldChg chg="modSp mod modNotesTx">
        <pc:chgData name="Carlos Reyes García" userId="8f106461-3865-4cda-a443-ca56f71f97d2" providerId="ADAL" clId="{D3EFDC9E-C770-4EC4-8A5A-B4E22FBE207B}" dt="2020-03-03T02:49:03.745" v="11587" actId="6549"/>
        <pc:sldMkLst>
          <pc:docMk/>
          <pc:sldMk cId="3073578741" sldId="612"/>
        </pc:sldMkLst>
        <pc:graphicFrameChg chg="mod">
          <ac:chgData name="Carlos Reyes García" userId="8f106461-3865-4cda-a443-ca56f71f97d2" providerId="ADAL" clId="{D3EFDC9E-C770-4EC4-8A5A-B4E22FBE207B}" dt="2020-03-03T02:47:26.789" v="11576" actId="20577"/>
          <ac:graphicFrameMkLst>
            <pc:docMk/>
            <pc:sldMk cId="3073578741" sldId="612"/>
            <ac:graphicFrameMk id="3" creationId="{9484E1FE-7534-495E-863C-657A46F5E628}"/>
          </ac:graphicFrameMkLst>
        </pc:graphicFrameChg>
      </pc:sldChg>
      <pc:sldChg chg="del">
        <pc:chgData name="Carlos Reyes García" userId="8f106461-3865-4cda-a443-ca56f71f97d2" providerId="ADAL" clId="{D3EFDC9E-C770-4EC4-8A5A-B4E22FBE207B}" dt="2020-03-03T04:05:09.511" v="12175" actId="47"/>
        <pc:sldMkLst>
          <pc:docMk/>
          <pc:sldMk cId="2988054743" sldId="614"/>
        </pc:sldMkLst>
      </pc:sldChg>
      <pc:sldChg chg="modSp del mod">
        <pc:chgData name="Carlos Reyes García" userId="8f106461-3865-4cda-a443-ca56f71f97d2" providerId="ADAL" clId="{D3EFDC9E-C770-4EC4-8A5A-B4E22FBE207B}" dt="2020-03-03T05:59:16.404" v="12747" actId="47"/>
        <pc:sldMkLst>
          <pc:docMk/>
          <pc:sldMk cId="972038955" sldId="615"/>
        </pc:sldMkLst>
        <pc:spChg chg="mod">
          <ac:chgData name="Carlos Reyes García" userId="8f106461-3865-4cda-a443-ca56f71f97d2" providerId="ADAL" clId="{D3EFDC9E-C770-4EC4-8A5A-B4E22FBE207B}" dt="2020-03-03T01:18:31.245" v="10909" actId="108"/>
          <ac:spMkLst>
            <pc:docMk/>
            <pc:sldMk cId="972038955" sldId="615"/>
            <ac:spMk id="6" creationId="{5BEE3541-3FB8-4584-8442-720F972358C6}"/>
          </ac:spMkLst>
        </pc:spChg>
      </pc:sldChg>
      <pc:sldChg chg="del">
        <pc:chgData name="Carlos Reyes García" userId="8f106461-3865-4cda-a443-ca56f71f97d2" providerId="ADAL" clId="{D3EFDC9E-C770-4EC4-8A5A-B4E22FBE207B}" dt="2020-02-27T02:36:18.302" v="5304" actId="47"/>
        <pc:sldMkLst>
          <pc:docMk/>
          <pc:sldMk cId="3802343584" sldId="616"/>
        </pc:sldMkLst>
      </pc:sldChg>
      <pc:sldChg chg="del">
        <pc:chgData name="Carlos Reyes García" userId="8f106461-3865-4cda-a443-ca56f71f97d2" providerId="ADAL" clId="{D3EFDC9E-C770-4EC4-8A5A-B4E22FBE207B}" dt="2020-02-27T21:05:54.677" v="6690" actId="47"/>
        <pc:sldMkLst>
          <pc:docMk/>
          <pc:sldMk cId="2489637579" sldId="618"/>
        </pc:sldMkLst>
      </pc:sldChg>
      <pc:sldChg chg="modSp del mod">
        <pc:chgData name="Carlos Reyes García" userId="8f106461-3865-4cda-a443-ca56f71f97d2" providerId="ADAL" clId="{D3EFDC9E-C770-4EC4-8A5A-B4E22FBE207B}" dt="2020-02-29T01:30:57.496" v="9391" actId="47"/>
        <pc:sldMkLst>
          <pc:docMk/>
          <pc:sldMk cId="2936961171" sldId="619"/>
        </pc:sldMkLst>
        <pc:spChg chg="mod">
          <ac:chgData name="Carlos Reyes García" userId="8f106461-3865-4cda-a443-ca56f71f97d2" providerId="ADAL" clId="{D3EFDC9E-C770-4EC4-8A5A-B4E22FBE207B}" dt="2020-02-27T21:16:28.734" v="6875" actId="2711"/>
          <ac:spMkLst>
            <pc:docMk/>
            <pc:sldMk cId="2936961171" sldId="619"/>
            <ac:spMk id="6" creationId="{5BEE3541-3FB8-4584-8442-720F972358C6}"/>
          </ac:spMkLst>
        </pc:spChg>
      </pc:sldChg>
      <pc:sldChg chg="addSp delSp modSp mod ord modNotesTx">
        <pc:chgData name="Carlos Reyes García" userId="8f106461-3865-4cda-a443-ca56f71f97d2" providerId="ADAL" clId="{D3EFDC9E-C770-4EC4-8A5A-B4E22FBE207B}" dt="2020-03-03T02:43:39.205" v="11415" actId="20577"/>
        <pc:sldMkLst>
          <pc:docMk/>
          <pc:sldMk cId="2513964796" sldId="620"/>
        </pc:sldMkLst>
        <pc:spChg chg="mod">
          <ac:chgData name="Carlos Reyes García" userId="8f106461-3865-4cda-a443-ca56f71f97d2" providerId="ADAL" clId="{D3EFDC9E-C770-4EC4-8A5A-B4E22FBE207B}" dt="2020-03-03T00:34:12.183" v="10610" actId="20577"/>
          <ac:spMkLst>
            <pc:docMk/>
            <pc:sldMk cId="2513964796" sldId="620"/>
            <ac:spMk id="2" creationId="{EB67312A-9819-43C6-8D84-D9136E6CFFCC}"/>
          </ac:spMkLst>
        </pc:spChg>
        <pc:spChg chg="del mod">
          <ac:chgData name="Carlos Reyes García" userId="8f106461-3865-4cda-a443-ca56f71f97d2" providerId="ADAL" clId="{D3EFDC9E-C770-4EC4-8A5A-B4E22FBE207B}" dt="2020-03-03T00:36:08.844" v="10617" actId="1032"/>
          <ac:spMkLst>
            <pc:docMk/>
            <pc:sldMk cId="2513964796" sldId="620"/>
            <ac:spMk id="4" creationId="{F3616A99-090F-45E1-9334-58D58B148205}"/>
          </ac:spMkLst>
        </pc:spChg>
        <pc:spChg chg="del">
          <ac:chgData name="Carlos Reyes García" userId="8f106461-3865-4cda-a443-ca56f71f97d2" providerId="ADAL" clId="{D3EFDC9E-C770-4EC4-8A5A-B4E22FBE207B}" dt="2020-03-03T00:36:04.637" v="10616" actId="478"/>
          <ac:spMkLst>
            <pc:docMk/>
            <pc:sldMk cId="2513964796" sldId="620"/>
            <ac:spMk id="6" creationId="{5BEE3541-3FB8-4584-8442-720F972358C6}"/>
          </ac:spMkLst>
        </pc:spChg>
        <pc:spChg chg="add">
          <ac:chgData name="Carlos Reyes García" userId="8f106461-3865-4cda-a443-ca56f71f97d2" providerId="ADAL" clId="{D3EFDC9E-C770-4EC4-8A5A-B4E22FBE207B}" dt="2020-03-03T00:53:35.250" v="10774"/>
          <ac:spMkLst>
            <pc:docMk/>
            <pc:sldMk cId="2513964796" sldId="620"/>
            <ac:spMk id="7" creationId="{45E30E19-0D35-495C-B19B-7D0FC44C82C2}"/>
          </ac:spMkLst>
        </pc:spChg>
        <pc:graphicFrameChg chg="add mod modGraphic">
          <ac:chgData name="Carlos Reyes García" userId="8f106461-3865-4cda-a443-ca56f71f97d2" providerId="ADAL" clId="{D3EFDC9E-C770-4EC4-8A5A-B4E22FBE207B}" dt="2020-03-03T00:54:46.817" v="10791"/>
          <ac:graphicFrameMkLst>
            <pc:docMk/>
            <pc:sldMk cId="2513964796" sldId="620"/>
            <ac:graphicFrameMk id="5" creationId="{BD018D18-20A4-46F5-8375-41009407A835}"/>
          </ac:graphicFrameMkLst>
        </pc:graphicFrameChg>
      </pc:sldChg>
      <pc:sldChg chg="modSp mod">
        <pc:chgData name="Carlos Reyes García" userId="8f106461-3865-4cda-a443-ca56f71f97d2" providerId="ADAL" clId="{D3EFDC9E-C770-4EC4-8A5A-B4E22FBE207B}" dt="2020-02-26T07:14:59.807" v="2969" actId="6549"/>
        <pc:sldMkLst>
          <pc:docMk/>
          <pc:sldMk cId="3621061219" sldId="621"/>
        </pc:sldMkLst>
        <pc:spChg chg="mod">
          <ac:chgData name="Carlos Reyes García" userId="8f106461-3865-4cda-a443-ca56f71f97d2" providerId="ADAL" clId="{D3EFDC9E-C770-4EC4-8A5A-B4E22FBE207B}" dt="2020-02-26T07:14:26.689" v="2962"/>
          <ac:spMkLst>
            <pc:docMk/>
            <pc:sldMk cId="3621061219" sldId="621"/>
            <ac:spMk id="2" creationId="{98E9979A-6B56-439A-AC85-1A915ECDFB7C}"/>
          </ac:spMkLst>
        </pc:spChg>
        <pc:spChg chg="mod">
          <ac:chgData name="Carlos Reyes García" userId="8f106461-3865-4cda-a443-ca56f71f97d2" providerId="ADAL" clId="{D3EFDC9E-C770-4EC4-8A5A-B4E22FBE207B}" dt="2020-02-26T07:14:59.807" v="2969" actId="6549"/>
          <ac:spMkLst>
            <pc:docMk/>
            <pc:sldMk cId="3621061219" sldId="621"/>
            <ac:spMk id="3" creationId="{FAD6C60A-C473-4D9B-8D70-0E04CEEFEAED}"/>
          </ac:spMkLst>
        </pc:spChg>
      </pc:sldChg>
      <pc:sldChg chg="modSp">
        <pc:chgData name="Carlos Reyes García" userId="8f106461-3865-4cda-a443-ca56f71f97d2" providerId="ADAL" clId="{D3EFDC9E-C770-4EC4-8A5A-B4E22FBE207B}" dt="2020-02-26T07:15:11.014" v="2971"/>
        <pc:sldMkLst>
          <pc:docMk/>
          <pc:sldMk cId="3140255800" sldId="622"/>
        </pc:sldMkLst>
        <pc:spChg chg="mod">
          <ac:chgData name="Carlos Reyes García" userId="8f106461-3865-4cda-a443-ca56f71f97d2" providerId="ADAL" clId="{D3EFDC9E-C770-4EC4-8A5A-B4E22FBE207B}" dt="2020-02-26T07:15:11.014" v="2971"/>
          <ac:spMkLst>
            <pc:docMk/>
            <pc:sldMk cId="3140255800" sldId="622"/>
            <ac:spMk id="2" creationId="{E139A44F-1B4D-4C6D-AAFF-415CE55A5181}"/>
          </ac:spMkLst>
        </pc:spChg>
      </pc:sldChg>
      <pc:sldChg chg="modSp mod">
        <pc:chgData name="Carlos Reyes García" userId="8f106461-3865-4cda-a443-ca56f71f97d2" providerId="ADAL" clId="{D3EFDC9E-C770-4EC4-8A5A-B4E22FBE207B}" dt="2020-02-26T07:15:08.324" v="2970"/>
        <pc:sldMkLst>
          <pc:docMk/>
          <pc:sldMk cId="1796066029" sldId="623"/>
        </pc:sldMkLst>
        <pc:spChg chg="mod">
          <ac:chgData name="Carlos Reyes García" userId="8f106461-3865-4cda-a443-ca56f71f97d2" providerId="ADAL" clId="{D3EFDC9E-C770-4EC4-8A5A-B4E22FBE207B}" dt="2020-02-26T07:15:08.324" v="2970"/>
          <ac:spMkLst>
            <pc:docMk/>
            <pc:sldMk cId="1796066029" sldId="623"/>
            <ac:spMk id="2" creationId="{D5D07671-6381-485B-8F3D-46127A56FE09}"/>
          </ac:spMkLst>
        </pc:spChg>
        <pc:spChg chg="mod">
          <ac:chgData name="Carlos Reyes García" userId="8f106461-3865-4cda-a443-ca56f71f97d2" providerId="ADAL" clId="{D3EFDC9E-C770-4EC4-8A5A-B4E22FBE207B}" dt="2020-02-26T07:14:50.090" v="2967" actId="6549"/>
          <ac:spMkLst>
            <pc:docMk/>
            <pc:sldMk cId="1796066029" sldId="623"/>
            <ac:spMk id="3" creationId="{8D566B6C-057D-403D-A06A-F16E54C2D9E2}"/>
          </ac:spMkLst>
        </pc:spChg>
      </pc:sldChg>
      <pc:sldChg chg="add">
        <pc:chgData name="Carlos Reyes García" userId="8f106461-3865-4cda-a443-ca56f71f97d2" providerId="ADAL" clId="{D3EFDC9E-C770-4EC4-8A5A-B4E22FBE207B}" dt="2020-02-26T07:15:33.271" v="2973"/>
        <pc:sldMkLst>
          <pc:docMk/>
          <pc:sldMk cId="120752799" sldId="624"/>
        </pc:sldMkLst>
      </pc:sldChg>
      <pc:sldChg chg="del">
        <pc:chgData name="Carlos Reyes García" userId="8f106461-3865-4cda-a443-ca56f71f97d2" providerId="ADAL" clId="{D3EFDC9E-C770-4EC4-8A5A-B4E22FBE207B}" dt="2020-02-26T07:15:20.405" v="2972" actId="2696"/>
        <pc:sldMkLst>
          <pc:docMk/>
          <pc:sldMk cId="765480696" sldId="624"/>
        </pc:sldMkLst>
      </pc:sldChg>
      <pc:sldChg chg="add">
        <pc:chgData name="Carlos Reyes García" userId="8f106461-3865-4cda-a443-ca56f71f97d2" providerId="ADAL" clId="{D3EFDC9E-C770-4EC4-8A5A-B4E22FBE207B}" dt="2020-02-26T07:15:33.271" v="2973"/>
        <pc:sldMkLst>
          <pc:docMk/>
          <pc:sldMk cId="2862873360" sldId="625"/>
        </pc:sldMkLst>
      </pc:sldChg>
      <pc:sldChg chg="del">
        <pc:chgData name="Carlos Reyes García" userId="8f106461-3865-4cda-a443-ca56f71f97d2" providerId="ADAL" clId="{D3EFDC9E-C770-4EC4-8A5A-B4E22FBE207B}" dt="2020-02-26T07:15:20.405" v="2972" actId="2696"/>
        <pc:sldMkLst>
          <pc:docMk/>
          <pc:sldMk cId="3136300865" sldId="625"/>
        </pc:sldMkLst>
      </pc:sldChg>
      <pc:sldChg chg="modSp add">
        <pc:chgData name="Carlos Reyes García" userId="8f106461-3865-4cda-a443-ca56f71f97d2" providerId="ADAL" clId="{D3EFDC9E-C770-4EC4-8A5A-B4E22FBE207B}" dt="2020-03-03T05:57:55.410" v="12739" actId="403"/>
        <pc:sldMkLst>
          <pc:docMk/>
          <pc:sldMk cId="738690530" sldId="626"/>
        </pc:sldMkLst>
        <pc:graphicFrameChg chg="mod">
          <ac:chgData name="Carlos Reyes García" userId="8f106461-3865-4cda-a443-ca56f71f97d2" providerId="ADAL" clId="{D3EFDC9E-C770-4EC4-8A5A-B4E22FBE207B}" dt="2020-03-03T05:57:55.410" v="12739" actId="403"/>
          <ac:graphicFrameMkLst>
            <pc:docMk/>
            <pc:sldMk cId="738690530" sldId="626"/>
            <ac:graphicFrameMk id="5" creationId="{D48D6338-D593-460A-874C-4611E69E7AF0}"/>
          </ac:graphicFrameMkLst>
        </pc:graphicFrameChg>
      </pc:sldChg>
      <pc:sldChg chg="del">
        <pc:chgData name="Carlos Reyes García" userId="8f106461-3865-4cda-a443-ca56f71f97d2" providerId="ADAL" clId="{D3EFDC9E-C770-4EC4-8A5A-B4E22FBE207B}" dt="2020-02-26T07:15:20.405" v="2972" actId="2696"/>
        <pc:sldMkLst>
          <pc:docMk/>
          <pc:sldMk cId="2681776980" sldId="626"/>
        </pc:sldMkLst>
      </pc:sldChg>
      <pc:sldChg chg="del">
        <pc:chgData name="Carlos Reyes García" userId="8f106461-3865-4cda-a443-ca56f71f97d2" providerId="ADAL" clId="{D3EFDC9E-C770-4EC4-8A5A-B4E22FBE207B}" dt="2020-02-26T07:15:20.405" v="2972" actId="2696"/>
        <pc:sldMkLst>
          <pc:docMk/>
          <pc:sldMk cId="1148274077" sldId="627"/>
        </pc:sldMkLst>
      </pc:sldChg>
      <pc:sldChg chg="add">
        <pc:chgData name="Carlos Reyes García" userId="8f106461-3865-4cda-a443-ca56f71f97d2" providerId="ADAL" clId="{D3EFDC9E-C770-4EC4-8A5A-B4E22FBE207B}" dt="2020-02-26T07:15:33.271" v="2973"/>
        <pc:sldMkLst>
          <pc:docMk/>
          <pc:sldMk cId="2665972638" sldId="627"/>
        </pc:sldMkLst>
      </pc:sldChg>
      <pc:sldChg chg="del">
        <pc:chgData name="Carlos Reyes García" userId="8f106461-3865-4cda-a443-ca56f71f97d2" providerId="ADAL" clId="{D3EFDC9E-C770-4EC4-8A5A-B4E22FBE207B}" dt="2020-02-26T07:15:20.405" v="2972" actId="2696"/>
        <pc:sldMkLst>
          <pc:docMk/>
          <pc:sldMk cId="658912611" sldId="628"/>
        </pc:sldMkLst>
      </pc:sldChg>
      <pc:sldChg chg="add">
        <pc:chgData name="Carlos Reyes García" userId="8f106461-3865-4cda-a443-ca56f71f97d2" providerId="ADAL" clId="{D3EFDC9E-C770-4EC4-8A5A-B4E22FBE207B}" dt="2020-02-26T07:15:33.271" v="2973"/>
        <pc:sldMkLst>
          <pc:docMk/>
          <pc:sldMk cId="3814048964" sldId="628"/>
        </pc:sldMkLst>
      </pc:sldChg>
      <pc:sldChg chg="addSp delSp modSp mod modNotesTx">
        <pc:chgData name="Carlos Reyes García" userId="8f106461-3865-4cda-a443-ca56f71f97d2" providerId="ADAL" clId="{D3EFDC9E-C770-4EC4-8A5A-B4E22FBE207B}" dt="2020-02-26T06:21:16.119" v="2355" actId="20577"/>
        <pc:sldMkLst>
          <pc:docMk/>
          <pc:sldMk cId="477690210" sldId="629"/>
        </pc:sldMkLst>
        <pc:spChg chg="mod">
          <ac:chgData name="Carlos Reyes García" userId="8f106461-3865-4cda-a443-ca56f71f97d2" providerId="ADAL" clId="{D3EFDC9E-C770-4EC4-8A5A-B4E22FBE207B}" dt="2020-02-26T04:59:55.917" v="978" actId="20577"/>
          <ac:spMkLst>
            <pc:docMk/>
            <pc:sldMk cId="477690210" sldId="629"/>
            <ac:spMk id="2" creationId="{9EC78D2B-E078-4374-9A00-8BE599CDC800}"/>
          </ac:spMkLst>
        </pc:spChg>
        <pc:spChg chg="add del mod">
          <ac:chgData name="Carlos Reyes García" userId="8f106461-3865-4cda-a443-ca56f71f97d2" providerId="ADAL" clId="{D3EFDC9E-C770-4EC4-8A5A-B4E22FBE207B}" dt="2020-02-26T03:32:38.777" v="947"/>
          <ac:spMkLst>
            <pc:docMk/>
            <pc:sldMk cId="477690210" sldId="629"/>
            <ac:spMk id="5" creationId="{F5C5F597-6994-4561-A36F-DD90F8414FE7}"/>
          </ac:spMkLst>
        </pc:spChg>
        <pc:picChg chg="mod">
          <ac:chgData name="Carlos Reyes García" userId="8f106461-3865-4cda-a443-ca56f71f97d2" providerId="ADAL" clId="{D3EFDC9E-C770-4EC4-8A5A-B4E22FBE207B}" dt="2020-02-26T03:32:39.281" v="948" actId="1076"/>
          <ac:picMkLst>
            <pc:docMk/>
            <pc:sldMk cId="477690210" sldId="629"/>
            <ac:picMk id="11" creationId="{51ADF6DC-D03B-4CE8-921F-59147DE93FA8}"/>
          </ac:picMkLst>
        </pc:picChg>
      </pc:sldChg>
      <pc:sldChg chg="modSp mod ord modNotesTx">
        <pc:chgData name="Carlos Reyes García" userId="8f106461-3865-4cda-a443-ca56f71f97d2" providerId="ADAL" clId="{D3EFDC9E-C770-4EC4-8A5A-B4E22FBE207B}" dt="2020-02-28T22:17:02.754" v="8137" actId="6549"/>
        <pc:sldMkLst>
          <pc:docMk/>
          <pc:sldMk cId="2579723068" sldId="630"/>
        </pc:sldMkLst>
        <pc:spChg chg="mod">
          <ac:chgData name="Carlos Reyes García" userId="8f106461-3865-4cda-a443-ca56f71f97d2" providerId="ADAL" clId="{D3EFDC9E-C770-4EC4-8A5A-B4E22FBE207B}" dt="2020-02-26T05:00:08.892" v="980"/>
          <ac:spMkLst>
            <pc:docMk/>
            <pc:sldMk cId="2579723068" sldId="630"/>
            <ac:spMk id="2" creationId="{314751D6-A0D5-48CB-8132-0BD0278E0AFB}"/>
          </ac:spMkLst>
        </pc:spChg>
        <pc:spChg chg="mod">
          <ac:chgData name="Carlos Reyes García" userId="8f106461-3865-4cda-a443-ca56f71f97d2" providerId="ADAL" clId="{D3EFDC9E-C770-4EC4-8A5A-B4E22FBE207B}" dt="2020-02-26T05:06:17.326" v="1026" actId="21"/>
          <ac:spMkLst>
            <pc:docMk/>
            <pc:sldMk cId="2579723068" sldId="630"/>
            <ac:spMk id="3" creationId="{77DDFA95-4C83-4314-951D-426525FBC900}"/>
          </ac:spMkLst>
        </pc:spChg>
        <pc:spChg chg="mod">
          <ac:chgData name="Carlos Reyes García" userId="8f106461-3865-4cda-a443-ca56f71f97d2" providerId="ADAL" clId="{D3EFDC9E-C770-4EC4-8A5A-B4E22FBE207B}" dt="2020-02-28T22:17:02.754" v="8137" actId="6549"/>
          <ac:spMkLst>
            <pc:docMk/>
            <pc:sldMk cId="2579723068" sldId="630"/>
            <ac:spMk id="4" creationId="{1606624F-1D9A-4EDF-8D58-FA0FB45D4E9C}"/>
          </ac:spMkLst>
        </pc:spChg>
      </pc:sldChg>
      <pc:sldChg chg="addSp delSp modSp mod">
        <pc:chgData name="Carlos Reyes García" userId="8f106461-3865-4cda-a443-ca56f71f97d2" providerId="ADAL" clId="{D3EFDC9E-C770-4EC4-8A5A-B4E22FBE207B}" dt="2020-02-28T22:19:53.011" v="8162" actId="1076"/>
        <pc:sldMkLst>
          <pc:docMk/>
          <pc:sldMk cId="4019356817" sldId="631"/>
        </pc:sldMkLst>
        <pc:spChg chg="mod">
          <ac:chgData name="Carlos Reyes García" userId="8f106461-3865-4cda-a443-ca56f71f97d2" providerId="ADAL" clId="{D3EFDC9E-C770-4EC4-8A5A-B4E22FBE207B}" dt="2020-02-27T20:54:58.658" v="6591" actId="20577"/>
          <ac:spMkLst>
            <pc:docMk/>
            <pc:sldMk cId="4019356817" sldId="631"/>
            <ac:spMk id="2" creationId="{6D718096-EFAF-4F0A-9A03-DAA18150F937}"/>
          </ac:spMkLst>
        </pc:spChg>
        <pc:spChg chg="del">
          <ac:chgData name="Carlos Reyes García" userId="8f106461-3865-4cda-a443-ca56f71f97d2" providerId="ADAL" clId="{D3EFDC9E-C770-4EC4-8A5A-B4E22FBE207B}" dt="2020-02-28T22:18:00.366" v="8138" actId="12084"/>
          <ac:spMkLst>
            <pc:docMk/>
            <pc:sldMk cId="4019356817" sldId="631"/>
            <ac:spMk id="4" creationId="{F391BA1A-BF37-41CC-A2A8-C647B3701572}"/>
          </ac:spMkLst>
        </pc:spChg>
        <pc:graphicFrameChg chg="add mod">
          <ac:chgData name="Carlos Reyes García" userId="8f106461-3865-4cda-a443-ca56f71f97d2" providerId="ADAL" clId="{D3EFDC9E-C770-4EC4-8A5A-B4E22FBE207B}" dt="2020-02-28T22:19:20.978" v="8159" actId="14100"/>
          <ac:graphicFrameMkLst>
            <pc:docMk/>
            <pc:sldMk cId="4019356817" sldId="631"/>
            <ac:graphicFrameMk id="5" creationId="{FD07C3D9-32E8-4A8D-BBB5-CAF64E36BFD8}"/>
          </ac:graphicFrameMkLst>
        </pc:graphicFrameChg>
        <pc:picChg chg="add del mod">
          <ac:chgData name="Carlos Reyes García" userId="8f106461-3865-4cda-a443-ca56f71f97d2" providerId="ADAL" clId="{D3EFDC9E-C770-4EC4-8A5A-B4E22FBE207B}" dt="2020-02-28T22:19:53.011" v="8162" actId="1076"/>
          <ac:picMkLst>
            <pc:docMk/>
            <pc:sldMk cId="4019356817" sldId="631"/>
            <ac:picMk id="7" creationId="{3A6EC5A1-B381-4FF3-BCAA-B792B3A2F437}"/>
          </ac:picMkLst>
        </pc:picChg>
      </pc:sldChg>
      <pc:sldChg chg="modNotesTx">
        <pc:chgData name="Carlos Reyes García" userId="8f106461-3865-4cda-a443-ca56f71f97d2" providerId="ADAL" clId="{D3EFDC9E-C770-4EC4-8A5A-B4E22FBE207B}" dt="2020-02-26T06:21:00.113" v="2349" actId="20577"/>
        <pc:sldMkLst>
          <pc:docMk/>
          <pc:sldMk cId="1286955050" sldId="632"/>
        </pc:sldMkLst>
      </pc:sldChg>
      <pc:sldChg chg="modSp mod modNotesTx">
        <pc:chgData name="Carlos Reyes García" userId="8f106461-3865-4cda-a443-ca56f71f97d2" providerId="ADAL" clId="{D3EFDC9E-C770-4EC4-8A5A-B4E22FBE207B}" dt="2020-02-27T21:05:23.298" v="6687" actId="208"/>
        <pc:sldMkLst>
          <pc:docMk/>
          <pc:sldMk cId="3709193865" sldId="636"/>
        </pc:sldMkLst>
        <pc:spChg chg="mod">
          <ac:chgData name="Carlos Reyes García" userId="8f106461-3865-4cda-a443-ca56f71f97d2" providerId="ADAL" clId="{D3EFDC9E-C770-4EC4-8A5A-B4E22FBE207B}" dt="2020-02-27T21:05:23.298" v="6687" actId="208"/>
          <ac:spMkLst>
            <pc:docMk/>
            <pc:sldMk cId="3709193865" sldId="636"/>
            <ac:spMk id="5" creationId="{3CB5B914-3015-484B-ACBD-760ED964BB0F}"/>
          </ac:spMkLst>
        </pc:spChg>
        <pc:spChg chg="mod">
          <ac:chgData name="Carlos Reyes García" userId="8f106461-3865-4cda-a443-ca56f71f97d2" providerId="ADAL" clId="{D3EFDC9E-C770-4EC4-8A5A-B4E22FBE207B}" dt="2020-02-26T05:13:13.551" v="1137" actId="20577"/>
          <ac:spMkLst>
            <pc:docMk/>
            <pc:sldMk cId="3709193865" sldId="636"/>
            <ac:spMk id="13" creationId="{82D72875-7182-4238-9EDA-317BF9B8B222}"/>
          </ac:spMkLst>
        </pc:spChg>
      </pc:sldChg>
      <pc:sldChg chg="addSp delSp modSp mod modNotesTx">
        <pc:chgData name="Carlos Reyes García" userId="8f106461-3865-4cda-a443-ca56f71f97d2" providerId="ADAL" clId="{D3EFDC9E-C770-4EC4-8A5A-B4E22FBE207B}" dt="2020-02-26T06:20:39.672" v="2347" actId="20577"/>
        <pc:sldMkLst>
          <pc:docMk/>
          <pc:sldMk cId="1933118630" sldId="637"/>
        </pc:sldMkLst>
        <pc:picChg chg="add del mod">
          <ac:chgData name="Carlos Reyes García" userId="8f106461-3865-4cda-a443-ca56f71f97d2" providerId="ADAL" clId="{D3EFDC9E-C770-4EC4-8A5A-B4E22FBE207B}" dt="2020-02-26T05:58:20.049" v="1774" actId="478"/>
          <ac:picMkLst>
            <pc:docMk/>
            <pc:sldMk cId="1933118630" sldId="637"/>
            <ac:picMk id="5" creationId="{F4EED9DF-12E1-482D-A568-E1C35DDA4A98}"/>
          </ac:picMkLst>
        </pc:picChg>
      </pc:sldChg>
      <pc:sldChg chg="modNotesTx">
        <pc:chgData name="Carlos Reyes García" userId="8f106461-3865-4cda-a443-ca56f71f97d2" providerId="ADAL" clId="{D3EFDC9E-C770-4EC4-8A5A-B4E22FBE207B}" dt="2020-02-26T06:20:30.966" v="2345" actId="6549"/>
        <pc:sldMkLst>
          <pc:docMk/>
          <pc:sldMk cId="3432635991" sldId="638"/>
        </pc:sldMkLst>
      </pc:sldChg>
      <pc:sldChg chg="modSp modNotesTx">
        <pc:chgData name="Carlos Reyes García" userId="8f106461-3865-4cda-a443-ca56f71f97d2" providerId="ADAL" clId="{D3EFDC9E-C770-4EC4-8A5A-B4E22FBE207B}" dt="2020-02-28T22:22:01.988" v="8163" actId="12100"/>
        <pc:sldMkLst>
          <pc:docMk/>
          <pc:sldMk cId="1459992327" sldId="639"/>
        </pc:sldMkLst>
        <pc:graphicFrameChg chg="mod">
          <ac:chgData name="Carlos Reyes García" userId="8f106461-3865-4cda-a443-ca56f71f97d2" providerId="ADAL" clId="{D3EFDC9E-C770-4EC4-8A5A-B4E22FBE207B}" dt="2020-02-28T22:22:01.988" v="8163" actId="12100"/>
          <ac:graphicFrameMkLst>
            <pc:docMk/>
            <pc:sldMk cId="1459992327" sldId="639"/>
            <ac:graphicFrameMk id="7" creationId="{DFA70EE5-47C2-4188-B4E4-F58C87B3B8E6}"/>
          </ac:graphicFrameMkLst>
        </pc:graphicFrameChg>
      </pc:sldChg>
      <pc:sldChg chg="addSp delSp modSp mod">
        <pc:chgData name="Carlos Reyes García" userId="8f106461-3865-4cda-a443-ca56f71f97d2" providerId="ADAL" clId="{D3EFDC9E-C770-4EC4-8A5A-B4E22FBE207B}" dt="2020-02-28T22:23:15.653" v="8168" actId="12100"/>
        <pc:sldMkLst>
          <pc:docMk/>
          <pc:sldMk cId="3588095766" sldId="640"/>
        </pc:sldMkLst>
        <pc:spChg chg="del mod">
          <ac:chgData name="Carlos Reyes García" userId="8f106461-3865-4cda-a443-ca56f71f97d2" providerId="ADAL" clId="{D3EFDC9E-C770-4EC4-8A5A-B4E22FBE207B}" dt="2020-02-28T22:23:11.934" v="8167" actId="12084"/>
          <ac:spMkLst>
            <pc:docMk/>
            <pc:sldMk cId="3588095766" sldId="640"/>
            <ac:spMk id="4" creationId="{DE622D7E-4764-49A9-A996-2A1D75CDF4FF}"/>
          </ac:spMkLst>
        </pc:spChg>
        <pc:graphicFrameChg chg="add mod">
          <ac:chgData name="Carlos Reyes García" userId="8f106461-3865-4cda-a443-ca56f71f97d2" providerId="ADAL" clId="{D3EFDC9E-C770-4EC4-8A5A-B4E22FBE207B}" dt="2020-02-28T22:23:15.653" v="8168" actId="12100"/>
          <ac:graphicFrameMkLst>
            <pc:docMk/>
            <pc:sldMk cId="3588095766" sldId="640"/>
            <ac:graphicFrameMk id="5" creationId="{EF6236A6-6171-4711-B939-3BE774F4A615}"/>
          </ac:graphicFrameMkLst>
        </pc:graphicFrameChg>
      </pc:sldChg>
      <pc:sldChg chg="modNotesTx">
        <pc:chgData name="Carlos Reyes García" userId="8f106461-3865-4cda-a443-ca56f71f97d2" providerId="ADAL" clId="{D3EFDC9E-C770-4EC4-8A5A-B4E22FBE207B}" dt="2020-02-26T06:20:02.359" v="2341" actId="6549"/>
        <pc:sldMkLst>
          <pc:docMk/>
          <pc:sldMk cId="291468127" sldId="641"/>
        </pc:sldMkLst>
      </pc:sldChg>
      <pc:sldChg chg="addSp delSp modSp add mod ord modShow">
        <pc:chgData name="Carlos Reyes García" userId="8f106461-3865-4cda-a443-ca56f71f97d2" providerId="ADAL" clId="{D3EFDC9E-C770-4EC4-8A5A-B4E22FBE207B}" dt="2020-02-26T05:49:31.166" v="1616" actId="729"/>
        <pc:sldMkLst>
          <pc:docMk/>
          <pc:sldMk cId="2601657354" sldId="642"/>
        </pc:sldMkLst>
        <pc:spChg chg="mod">
          <ac:chgData name="Carlos Reyes García" userId="8f106461-3865-4cda-a443-ca56f71f97d2" providerId="ADAL" clId="{D3EFDC9E-C770-4EC4-8A5A-B4E22FBE207B}" dt="2020-02-26T05:23:12.888" v="1226"/>
          <ac:spMkLst>
            <pc:docMk/>
            <pc:sldMk cId="2601657354" sldId="642"/>
            <ac:spMk id="2" creationId="{28BA92A9-B175-485F-8685-C452F3711619}"/>
          </ac:spMkLst>
        </pc:spChg>
        <pc:spChg chg="mod">
          <ac:chgData name="Carlos Reyes García" userId="8f106461-3865-4cda-a443-ca56f71f97d2" providerId="ADAL" clId="{D3EFDC9E-C770-4EC4-8A5A-B4E22FBE207B}" dt="2020-02-26T05:23:31.923" v="1250"/>
          <ac:spMkLst>
            <pc:docMk/>
            <pc:sldMk cId="2601657354" sldId="642"/>
            <ac:spMk id="3" creationId="{BF917AC2-966F-4713-AADE-CA7F0D2F79BE}"/>
          </ac:spMkLst>
        </pc:spChg>
        <pc:spChg chg="del mod topLvl">
          <ac:chgData name="Carlos Reyes García" userId="8f106461-3865-4cda-a443-ca56f71f97d2" providerId="ADAL" clId="{D3EFDC9E-C770-4EC4-8A5A-B4E22FBE207B}" dt="2020-02-26T00:13:24.669" v="46" actId="478"/>
          <ac:spMkLst>
            <pc:docMk/>
            <pc:sldMk cId="2601657354" sldId="642"/>
            <ac:spMk id="35" creationId="{98FFBE03-E17E-4C74-92A1-D3E32E768342}"/>
          </ac:spMkLst>
        </pc:spChg>
        <pc:spChg chg="del mod topLvl">
          <ac:chgData name="Carlos Reyes García" userId="8f106461-3865-4cda-a443-ca56f71f97d2" providerId="ADAL" clId="{D3EFDC9E-C770-4EC4-8A5A-B4E22FBE207B}" dt="2020-02-26T00:13:32.758" v="48" actId="478"/>
          <ac:spMkLst>
            <pc:docMk/>
            <pc:sldMk cId="2601657354" sldId="642"/>
            <ac:spMk id="38" creationId="{D24C0A8E-5156-4E97-A8CF-A684984DA68E}"/>
          </ac:spMkLst>
        </pc:spChg>
        <pc:spChg chg="del mod topLvl">
          <ac:chgData name="Carlos Reyes García" userId="8f106461-3865-4cda-a443-ca56f71f97d2" providerId="ADAL" clId="{D3EFDC9E-C770-4EC4-8A5A-B4E22FBE207B}" dt="2020-02-26T00:13:32.758" v="48" actId="478"/>
          <ac:spMkLst>
            <pc:docMk/>
            <pc:sldMk cId="2601657354" sldId="642"/>
            <ac:spMk id="39" creationId="{EF33E9BE-29FB-446B-8440-8EC95624515B}"/>
          </ac:spMkLst>
        </pc:spChg>
        <pc:spChg chg="add del mod topLvl">
          <ac:chgData name="Carlos Reyes García" userId="8f106461-3865-4cda-a443-ca56f71f97d2" providerId="ADAL" clId="{D3EFDC9E-C770-4EC4-8A5A-B4E22FBE207B}" dt="2020-02-26T05:31:16.845" v="1317" actId="20577"/>
          <ac:spMkLst>
            <pc:docMk/>
            <pc:sldMk cId="2601657354" sldId="642"/>
            <ac:spMk id="42" creationId="{C2657585-A075-45A6-AA11-562D44885D95}"/>
          </ac:spMkLst>
        </pc:spChg>
        <pc:spChg chg="del mod topLvl">
          <ac:chgData name="Carlos Reyes García" userId="8f106461-3865-4cda-a443-ca56f71f97d2" providerId="ADAL" clId="{D3EFDC9E-C770-4EC4-8A5A-B4E22FBE207B}" dt="2020-02-26T00:28:41.333" v="781" actId="478"/>
          <ac:spMkLst>
            <pc:docMk/>
            <pc:sldMk cId="2601657354" sldId="642"/>
            <ac:spMk id="43" creationId="{9CEB6E4D-F32F-46A2-86CE-3B94E05DA7F4}"/>
          </ac:spMkLst>
        </pc:spChg>
        <pc:spChg chg="add del mod">
          <ac:chgData name="Carlos Reyes García" userId="8f106461-3865-4cda-a443-ca56f71f97d2" providerId="ADAL" clId="{D3EFDC9E-C770-4EC4-8A5A-B4E22FBE207B}" dt="2020-02-26T00:17:45.693" v="200"/>
          <ac:spMkLst>
            <pc:docMk/>
            <pc:sldMk cId="2601657354" sldId="642"/>
            <ac:spMk id="59" creationId="{5C121AF4-8725-49F7-AD80-E3EDFD96457B}"/>
          </ac:spMkLst>
        </pc:spChg>
        <pc:spChg chg="add del mod">
          <ac:chgData name="Carlos Reyes García" userId="8f106461-3865-4cda-a443-ca56f71f97d2" providerId="ADAL" clId="{D3EFDC9E-C770-4EC4-8A5A-B4E22FBE207B}" dt="2020-02-26T00:28:41.333" v="781" actId="478"/>
          <ac:spMkLst>
            <pc:docMk/>
            <pc:sldMk cId="2601657354" sldId="642"/>
            <ac:spMk id="61" creationId="{9E8E45DE-20BF-4ABF-A7A9-345CA7E8B029}"/>
          </ac:spMkLst>
        </pc:spChg>
        <pc:spChg chg="add del">
          <ac:chgData name="Carlos Reyes García" userId="8f106461-3865-4cda-a443-ca56f71f97d2" providerId="ADAL" clId="{D3EFDC9E-C770-4EC4-8A5A-B4E22FBE207B}" dt="2020-02-26T00:31:27.180" v="808"/>
          <ac:spMkLst>
            <pc:docMk/>
            <pc:sldMk cId="2601657354" sldId="642"/>
            <ac:spMk id="68" creationId="{18744F6B-E4EA-4202-867D-5640B8FC12A1}"/>
          </ac:spMkLst>
        </pc:spChg>
        <pc:spChg chg="add mod">
          <ac:chgData name="Carlos Reyes García" userId="8f106461-3865-4cda-a443-ca56f71f97d2" providerId="ADAL" clId="{D3EFDC9E-C770-4EC4-8A5A-B4E22FBE207B}" dt="2020-02-26T05:19:10.116" v="1187" actId="552"/>
          <ac:spMkLst>
            <pc:docMk/>
            <pc:sldMk cId="2601657354" sldId="642"/>
            <ac:spMk id="70" creationId="{BCD54630-6D75-4D9E-A14C-37D8968C3B0A}"/>
          </ac:spMkLst>
        </pc:spChg>
        <pc:spChg chg="add del mod">
          <ac:chgData name="Carlos Reyes García" userId="8f106461-3865-4cda-a443-ca56f71f97d2" providerId="ADAL" clId="{D3EFDC9E-C770-4EC4-8A5A-B4E22FBE207B}" dt="2020-02-26T00:38:24.163" v="939" actId="478"/>
          <ac:spMkLst>
            <pc:docMk/>
            <pc:sldMk cId="2601657354" sldId="642"/>
            <ac:spMk id="72" creationId="{E6FCD4E9-3C77-4A7B-AD0A-84C63B4B43C2}"/>
          </ac:spMkLst>
        </pc:spChg>
        <pc:spChg chg="add mod">
          <ac:chgData name="Carlos Reyes García" userId="8f106461-3865-4cda-a443-ca56f71f97d2" providerId="ADAL" clId="{D3EFDC9E-C770-4EC4-8A5A-B4E22FBE207B}" dt="2020-02-26T05:21:11.400" v="1216" actId="1035"/>
          <ac:spMkLst>
            <pc:docMk/>
            <pc:sldMk cId="2601657354" sldId="642"/>
            <ac:spMk id="80" creationId="{6CBA2A34-F539-43E8-9736-DF7E168036B2}"/>
          </ac:spMkLst>
        </pc:spChg>
        <pc:spChg chg="add mod">
          <ac:chgData name="Carlos Reyes García" userId="8f106461-3865-4cda-a443-ca56f71f97d2" providerId="ADAL" clId="{D3EFDC9E-C770-4EC4-8A5A-B4E22FBE207B}" dt="2020-02-26T05:21:11.400" v="1216" actId="1035"/>
          <ac:spMkLst>
            <pc:docMk/>
            <pc:sldMk cId="2601657354" sldId="642"/>
            <ac:spMk id="82" creationId="{2B1741FD-AC3F-47D1-B62C-780E16B5721E}"/>
          </ac:spMkLst>
        </pc:spChg>
        <pc:spChg chg="add mod">
          <ac:chgData name="Carlos Reyes García" userId="8f106461-3865-4cda-a443-ca56f71f97d2" providerId="ADAL" clId="{D3EFDC9E-C770-4EC4-8A5A-B4E22FBE207B}" dt="2020-02-26T05:26:15.265" v="1273" actId="1582"/>
          <ac:spMkLst>
            <pc:docMk/>
            <pc:sldMk cId="2601657354" sldId="642"/>
            <ac:spMk id="89" creationId="{28EEAC86-B1FD-4BBA-843D-C393D73EAA07}"/>
          </ac:spMkLst>
        </pc:spChg>
        <pc:spChg chg="add mod">
          <ac:chgData name="Carlos Reyes García" userId="8f106461-3865-4cda-a443-ca56f71f97d2" providerId="ADAL" clId="{D3EFDC9E-C770-4EC4-8A5A-B4E22FBE207B}" dt="2020-02-26T05:26:20.511" v="1274" actId="1582"/>
          <ac:spMkLst>
            <pc:docMk/>
            <pc:sldMk cId="2601657354" sldId="642"/>
            <ac:spMk id="91" creationId="{9BE23DB6-074E-4D86-A57B-C093C5676725}"/>
          </ac:spMkLst>
        </pc:spChg>
        <pc:spChg chg="add mod">
          <ac:chgData name="Carlos Reyes García" userId="8f106461-3865-4cda-a443-ca56f71f97d2" providerId="ADAL" clId="{D3EFDC9E-C770-4EC4-8A5A-B4E22FBE207B}" dt="2020-02-26T05:26:24.817" v="1275" actId="1582"/>
          <ac:spMkLst>
            <pc:docMk/>
            <pc:sldMk cId="2601657354" sldId="642"/>
            <ac:spMk id="93" creationId="{5B8179B6-BBDF-4A04-A6B7-F0C4704CA2C4}"/>
          </ac:spMkLst>
        </pc:spChg>
        <pc:spChg chg="add mod">
          <ac:chgData name="Carlos Reyes García" userId="8f106461-3865-4cda-a443-ca56f71f97d2" providerId="ADAL" clId="{D3EFDC9E-C770-4EC4-8A5A-B4E22FBE207B}" dt="2020-02-26T05:29:11.653" v="1292" actId="14100"/>
          <ac:spMkLst>
            <pc:docMk/>
            <pc:sldMk cId="2601657354" sldId="642"/>
            <ac:spMk id="101" creationId="{02FFE53B-2198-421A-A204-DB0606E52245}"/>
          </ac:spMkLst>
        </pc:spChg>
        <pc:grpChg chg="add del mod">
          <ac:chgData name="Carlos Reyes García" userId="8f106461-3865-4cda-a443-ca56f71f97d2" providerId="ADAL" clId="{D3EFDC9E-C770-4EC4-8A5A-B4E22FBE207B}" dt="2020-02-26T00:11:14.895" v="6" actId="165"/>
          <ac:grpSpMkLst>
            <pc:docMk/>
            <pc:sldMk cId="2601657354" sldId="642"/>
            <ac:grpSpMk id="4" creationId="{8D2DBBAE-4120-4CBA-812D-0090494241EF}"/>
          </ac:grpSpMkLst>
        </pc:grpChg>
        <pc:grpChg chg="del">
          <ac:chgData name="Carlos Reyes García" userId="8f106461-3865-4cda-a443-ca56f71f97d2" providerId="ADAL" clId="{D3EFDC9E-C770-4EC4-8A5A-B4E22FBE207B}" dt="2020-02-26T00:11:00.322" v="4" actId="478"/>
          <ac:grpSpMkLst>
            <pc:docMk/>
            <pc:sldMk cId="2601657354" sldId="642"/>
            <ac:grpSpMk id="29" creationId="{42989DF0-FAE2-4C8B-A193-D4B9EA0C9E3E}"/>
          </ac:grpSpMkLst>
        </pc:grpChg>
        <pc:grpChg chg="del mod topLvl">
          <ac:chgData name="Carlos Reyes García" userId="8f106461-3865-4cda-a443-ca56f71f97d2" providerId="ADAL" clId="{D3EFDC9E-C770-4EC4-8A5A-B4E22FBE207B}" dt="2020-02-26T00:11:47.601" v="7" actId="478"/>
          <ac:grpSpMkLst>
            <pc:docMk/>
            <pc:sldMk cId="2601657354" sldId="642"/>
            <ac:grpSpMk id="31" creationId="{6219DDA4-16AE-474D-84DB-27B39352CE9C}"/>
          </ac:grpSpMkLst>
        </pc:grpChg>
        <pc:grpChg chg="del mod topLvl">
          <ac:chgData name="Carlos Reyes García" userId="8f106461-3865-4cda-a443-ca56f71f97d2" providerId="ADAL" clId="{D3EFDC9E-C770-4EC4-8A5A-B4E22FBE207B}" dt="2020-02-26T00:12:59.726" v="40" actId="165"/>
          <ac:grpSpMkLst>
            <pc:docMk/>
            <pc:sldMk cId="2601657354" sldId="642"/>
            <ac:grpSpMk id="32" creationId="{BCAF1C0F-0C3B-4B09-A34D-36EDD543E05D}"/>
          </ac:grpSpMkLst>
        </pc:grpChg>
        <pc:grpChg chg="del mod topLvl">
          <ac:chgData name="Carlos Reyes García" userId="8f106461-3865-4cda-a443-ca56f71f97d2" providerId="ADAL" clId="{D3EFDC9E-C770-4EC4-8A5A-B4E22FBE207B}" dt="2020-02-26T00:12:59.726" v="40" actId="165"/>
          <ac:grpSpMkLst>
            <pc:docMk/>
            <pc:sldMk cId="2601657354" sldId="642"/>
            <ac:grpSpMk id="33" creationId="{169B756E-8525-4942-9D07-9A1DCAC807B5}"/>
          </ac:grpSpMkLst>
        </pc:grpChg>
        <pc:grpChg chg="del mod topLvl">
          <ac:chgData name="Carlos Reyes García" userId="8f106461-3865-4cda-a443-ca56f71f97d2" providerId="ADAL" clId="{D3EFDC9E-C770-4EC4-8A5A-B4E22FBE207B}" dt="2020-02-26T00:13:01.703" v="41" actId="165"/>
          <ac:grpSpMkLst>
            <pc:docMk/>
            <pc:sldMk cId="2601657354" sldId="642"/>
            <ac:grpSpMk id="34" creationId="{C47FBE74-D09A-4AA0-94F7-E3D913BC44A5}"/>
          </ac:grpSpMkLst>
        </pc:grpChg>
        <pc:grpChg chg="del mod topLvl">
          <ac:chgData name="Carlos Reyes García" userId="8f106461-3865-4cda-a443-ca56f71f97d2" providerId="ADAL" clId="{D3EFDC9E-C770-4EC4-8A5A-B4E22FBE207B}" dt="2020-02-26T00:13:10.776" v="42" actId="165"/>
          <ac:grpSpMkLst>
            <pc:docMk/>
            <pc:sldMk cId="2601657354" sldId="642"/>
            <ac:grpSpMk id="41" creationId="{476A0CD1-548F-48B3-ACB5-9B0A26B357DE}"/>
          </ac:grpSpMkLst>
        </pc:grpChg>
        <pc:graphicFrameChg chg="add del mod modGraphic">
          <ac:chgData name="Carlos Reyes García" userId="8f106461-3865-4cda-a443-ca56f71f97d2" providerId="ADAL" clId="{D3EFDC9E-C770-4EC4-8A5A-B4E22FBE207B}" dt="2020-02-26T00:31:42.618" v="821" actId="478"/>
          <ac:graphicFrameMkLst>
            <pc:docMk/>
            <pc:sldMk cId="2601657354" sldId="642"/>
            <ac:graphicFrameMk id="66" creationId="{E03F3284-2459-42FD-8B96-4A432390A045}"/>
          </ac:graphicFrameMkLst>
        </pc:graphicFrameChg>
        <pc:picChg chg="add del mod topLvl">
          <ac:chgData name="Carlos Reyes García" userId="8f106461-3865-4cda-a443-ca56f71f97d2" providerId="ADAL" clId="{D3EFDC9E-C770-4EC4-8A5A-B4E22FBE207B}" dt="2020-02-26T05:22:36.789" v="1225" actId="478"/>
          <ac:picMkLst>
            <pc:docMk/>
            <pc:sldMk cId="2601657354" sldId="642"/>
            <ac:picMk id="36" creationId="{68F5365C-CE84-4F18-8BEF-BDDAE46CACBE}"/>
          </ac:picMkLst>
        </pc:picChg>
        <pc:picChg chg="del mod topLvl">
          <ac:chgData name="Carlos Reyes García" userId="8f106461-3865-4cda-a443-ca56f71f97d2" providerId="ADAL" clId="{D3EFDC9E-C770-4EC4-8A5A-B4E22FBE207B}" dt="2020-02-26T00:13:24.669" v="46" actId="478"/>
          <ac:picMkLst>
            <pc:docMk/>
            <pc:sldMk cId="2601657354" sldId="642"/>
            <ac:picMk id="37" creationId="{6401097B-5553-40C8-837C-E04C33DC6C84}"/>
          </ac:picMkLst>
        </pc:picChg>
        <pc:picChg chg="del mod topLvl">
          <ac:chgData name="Carlos Reyes García" userId="8f106461-3865-4cda-a443-ca56f71f97d2" providerId="ADAL" clId="{D3EFDC9E-C770-4EC4-8A5A-B4E22FBE207B}" dt="2020-02-26T00:13:14.812" v="44" actId="478"/>
          <ac:picMkLst>
            <pc:docMk/>
            <pc:sldMk cId="2601657354" sldId="642"/>
            <ac:picMk id="40" creationId="{519D7807-F408-4FBF-BF85-9981C8525621}"/>
          </ac:picMkLst>
        </pc:picChg>
        <pc:picChg chg="add del mod">
          <ac:chgData name="Carlos Reyes García" userId="8f106461-3865-4cda-a443-ca56f71f97d2" providerId="ADAL" clId="{D3EFDC9E-C770-4EC4-8A5A-B4E22FBE207B}" dt="2020-02-26T05:23:38.510" v="1252" actId="478"/>
          <ac:picMkLst>
            <pc:docMk/>
            <pc:sldMk cId="2601657354" sldId="642"/>
            <ac:picMk id="63" creationId="{3666B0C9-3208-4B66-9FA7-05EFF1A96160}"/>
          </ac:picMkLst>
        </pc:picChg>
        <pc:picChg chg="add del mod">
          <ac:chgData name="Carlos Reyes García" userId="8f106461-3865-4cda-a443-ca56f71f97d2" providerId="ADAL" clId="{D3EFDC9E-C770-4EC4-8A5A-B4E22FBE207B}" dt="2020-02-26T05:23:36.872" v="1251" actId="478"/>
          <ac:picMkLst>
            <pc:docMk/>
            <pc:sldMk cId="2601657354" sldId="642"/>
            <ac:picMk id="65" creationId="{36C65DC1-5DF8-4408-B570-765E2816FDAD}"/>
          </ac:picMkLst>
        </pc:picChg>
        <pc:picChg chg="add mod">
          <ac:chgData name="Carlos Reyes García" userId="8f106461-3865-4cda-a443-ca56f71f97d2" providerId="ADAL" clId="{D3EFDC9E-C770-4EC4-8A5A-B4E22FBE207B}" dt="2020-02-26T05:20:57.791" v="1208" actId="1035"/>
          <ac:picMkLst>
            <pc:docMk/>
            <pc:sldMk cId="2601657354" sldId="642"/>
            <ac:picMk id="73" creationId="{8AA5FF86-0E04-40B7-B031-E5DF5429769D}"/>
          </ac:picMkLst>
        </pc:picChg>
        <pc:picChg chg="add mod">
          <ac:chgData name="Carlos Reyes García" userId="8f106461-3865-4cda-a443-ca56f71f97d2" providerId="ADAL" clId="{D3EFDC9E-C770-4EC4-8A5A-B4E22FBE207B}" dt="2020-02-26T05:21:17.358" v="1222" actId="1035"/>
          <ac:picMkLst>
            <pc:docMk/>
            <pc:sldMk cId="2601657354" sldId="642"/>
            <ac:picMk id="83" creationId="{74692618-2CA8-46CD-AEF4-4C2BAF783F6E}"/>
          </ac:picMkLst>
        </pc:picChg>
        <pc:picChg chg="add mod">
          <ac:chgData name="Carlos Reyes García" userId="8f106461-3865-4cda-a443-ca56f71f97d2" providerId="ADAL" clId="{D3EFDC9E-C770-4EC4-8A5A-B4E22FBE207B}" dt="2020-02-26T05:25:57.215" v="1272" actId="1582"/>
          <ac:picMkLst>
            <pc:docMk/>
            <pc:sldMk cId="2601657354" sldId="642"/>
            <ac:picMk id="88" creationId="{20FC8ABB-676A-4F8D-95E5-C00D7AE280FC}"/>
          </ac:picMkLst>
        </pc:picChg>
        <pc:cxnChg chg="mod">
          <ac:chgData name="Carlos Reyes García" userId="8f106461-3865-4cda-a443-ca56f71f97d2" providerId="ADAL" clId="{D3EFDC9E-C770-4EC4-8A5A-B4E22FBE207B}" dt="2020-02-26T00:11:00.322" v="4" actId="478"/>
          <ac:cxnSpMkLst>
            <pc:docMk/>
            <pc:sldMk cId="2601657354" sldId="642"/>
            <ac:cxnSpMk id="19" creationId="{264FEA76-9EB6-4BE5-BDCF-220C1CE3667D}"/>
          </ac:cxnSpMkLst>
        </pc:cxnChg>
        <pc:cxnChg chg="mod">
          <ac:chgData name="Carlos Reyes García" userId="8f106461-3865-4cda-a443-ca56f71f97d2" providerId="ADAL" clId="{D3EFDC9E-C770-4EC4-8A5A-B4E22FBE207B}" dt="2020-02-26T00:11:00.322" v="4" actId="478"/>
          <ac:cxnSpMkLst>
            <pc:docMk/>
            <pc:sldMk cId="2601657354" sldId="642"/>
            <ac:cxnSpMk id="20" creationId="{F517FCC7-1498-4B4D-A287-9D7020DB32CB}"/>
          </ac:cxnSpMkLst>
        </pc:cxnChg>
        <pc:cxnChg chg="mod">
          <ac:chgData name="Carlos Reyes García" userId="8f106461-3865-4cda-a443-ca56f71f97d2" providerId="ADAL" clId="{D3EFDC9E-C770-4EC4-8A5A-B4E22FBE207B}" dt="2020-02-26T00:11:00.322" v="4" actId="478"/>
          <ac:cxnSpMkLst>
            <pc:docMk/>
            <pc:sldMk cId="2601657354" sldId="642"/>
            <ac:cxnSpMk id="21" creationId="{A1C0782F-5675-4389-8D6D-8E1730DC546F}"/>
          </ac:cxnSpMkLst>
        </pc:cxnChg>
        <pc:cxnChg chg="mod">
          <ac:chgData name="Carlos Reyes García" userId="8f106461-3865-4cda-a443-ca56f71f97d2" providerId="ADAL" clId="{D3EFDC9E-C770-4EC4-8A5A-B4E22FBE207B}" dt="2020-02-26T00:11:00.322" v="4" actId="478"/>
          <ac:cxnSpMkLst>
            <pc:docMk/>
            <pc:sldMk cId="2601657354" sldId="642"/>
            <ac:cxnSpMk id="22" creationId="{005B7A68-0522-453A-A4F7-024C23065906}"/>
          </ac:cxnSpMkLst>
        </pc:cxnChg>
        <pc:cxnChg chg="mod">
          <ac:chgData name="Carlos Reyes García" userId="8f106461-3865-4cda-a443-ca56f71f97d2" providerId="ADAL" clId="{D3EFDC9E-C770-4EC4-8A5A-B4E22FBE207B}" dt="2020-02-26T00:11:00.322" v="4" actId="478"/>
          <ac:cxnSpMkLst>
            <pc:docMk/>
            <pc:sldMk cId="2601657354" sldId="642"/>
            <ac:cxnSpMk id="23" creationId="{1E417F6F-B514-4D3E-A550-6C6B36B18CEC}"/>
          </ac:cxnSpMkLst>
        </pc:cxnChg>
        <pc:cxnChg chg="mod">
          <ac:chgData name="Carlos Reyes García" userId="8f106461-3865-4cda-a443-ca56f71f97d2" providerId="ADAL" clId="{D3EFDC9E-C770-4EC4-8A5A-B4E22FBE207B}" dt="2020-02-26T00:11:00.322" v="4" actId="478"/>
          <ac:cxnSpMkLst>
            <pc:docMk/>
            <pc:sldMk cId="2601657354" sldId="642"/>
            <ac:cxnSpMk id="24" creationId="{C9273110-0C74-49BE-A442-080A57E315F5}"/>
          </ac:cxnSpMkLst>
        </pc:cxnChg>
        <pc:cxnChg chg="mod">
          <ac:chgData name="Carlos Reyes García" userId="8f106461-3865-4cda-a443-ca56f71f97d2" providerId="ADAL" clId="{D3EFDC9E-C770-4EC4-8A5A-B4E22FBE207B}" dt="2020-02-26T00:11:00.322" v="4" actId="478"/>
          <ac:cxnSpMkLst>
            <pc:docMk/>
            <pc:sldMk cId="2601657354" sldId="642"/>
            <ac:cxnSpMk id="25" creationId="{A195E8FC-03B1-4231-9E96-BE6B4F48E359}"/>
          </ac:cxnSpMkLst>
        </pc:cxnChg>
        <pc:cxnChg chg="mod">
          <ac:chgData name="Carlos Reyes García" userId="8f106461-3865-4cda-a443-ca56f71f97d2" providerId="ADAL" clId="{D3EFDC9E-C770-4EC4-8A5A-B4E22FBE207B}" dt="2020-02-26T00:11:00.322" v="4" actId="478"/>
          <ac:cxnSpMkLst>
            <pc:docMk/>
            <pc:sldMk cId="2601657354" sldId="642"/>
            <ac:cxnSpMk id="27" creationId="{4A23D5D7-7B2D-4AAA-9978-D5BA84094ABA}"/>
          </ac:cxnSpMkLst>
        </pc:cxnChg>
        <pc:cxnChg chg="mod">
          <ac:chgData name="Carlos Reyes García" userId="8f106461-3865-4cda-a443-ca56f71f97d2" providerId="ADAL" clId="{D3EFDC9E-C770-4EC4-8A5A-B4E22FBE207B}" dt="2020-02-26T00:11:00.322" v="4" actId="478"/>
          <ac:cxnSpMkLst>
            <pc:docMk/>
            <pc:sldMk cId="2601657354" sldId="642"/>
            <ac:cxnSpMk id="28" creationId="{D21B5062-5C3E-4C0C-B498-3A2F324621E2}"/>
          </ac:cxnSpMkLst>
        </pc:cxnChg>
        <pc:cxnChg chg="add mod">
          <ac:chgData name="Carlos Reyes García" userId="8f106461-3865-4cda-a443-ca56f71f97d2" providerId="ADAL" clId="{D3EFDC9E-C770-4EC4-8A5A-B4E22FBE207B}" dt="2020-02-26T05:26:49.136" v="1279" actId="1582"/>
          <ac:cxnSpMkLst>
            <pc:docMk/>
            <pc:sldMk cId="2601657354" sldId="642"/>
            <ac:cxnSpMk id="75" creationId="{64F755EA-F89C-4E34-9355-E2EEC370B71A}"/>
          </ac:cxnSpMkLst>
        </pc:cxnChg>
        <pc:cxnChg chg="add mod">
          <ac:chgData name="Carlos Reyes García" userId="8f106461-3865-4cda-a443-ca56f71f97d2" providerId="ADAL" clId="{D3EFDC9E-C770-4EC4-8A5A-B4E22FBE207B}" dt="2020-02-26T05:26:53.919" v="1280" actId="1582"/>
          <ac:cxnSpMkLst>
            <pc:docMk/>
            <pc:sldMk cId="2601657354" sldId="642"/>
            <ac:cxnSpMk id="77" creationId="{D4B09E59-B197-4ADE-B9FA-4E6B0B4620FF}"/>
          </ac:cxnSpMkLst>
        </pc:cxnChg>
        <pc:cxnChg chg="add mod">
          <ac:chgData name="Carlos Reyes García" userId="8f106461-3865-4cda-a443-ca56f71f97d2" providerId="ADAL" clId="{D3EFDC9E-C770-4EC4-8A5A-B4E22FBE207B}" dt="2020-02-26T05:26:29.699" v="1276" actId="1582"/>
          <ac:cxnSpMkLst>
            <pc:docMk/>
            <pc:sldMk cId="2601657354" sldId="642"/>
            <ac:cxnSpMk id="84" creationId="{7FA6FCC7-82C4-4949-B5EB-69318260A326}"/>
          </ac:cxnSpMkLst>
        </pc:cxnChg>
        <pc:cxnChg chg="add mod">
          <ac:chgData name="Carlos Reyes García" userId="8f106461-3865-4cda-a443-ca56f71f97d2" providerId="ADAL" clId="{D3EFDC9E-C770-4EC4-8A5A-B4E22FBE207B}" dt="2020-02-26T05:26:40.171" v="1278" actId="1582"/>
          <ac:cxnSpMkLst>
            <pc:docMk/>
            <pc:sldMk cId="2601657354" sldId="642"/>
            <ac:cxnSpMk id="85" creationId="{A831AED9-795D-4536-ACF1-7447560B2E31}"/>
          </ac:cxnSpMkLst>
        </pc:cxnChg>
        <pc:cxnChg chg="add mod">
          <ac:chgData name="Carlos Reyes García" userId="8f106461-3865-4cda-a443-ca56f71f97d2" providerId="ADAL" clId="{D3EFDC9E-C770-4EC4-8A5A-B4E22FBE207B}" dt="2020-02-26T05:26:34.792" v="1277" actId="1582"/>
          <ac:cxnSpMkLst>
            <pc:docMk/>
            <pc:sldMk cId="2601657354" sldId="642"/>
            <ac:cxnSpMk id="86" creationId="{982B2A40-D23C-4E65-9294-23656742C5CC}"/>
          </ac:cxnSpMkLst>
        </pc:cxnChg>
        <pc:cxnChg chg="add del">
          <ac:chgData name="Carlos Reyes García" userId="8f106461-3865-4cda-a443-ca56f71f97d2" providerId="ADAL" clId="{D3EFDC9E-C770-4EC4-8A5A-B4E22FBE207B}" dt="2020-02-26T05:27:18.330" v="1282" actId="478"/>
          <ac:cxnSpMkLst>
            <pc:docMk/>
            <pc:sldMk cId="2601657354" sldId="642"/>
            <ac:cxnSpMk id="95" creationId="{8BD05CFE-81EB-4F2D-9FC3-FA33CD5F55FC}"/>
          </ac:cxnSpMkLst>
        </pc:cxnChg>
        <pc:cxnChg chg="add mod">
          <ac:chgData name="Carlos Reyes García" userId="8f106461-3865-4cda-a443-ca56f71f97d2" providerId="ADAL" clId="{D3EFDC9E-C770-4EC4-8A5A-B4E22FBE207B}" dt="2020-02-26T05:27:58.964" v="1284" actId="13822"/>
          <ac:cxnSpMkLst>
            <pc:docMk/>
            <pc:sldMk cId="2601657354" sldId="642"/>
            <ac:cxnSpMk id="97" creationId="{6CCE7904-209F-49CF-82E2-118048CE102F}"/>
          </ac:cxnSpMkLst>
        </pc:cxnChg>
        <pc:cxnChg chg="add mod">
          <ac:chgData name="Carlos Reyes García" userId="8f106461-3865-4cda-a443-ca56f71f97d2" providerId="ADAL" clId="{D3EFDC9E-C770-4EC4-8A5A-B4E22FBE207B}" dt="2020-02-26T05:28:32.862" v="1288" actId="1582"/>
          <ac:cxnSpMkLst>
            <pc:docMk/>
            <pc:sldMk cId="2601657354" sldId="642"/>
            <ac:cxnSpMk id="99" creationId="{0B5369DA-314D-45B8-9CA6-ECB28849DFCF}"/>
          </ac:cxnSpMkLst>
        </pc:cxnChg>
      </pc:sldChg>
      <pc:sldChg chg="delSp add del mod">
        <pc:chgData name="Carlos Reyes García" userId="8f106461-3865-4cda-a443-ca56f71f97d2" providerId="ADAL" clId="{D3EFDC9E-C770-4EC4-8A5A-B4E22FBE207B}" dt="2020-02-26T05:13:21.168" v="1138" actId="47"/>
        <pc:sldMkLst>
          <pc:docMk/>
          <pc:sldMk cId="728180074" sldId="643"/>
        </pc:sldMkLst>
        <pc:grpChg chg="del">
          <ac:chgData name="Carlos Reyes García" userId="8f106461-3865-4cda-a443-ca56f71f97d2" providerId="ADAL" clId="{D3EFDC9E-C770-4EC4-8A5A-B4E22FBE207B}" dt="2020-02-26T00:10:52.992" v="3" actId="478"/>
          <ac:grpSpMkLst>
            <pc:docMk/>
            <pc:sldMk cId="728180074" sldId="643"/>
            <ac:grpSpMk id="4" creationId="{8D2DBBAE-4120-4CBA-812D-0090494241EF}"/>
          </ac:grpSpMkLst>
        </pc:grpChg>
      </pc:sldChg>
      <pc:sldChg chg="add del">
        <pc:chgData name="Carlos Reyes García" userId="8f106461-3865-4cda-a443-ca56f71f97d2" providerId="ADAL" clId="{D3EFDC9E-C770-4EC4-8A5A-B4E22FBE207B}" dt="2020-02-26T00:34:00.591" v="834" actId="47"/>
        <pc:sldMkLst>
          <pc:docMk/>
          <pc:sldMk cId="732178095" sldId="644"/>
        </pc:sldMkLst>
      </pc:sldChg>
      <pc:sldChg chg="add del">
        <pc:chgData name="Carlos Reyes García" userId="8f106461-3865-4cda-a443-ca56f71f97d2" providerId="ADAL" clId="{D3EFDC9E-C770-4EC4-8A5A-B4E22FBE207B}" dt="2020-02-26T00:32:30.815" v="824" actId="47"/>
        <pc:sldMkLst>
          <pc:docMk/>
          <pc:sldMk cId="1622181214" sldId="644"/>
        </pc:sldMkLst>
      </pc:sldChg>
      <pc:sldChg chg="modSp add del mod ord">
        <pc:chgData name="Carlos Reyes García" userId="8f106461-3865-4cda-a443-ca56f71f97d2" providerId="ADAL" clId="{D3EFDC9E-C770-4EC4-8A5A-B4E22FBE207B}" dt="2020-02-26T05:20:05.121" v="1194" actId="47"/>
        <pc:sldMkLst>
          <pc:docMk/>
          <pc:sldMk cId="3045831303" sldId="644"/>
        </pc:sldMkLst>
        <pc:spChg chg="mod">
          <ac:chgData name="Carlos Reyes García" userId="8f106461-3865-4cda-a443-ca56f71f97d2" providerId="ADAL" clId="{D3EFDC9E-C770-4EC4-8A5A-B4E22FBE207B}" dt="2020-02-26T00:40:28.374" v="942" actId="20577"/>
          <ac:spMkLst>
            <pc:docMk/>
            <pc:sldMk cId="3045831303" sldId="644"/>
            <ac:spMk id="70" creationId="{BCD54630-6D75-4D9E-A14C-37D8968C3B0A}"/>
          </ac:spMkLst>
        </pc:spChg>
      </pc:sldChg>
      <pc:sldChg chg="modSp add del mod">
        <pc:chgData name="Carlos Reyes García" userId="8f106461-3865-4cda-a443-ca56f71f97d2" providerId="ADAL" clId="{D3EFDC9E-C770-4EC4-8A5A-B4E22FBE207B}" dt="2020-02-26T05:38:15.816" v="1501" actId="47"/>
        <pc:sldMkLst>
          <pc:docMk/>
          <pc:sldMk cId="910472760" sldId="645"/>
        </pc:sldMkLst>
        <pc:spChg chg="mod">
          <ac:chgData name="Carlos Reyes García" userId="8f106461-3865-4cda-a443-ca56f71f97d2" providerId="ADAL" clId="{D3EFDC9E-C770-4EC4-8A5A-B4E22FBE207B}" dt="2020-02-26T05:29:47.501" v="1293"/>
          <ac:spMkLst>
            <pc:docMk/>
            <pc:sldMk cId="910472760" sldId="645"/>
            <ac:spMk id="2" creationId="{28BA92A9-B175-485F-8685-C452F3711619}"/>
          </ac:spMkLst>
        </pc:spChg>
        <pc:spChg chg="mod">
          <ac:chgData name="Carlos Reyes García" userId="8f106461-3865-4cda-a443-ca56f71f97d2" providerId="ADAL" clId="{D3EFDC9E-C770-4EC4-8A5A-B4E22FBE207B}" dt="2020-02-26T05:29:53.889" v="1295" actId="20577"/>
          <ac:spMkLst>
            <pc:docMk/>
            <pc:sldMk cId="910472760" sldId="645"/>
            <ac:spMk id="3" creationId="{BF917AC2-966F-4713-AADE-CA7F0D2F79BE}"/>
          </ac:spMkLst>
        </pc:spChg>
      </pc:sldChg>
      <pc:sldChg chg="add del">
        <pc:chgData name="Carlos Reyes García" userId="8f106461-3865-4cda-a443-ca56f71f97d2" providerId="ADAL" clId="{D3EFDC9E-C770-4EC4-8A5A-B4E22FBE207B}" dt="2020-02-26T00:32:31.433" v="825" actId="47"/>
        <pc:sldMkLst>
          <pc:docMk/>
          <pc:sldMk cId="1941775905" sldId="645"/>
        </pc:sldMkLst>
      </pc:sldChg>
      <pc:sldChg chg="add del">
        <pc:chgData name="Carlos Reyes García" userId="8f106461-3865-4cda-a443-ca56f71f97d2" providerId="ADAL" clId="{D3EFDC9E-C770-4EC4-8A5A-B4E22FBE207B}" dt="2020-02-26T00:34:01.577" v="835" actId="47"/>
        <pc:sldMkLst>
          <pc:docMk/>
          <pc:sldMk cId="3226787552" sldId="645"/>
        </pc:sldMkLst>
      </pc:sldChg>
      <pc:sldChg chg="addSp delSp modSp add mod modNotesTx">
        <pc:chgData name="Carlos Reyes García" userId="8f106461-3865-4cda-a443-ca56f71f97d2" providerId="ADAL" clId="{D3EFDC9E-C770-4EC4-8A5A-B4E22FBE207B}" dt="2020-02-28T22:16:17.961" v="8136" actId="20577"/>
        <pc:sldMkLst>
          <pc:docMk/>
          <pc:sldMk cId="536156213" sldId="646"/>
        </pc:sldMkLst>
        <pc:spChg chg="mod">
          <ac:chgData name="Carlos Reyes García" userId="8f106461-3865-4cda-a443-ca56f71f97d2" providerId="ADAL" clId="{D3EFDC9E-C770-4EC4-8A5A-B4E22FBE207B}" dt="2020-02-26T05:00:02.206" v="979"/>
          <ac:spMkLst>
            <pc:docMk/>
            <pc:sldMk cId="536156213" sldId="646"/>
            <ac:spMk id="2" creationId="{9EC78D2B-E078-4374-9A00-8BE599CDC800}"/>
          </ac:spMkLst>
        </pc:spChg>
        <pc:spChg chg="mod">
          <ac:chgData name="Carlos Reyes García" userId="8f106461-3865-4cda-a443-ca56f71f97d2" providerId="ADAL" clId="{D3EFDC9E-C770-4EC4-8A5A-B4E22FBE207B}" dt="2020-02-26T05:07:21.831" v="1043" actId="6549"/>
          <ac:spMkLst>
            <pc:docMk/>
            <pc:sldMk cId="536156213" sldId="646"/>
            <ac:spMk id="3" creationId="{8A254388-7434-40C1-ADD7-907F10F9AED6}"/>
          </ac:spMkLst>
        </pc:spChg>
        <pc:spChg chg="del mod">
          <ac:chgData name="Carlos Reyes García" userId="8f106461-3865-4cda-a443-ca56f71f97d2" providerId="ADAL" clId="{D3EFDC9E-C770-4EC4-8A5A-B4E22FBE207B}" dt="2020-02-28T22:15:02.856" v="8132" actId="12084"/>
          <ac:spMkLst>
            <pc:docMk/>
            <pc:sldMk cId="536156213" sldId="646"/>
            <ac:spMk id="4" creationId="{DEE7FFCE-48C3-4FF3-AEAD-B2A2EDD4C621}"/>
          </ac:spMkLst>
        </pc:spChg>
        <pc:spChg chg="add del">
          <ac:chgData name="Carlos Reyes García" userId="8f106461-3865-4cda-a443-ca56f71f97d2" providerId="ADAL" clId="{D3EFDC9E-C770-4EC4-8A5A-B4E22FBE207B}" dt="2020-02-26T05:02:48.026" v="990"/>
          <ac:spMkLst>
            <pc:docMk/>
            <pc:sldMk cId="536156213" sldId="646"/>
            <ac:spMk id="5" creationId="{A44123AF-A983-4449-B5BE-2A8B74D0C650}"/>
          </ac:spMkLst>
        </pc:spChg>
        <pc:spChg chg="add del mod">
          <ac:chgData name="Carlos Reyes García" userId="8f106461-3865-4cda-a443-ca56f71f97d2" providerId="ADAL" clId="{D3EFDC9E-C770-4EC4-8A5A-B4E22FBE207B}" dt="2020-02-26T05:03:37.373" v="997" actId="12084"/>
          <ac:spMkLst>
            <pc:docMk/>
            <pc:sldMk cId="536156213" sldId="646"/>
            <ac:spMk id="6" creationId="{9BF1007B-FCB5-4BEE-A4F0-D8DF55FE0068}"/>
          </ac:spMkLst>
        </pc:spChg>
        <pc:graphicFrameChg chg="add mod">
          <ac:chgData name="Carlos Reyes García" userId="8f106461-3865-4cda-a443-ca56f71f97d2" providerId="ADAL" clId="{D3EFDC9E-C770-4EC4-8A5A-B4E22FBE207B}" dt="2020-02-28T22:16:17.961" v="8136" actId="20577"/>
          <ac:graphicFrameMkLst>
            <pc:docMk/>
            <pc:sldMk cId="536156213" sldId="646"/>
            <ac:graphicFrameMk id="5" creationId="{951F87FE-A7DB-4594-9534-11EE3F5DEE97}"/>
          </ac:graphicFrameMkLst>
        </pc:graphicFrameChg>
        <pc:graphicFrameChg chg="add del mod">
          <ac:chgData name="Carlos Reyes García" userId="8f106461-3865-4cda-a443-ca56f71f97d2" providerId="ADAL" clId="{D3EFDC9E-C770-4EC4-8A5A-B4E22FBE207B}" dt="2020-02-26T05:07:26.684" v="1044" actId="478"/>
          <ac:graphicFrameMkLst>
            <pc:docMk/>
            <pc:sldMk cId="536156213" sldId="646"/>
            <ac:graphicFrameMk id="7" creationId="{E2BF3244-F1F0-4310-8562-9DD6FBD1AC20}"/>
          </ac:graphicFrameMkLst>
        </pc:graphicFrameChg>
        <pc:picChg chg="del">
          <ac:chgData name="Carlos Reyes García" userId="8f106461-3865-4cda-a443-ca56f71f97d2" providerId="ADAL" clId="{D3EFDC9E-C770-4EC4-8A5A-B4E22FBE207B}" dt="2020-02-26T03:32:53.815" v="950" actId="478"/>
          <ac:picMkLst>
            <pc:docMk/>
            <pc:sldMk cId="536156213" sldId="646"/>
            <ac:picMk id="8" creationId="{A7497460-4DFF-4C93-87ED-6C8C66FAB061}"/>
          </ac:picMkLst>
        </pc:picChg>
        <pc:picChg chg="del">
          <ac:chgData name="Carlos Reyes García" userId="8f106461-3865-4cda-a443-ca56f71f97d2" providerId="ADAL" clId="{D3EFDC9E-C770-4EC4-8A5A-B4E22FBE207B}" dt="2020-02-26T03:32:56.253" v="951" actId="478"/>
          <ac:picMkLst>
            <pc:docMk/>
            <pc:sldMk cId="536156213" sldId="646"/>
            <ac:picMk id="11" creationId="{51ADF6DC-D03B-4CE8-921F-59147DE93FA8}"/>
          </ac:picMkLst>
        </pc:picChg>
      </pc:sldChg>
      <pc:sldChg chg="add del">
        <pc:chgData name="Carlos Reyes García" userId="8f106461-3865-4cda-a443-ca56f71f97d2" providerId="ADAL" clId="{D3EFDC9E-C770-4EC4-8A5A-B4E22FBE207B}" dt="2020-02-26T00:34:02.288" v="836" actId="47"/>
        <pc:sldMkLst>
          <pc:docMk/>
          <pc:sldMk cId="1810881244" sldId="646"/>
        </pc:sldMkLst>
      </pc:sldChg>
      <pc:sldChg chg="addSp delSp modSp add mod modShow">
        <pc:chgData name="Carlos Reyes García" userId="8f106461-3865-4cda-a443-ca56f71f97d2" providerId="ADAL" clId="{D3EFDC9E-C770-4EC4-8A5A-B4E22FBE207B}" dt="2020-02-26T05:49:31.166" v="1616" actId="729"/>
        <pc:sldMkLst>
          <pc:docMk/>
          <pc:sldMk cId="555958468" sldId="647"/>
        </pc:sldMkLst>
        <pc:spChg chg="mod">
          <ac:chgData name="Carlos Reyes García" userId="8f106461-3865-4cda-a443-ca56f71f97d2" providerId="ADAL" clId="{D3EFDC9E-C770-4EC4-8A5A-B4E22FBE207B}" dt="2020-02-26T05:37:41.733" v="1498" actId="5793"/>
          <ac:spMkLst>
            <pc:docMk/>
            <pc:sldMk cId="555958468" sldId="647"/>
            <ac:spMk id="42" creationId="{C2657585-A075-45A6-AA11-562D44885D95}"/>
          </ac:spMkLst>
        </pc:spChg>
        <pc:spChg chg="mod">
          <ac:chgData name="Carlos Reyes García" userId="8f106461-3865-4cda-a443-ca56f71f97d2" providerId="ADAL" clId="{D3EFDC9E-C770-4EC4-8A5A-B4E22FBE207B}" dt="2020-02-26T05:30:05.324" v="1298" actId="20577"/>
          <ac:spMkLst>
            <pc:docMk/>
            <pc:sldMk cId="555958468" sldId="647"/>
            <ac:spMk id="70" creationId="{BCD54630-6D75-4D9E-A14C-37D8968C3B0A}"/>
          </ac:spMkLst>
        </pc:spChg>
        <pc:spChg chg="del">
          <ac:chgData name="Carlos Reyes García" userId="8f106461-3865-4cda-a443-ca56f71f97d2" providerId="ADAL" clId="{D3EFDC9E-C770-4EC4-8A5A-B4E22FBE207B}" dt="2020-02-26T05:31:59.718" v="1320" actId="478"/>
          <ac:spMkLst>
            <pc:docMk/>
            <pc:sldMk cId="555958468" sldId="647"/>
            <ac:spMk id="80" creationId="{6CBA2A34-F539-43E8-9736-DF7E168036B2}"/>
          </ac:spMkLst>
        </pc:spChg>
        <pc:spChg chg="del">
          <ac:chgData name="Carlos Reyes García" userId="8f106461-3865-4cda-a443-ca56f71f97d2" providerId="ADAL" clId="{D3EFDC9E-C770-4EC4-8A5A-B4E22FBE207B}" dt="2020-02-26T05:31:45.232" v="1318" actId="478"/>
          <ac:spMkLst>
            <pc:docMk/>
            <pc:sldMk cId="555958468" sldId="647"/>
            <ac:spMk id="82" creationId="{2B1741FD-AC3F-47D1-B62C-780E16B5721E}"/>
          </ac:spMkLst>
        </pc:spChg>
        <pc:spChg chg="del">
          <ac:chgData name="Carlos Reyes García" userId="8f106461-3865-4cda-a443-ca56f71f97d2" providerId="ADAL" clId="{D3EFDC9E-C770-4EC4-8A5A-B4E22FBE207B}" dt="2020-02-26T05:31:45.232" v="1318" actId="478"/>
          <ac:spMkLst>
            <pc:docMk/>
            <pc:sldMk cId="555958468" sldId="647"/>
            <ac:spMk id="89" creationId="{28EEAC86-B1FD-4BBA-843D-C393D73EAA07}"/>
          </ac:spMkLst>
        </pc:spChg>
        <pc:spChg chg="del">
          <ac:chgData name="Carlos Reyes García" userId="8f106461-3865-4cda-a443-ca56f71f97d2" providerId="ADAL" clId="{D3EFDC9E-C770-4EC4-8A5A-B4E22FBE207B}" dt="2020-02-26T05:31:45.232" v="1318" actId="478"/>
          <ac:spMkLst>
            <pc:docMk/>
            <pc:sldMk cId="555958468" sldId="647"/>
            <ac:spMk id="91" creationId="{9BE23DB6-074E-4D86-A57B-C093C5676725}"/>
          </ac:spMkLst>
        </pc:spChg>
        <pc:spChg chg="del">
          <ac:chgData name="Carlos Reyes García" userId="8f106461-3865-4cda-a443-ca56f71f97d2" providerId="ADAL" clId="{D3EFDC9E-C770-4EC4-8A5A-B4E22FBE207B}" dt="2020-02-26T05:31:45.232" v="1318" actId="478"/>
          <ac:spMkLst>
            <pc:docMk/>
            <pc:sldMk cId="555958468" sldId="647"/>
            <ac:spMk id="93" creationId="{5B8179B6-BBDF-4A04-A6B7-F0C4704CA2C4}"/>
          </ac:spMkLst>
        </pc:spChg>
        <pc:spChg chg="del">
          <ac:chgData name="Carlos Reyes García" userId="8f106461-3865-4cda-a443-ca56f71f97d2" providerId="ADAL" clId="{D3EFDC9E-C770-4EC4-8A5A-B4E22FBE207B}" dt="2020-02-26T05:31:45.232" v="1318" actId="478"/>
          <ac:spMkLst>
            <pc:docMk/>
            <pc:sldMk cId="555958468" sldId="647"/>
            <ac:spMk id="101" creationId="{02FFE53B-2198-421A-A204-DB0606E52245}"/>
          </ac:spMkLst>
        </pc:spChg>
        <pc:picChg chg="add mod">
          <ac:chgData name="Carlos Reyes García" userId="8f106461-3865-4cda-a443-ca56f71f97d2" providerId="ADAL" clId="{D3EFDC9E-C770-4EC4-8A5A-B4E22FBE207B}" dt="2020-02-26T05:37:45.220" v="1499" actId="1076"/>
          <ac:picMkLst>
            <pc:docMk/>
            <pc:sldMk cId="555958468" sldId="647"/>
            <ac:picMk id="4" creationId="{33DAB2FD-DB91-4DFF-BAE5-9392F23A63CA}"/>
          </ac:picMkLst>
        </pc:picChg>
        <pc:picChg chg="del">
          <ac:chgData name="Carlos Reyes García" userId="8f106461-3865-4cda-a443-ca56f71f97d2" providerId="ADAL" clId="{D3EFDC9E-C770-4EC4-8A5A-B4E22FBE207B}" dt="2020-02-26T05:31:59.718" v="1320" actId="478"/>
          <ac:picMkLst>
            <pc:docMk/>
            <pc:sldMk cId="555958468" sldId="647"/>
            <ac:picMk id="73" creationId="{8AA5FF86-0E04-40B7-B031-E5DF5429769D}"/>
          </ac:picMkLst>
        </pc:picChg>
        <pc:picChg chg="del">
          <ac:chgData name="Carlos Reyes García" userId="8f106461-3865-4cda-a443-ca56f71f97d2" providerId="ADAL" clId="{D3EFDC9E-C770-4EC4-8A5A-B4E22FBE207B}" dt="2020-02-26T05:31:45.232" v="1318" actId="478"/>
          <ac:picMkLst>
            <pc:docMk/>
            <pc:sldMk cId="555958468" sldId="647"/>
            <ac:picMk id="83" creationId="{74692618-2CA8-46CD-AEF4-4C2BAF783F6E}"/>
          </ac:picMkLst>
        </pc:picChg>
        <pc:picChg chg="del">
          <ac:chgData name="Carlos Reyes García" userId="8f106461-3865-4cda-a443-ca56f71f97d2" providerId="ADAL" clId="{D3EFDC9E-C770-4EC4-8A5A-B4E22FBE207B}" dt="2020-02-26T05:31:47.669" v="1319" actId="478"/>
          <ac:picMkLst>
            <pc:docMk/>
            <pc:sldMk cId="555958468" sldId="647"/>
            <ac:picMk id="88" creationId="{20FC8ABB-676A-4F8D-95E5-C00D7AE280FC}"/>
          </ac:picMkLst>
        </pc:picChg>
        <pc:cxnChg chg="del">
          <ac:chgData name="Carlos Reyes García" userId="8f106461-3865-4cda-a443-ca56f71f97d2" providerId="ADAL" clId="{D3EFDC9E-C770-4EC4-8A5A-B4E22FBE207B}" dt="2020-02-26T05:31:59.718" v="1320" actId="478"/>
          <ac:cxnSpMkLst>
            <pc:docMk/>
            <pc:sldMk cId="555958468" sldId="647"/>
            <ac:cxnSpMk id="75" creationId="{64F755EA-F89C-4E34-9355-E2EEC370B71A}"/>
          </ac:cxnSpMkLst>
        </pc:cxnChg>
        <pc:cxnChg chg="del">
          <ac:chgData name="Carlos Reyes García" userId="8f106461-3865-4cda-a443-ca56f71f97d2" providerId="ADAL" clId="{D3EFDC9E-C770-4EC4-8A5A-B4E22FBE207B}" dt="2020-02-26T05:31:59.718" v="1320" actId="478"/>
          <ac:cxnSpMkLst>
            <pc:docMk/>
            <pc:sldMk cId="555958468" sldId="647"/>
            <ac:cxnSpMk id="77" creationId="{D4B09E59-B197-4ADE-B9FA-4E6B0B4620FF}"/>
          </ac:cxnSpMkLst>
        </pc:cxnChg>
        <pc:cxnChg chg="del">
          <ac:chgData name="Carlos Reyes García" userId="8f106461-3865-4cda-a443-ca56f71f97d2" providerId="ADAL" clId="{D3EFDC9E-C770-4EC4-8A5A-B4E22FBE207B}" dt="2020-02-26T05:31:45.232" v="1318" actId="478"/>
          <ac:cxnSpMkLst>
            <pc:docMk/>
            <pc:sldMk cId="555958468" sldId="647"/>
            <ac:cxnSpMk id="84" creationId="{7FA6FCC7-82C4-4949-B5EB-69318260A326}"/>
          </ac:cxnSpMkLst>
        </pc:cxnChg>
        <pc:cxnChg chg="del">
          <ac:chgData name="Carlos Reyes García" userId="8f106461-3865-4cda-a443-ca56f71f97d2" providerId="ADAL" clId="{D3EFDC9E-C770-4EC4-8A5A-B4E22FBE207B}" dt="2020-02-26T05:31:45.232" v="1318" actId="478"/>
          <ac:cxnSpMkLst>
            <pc:docMk/>
            <pc:sldMk cId="555958468" sldId="647"/>
            <ac:cxnSpMk id="85" creationId="{A831AED9-795D-4536-ACF1-7447560B2E31}"/>
          </ac:cxnSpMkLst>
        </pc:cxnChg>
        <pc:cxnChg chg="del">
          <ac:chgData name="Carlos Reyes García" userId="8f106461-3865-4cda-a443-ca56f71f97d2" providerId="ADAL" clId="{D3EFDC9E-C770-4EC4-8A5A-B4E22FBE207B}" dt="2020-02-26T05:31:45.232" v="1318" actId="478"/>
          <ac:cxnSpMkLst>
            <pc:docMk/>
            <pc:sldMk cId="555958468" sldId="647"/>
            <ac:cxnSpMk id="86" creationId="{982B2A40-D23C-4E65-9294-23656742C5CC}"/>
          </ac:cxnSpMkLst>
        </pc:cxnChg>
        <pc:cxnChg chg="del">
          <ac:chgData name="Carlos Reyes García" userId="8f106461-3865-4cda-a443-ca56f71f97d2" providerId="ADAL" clId="{D3EFDC9E-C770-4EC4-8A5A-B4E22FBE207B}" dt="2020-02-26T05:31:45.232" v="1318" actId="478"/>
          <ac:cxnSpMkLst>
            <pc:docMk/>
            <pc:sldMk cId="555958468" sldId="647"/>
            <ac:cxnSpMk id="97" creationId="{6CCE7904-209F-49CF-82E2-118048CE102F}"/>
          </ac:cxnSpMkLst>
        </pc:cxnChg>
        <pc:cxnChg chg="del">
          <ac:chgData name="Carlos Reyes García" userId="8f106461-3865-4cda-a443-ca56f71f97d2" providerId="ADAL" clId="{D3EFDC9E-C770-4EC4-8A5A-B4E22FBE207B}" dt="2020-02-26T05:31:45.232" v="1318" actId="478"/>
          <ac:cxnSpMkLst>
            <pc:docMk/>
            <pc:sldMk cId="555958468" sldId="647"/>
            <ac:cxnSpMk id="99" creationId="{0B5369DA-314D-45B8-9CA6-ECB28849DFCF}"/>
          </ac:cxnSpMkLst>
        </pc:cxnChg>
      </pc:sldChg>
      <pc:sldChg chg="addSp delSp modSp add mod modShow">
        <pc:chgData name="Carlos Reyes García" userId="8f106461-3865-4cda-a443-ca56f71f97d2" providerId="ADAL" clId="{D3EFDC9E-C770-4EC4-8A5A-B4E22FBE207B}" dt="2020-02-26T05:49:31.166" v="1616" actId="729"/>
        <pc:sldMkLst>
          <pc:docMk/>
          <pc:sldMk cId="973919267" sldId="648"/>
        </pc:sldMkLst>
        <pc:spChg chg="mod">
          <ac:chgData name="Carlos Reyes García" userId="8f106461-3865-4cda-a443-ca56f71f97d2" providerId="ADAL" clId="{D3EFDC9E-C770-4EC4-8A5A-B4E22FBE207B}" dt="2020-02-26T05:39:06.037" v="1596" actId="20577"/>
          <ac:spMkLst>
            <pc:docMk/>
            <pc:sldMk cId="973919267" sldId="648"/>
            <ac:spMk id="42" creationId="{C2657585-A075-45A6-AA11-562D44885D95}"/>
          </ac:spMkLst>
        </pc:spChg>
        <pc:spChg chg="mod">
          <ac:chgData name="Carlos Reyes García" userId="8f106461-3865-4cda-a443-ca56f71f97d2" providerId="ADAL" clId="{D3EFDC9E-C770-4EC4-8A5A-B4E22FBE207B}" dt="2020-02-26T05:43:57.595" v="1609" actId="20577"/>
          <ac:spMkLst>
            <pc:docMk/>
            <pc:sldMk cId="973919267" sldId="648"/>
            <ac:spMk id="70" creationId="{BCD54630-6D75-4D9E-A14C-37D8968C3B0A}"/>
          </ac:spMkLst>
        </pc:spChg>
        <pc:picChg chg="del">
          <ac:chgData name="Carlos Reyes García" userId="8f106461-3865-4cda-a443-ca56f71f97d2" providerId="ADAL" clId="{D3EFDC9E-C770-4EC4-8A5A-B4E22FBE207B}" dt="2020-02-26T05:38:23.559" v="1505" actId="478"/>
          <ac:picMkLst>
            <pc:docMk/>
            <pc:sldMk cId="973919267" sldId="648"/>
            <ac:picMk id="4" creationId="{33DAB2FD-DB91-4DFF-BAE5-9392F23A63CA}"/>
          </ac:picMkLst>
        </pc:picChg>
        <pc:picChg chg="add mod">
          <ac:chgData name="Carlos Reyes García" userId="8f106461-3865-4cda-a443-ca56f71f97d2" providerId="ADAL" clId="{D3EFDC9E-C770-4EC4-8A5A-B4E22FBE207B}" dt="2020-02-26T05:44:34.910" v="1615" actId="1076"/>
          <ac:picMkLst>
            <pc:docMk/>
            <pc:sldMk cId="973919267" sldId="648"/>
            <ac:picMk id="5" creationId="{DDFC2703-D0C5-45F3-AA22-D1E53415C18F}"/>
          </ac:picMkLst>
        </pc:picChg>
        <pc:picChg chg="add mod">
          <ac:chgData name="Carlos Reyes García" userId="8f106461-3865-4cda-a443-ca56f71f97d2" providerId="ADAL" clId="{D3EFDC9E-C770-4EC4-8A5A-B4E22FBE207B}" dt="2020-02-26T05:44:22.344" v="1612" actId="208"/>
          <ac:picMkLst>
            <pc:docMk/>
            <pc:sldMk cId="973919267" sldId="648"/>
            <ac:picMk id="6" creationId="{AD10F431-FD32-4EDB-AFCB-76B66F424F79}"/>
          </ac:picMkLst>
        </pc:picChg>
        <pc:picChg chg="add mod">
          <ac:chgData name="Carlos Reyes García" userId="8f106461-3865-4cda-a443-ca56f71f97d2" providerId="ADAL" clId="{D3EFDC9E-C770-4EC4-8A5A-B4E22FBE207B}" dt="2020-02-26T05:44:26.668" v="1613" actId="208"/>
          <ac:picMkLst>
            <pc:docMk/>
            <pc:sldMk cId="973919267" sldId="648"/>
            <ac:picMk id="8" creationId="{CA2B11EC-E35D-46A9-9795-B3B260B6FBDE}"/>
          </ac:picMkLst>
        </pc:picChg>
        <pc:picChg chg="add mod">
          <ac:chgData name="Carlos Reyes García" userId="8f106461-3865-4cda-a443-ca56f71f97d2" providerId="ADAL" clId="{D3EFDC9E-C770-4EC4-8A5A-B4E22FBE207B}" dt="2020-02-26T05:44:29.120" v="1614" actId="208"/>
          <ac:picMkLst>
            <pc:docMk/>
            <pc:sldMk cId="973919267" sldId="648"/>
            <ac:picMk id="9" creationId="{E9B27B3F-CC78-4D30-A15D-AD33551D8E3C}"/>
          </ac:picMkLst>
        </pc:picChg>
      </pc:sldChg>
      <pc:sldChg chg="modSp new mod modShow">
        <pc:chgData name="Carlos Reyes García" userId="8f106461-3865-4cda-a443-ca56f71f97d2" providerId="ADAL" clId="{D3EFDC9E-C770-4EC4-8A5A-B4E22FBE207B}" dt="2020-02-26T05:57:43.650" v="1771" actId="729"/>
        <pc:sldMkLst>
          <pc:docMk/>
          <pc:sldMk cId="477444310" sldId="649"/>
        </pc:sldMkLst>
        <pc:spChg chg="mod">
          <ac:chgData name="Carlos Reyes García" userId="8f106461-3865-4cda-a443-ca56f71f97d2" providerId="ADAL" clId="{D3EFDC9E-C770-4EC4-8A5A-B4E22FBE207B}" dt="2020-02-26T05:51:01.040" v="1651"/>
          <ac:spMkLst>
            <pc:docMk/>
            <pc:sldMk cId="477444310" sldId="649"/>
            <ac:spMk id="2" creationId="{A8E6DCE9-9C89-4283-B0E0-34E0C1FB96DA}"/>
          </ac:spMkLst>
        </pc:spChg>
        <pc:spChg chg="mod">
          <ac:chgData name="Carlos Reyes García" userId="8f106461-3865-4cda-a443-ca56f71f97d2" providerId="ADAL" clId="{D3EFDC9E-C770-4EC4-8A5A-B4E22FBE207B}" dt="2020-02-26T05:57:20.827" v="1770" actId="20577"/>
          <ac:spMkLst>
            <pc:docMk/>
            <pc:sldMk cId="477444310" sldId="649"/>
            <ac:spMk id="4" creationId="{EB8FEEE0-7D03-497F-99E3-2992983D127E}"/>
          </ac:spMkLst>
        </pc:spChg>
      </pc:sldChg>
      <pc:sldChg chg="modSp add del mod modShow">
        <pc:chgData name="Carlos Reyes García" userId="8f106461-3865-4cda-a443-ca56f71f97d2" providerId="ADAL" clId="{D3EFDC9E-C770-4EC4-8A5A-B4E22FBE207B}" dt="2020-02-26T05:50:55.323" v="1649" actId="47"/>
        <pc:sldMkLst>
          <pc:docMk/>
          <pc:sldMk cId="2687527885" sldId="649"/>
        </pc:sldMkLst>
        <pc:spChg chg="mod">
          <ac:chgData name="Carlos Reyes García" userId="8f106461-3865-4cda-a443-ca56f71f97d2" providerId="ADAL" clId="{D3EFDC9E-C770-4EC4-8A5A-B4E22FBE207B}" dt="2020-02-26T05:50:48.520" v="1648" actId="20577"/>
          <ac:spMkLst>
            <pc:docMk/>
            <pc:sldMk cId="2687527885" sldId="649"/>
            <ac:spMk id="2" creationId="{28BA92A9-B175-485F-8685-C452F3711619}"/>
          </ac:spMkLst>
        </pc:spChg>
      </pc:sldChg>
      <pc:sldChg chg="modSp add mod">
        <pc:chgData name="Carlos Reyes García" userId="8f106461-3865-4cda-a443-ca56f71f97d2" providerId="ADAL" clId="{D3EFDC9E-C770-4EC4-8A5A-B4E22FBE207B}" dt="2020-02-26T06:47:36.787" v="2464" actId="20577"/>
        <pc:sldMkLst>
          <pc:docMk/>
          <pc:sldMk cId="653830727" sldId="650"/>
        </pc:sldMkLst>
        <pc:spChg chg="mod">
          <ac:chgData name="Carlos Reyes García" userId="8f106461-3865-4cda-a443-ca56f71f97d2" providerId="ADAL" clId="{D3EFDC9E-C770-4EC4-8A5A-B4E22FBE207B}" dt="2020-02-26T06:47:36.787" v="2464" actId="20577"/>
          <ac:spMkLst>
            <pc:docMk/>
            <pc:sldMk cId="653830727" sldId="650"/>
            <ac:spMk id="2" creationId="{EB67312A-9819-43C6-8D84-D9136E6CFFCC}"/>
          </ac:spMkLst>
        </pc:spChg>
      </pc:sldChg>
      <pc:sldChg chg="addSp delSp modSp new mod">
        <pc:chgData name="Carlos Reyes García" userId="8f106461-3865-4cda-a443-ca56f71f97d2" providerId="ADAL" clId="{D3EFDC9E-C770-4EC4-8A5A-B4E22FBE207B}" dt="2020-02-28T22:08:01.059" v="8125" actId="20577"/>
        <pc:sldMkLst>
          <pc:docMk/>
          <pc:sldMk cId="3461735569" sldId="651"/>
        </pc:sldMkLst>
        <pc:spChg chg="mod">
          <ac:chgData name="Carlos Reyes García" userId="8f106461-3865-4cda-a443-ca56f71f97d2" providerId="ADAL" clId="{D3EFDC9E-C770-4EC4-8A5A-B4E22FBE207B}" dt="2020-02-26T06:49:56.075" v="2488" actId="20577"/>
          <ac:spMkLst>
            <pc:docMk/>
            <pc:sldMk cId="3461735569" sldId="651"/>
            <ac:spMk id="2" creationId="{478E84C9-8B30-41BB-A3D5-77E5D711D013}"/>
          </ac:spMkLst>
        </pc:spChg>
        <pc:spChg chg="mod">
          <ac:chgData name="Carlos Reyes García" userId="8f106461-3865-4cda-a443-ca56f71f97d2" providerId="ADAL" clId="{D3EFDC9E-C770-4EC4-8A5A-B4E22FBE207B}" dt="2020-02-26T06:48:37.176" v="2474" actId="14100"/>
          <ac:spMkLst>
            <pc:docMk/>
            <pc:sldMk cId="3461735569" sldId="651"/>
            <ac:spMk id="4" creationId="{926A4DC6-600A-438B-9F12-B6364B26E859}"/>
          </ac:spMkLst>
        </pc:spChg>
        <pc:spChg chg="add del">
          <ac:chgData name="Carlos Reyes García" userId="8f106461-3865-4cda-a443-ca56f71f97d2" providerId="ADAL" clId="{D3EFDC9E-C770-4EC4-8A5A-B4E22FBE207B}" dt="2020-02-26T06:48:43.669" v="2476" actId="12084"/>
          <ac:spMkLst>
            <pc:docMk/>
            <pc:sldMk cId="3461735569" sldId="651"/>
            <ac:spMk id="5" creationId="{A87981CB-B06E-4581-B17C-3C7B596F0DE6}"/>
          </ac:spMkLst>
        </pc:spChg>
        <pc:graphicFrameChg chg="add mod">
          <ac:chgData name="Carlos Reyes García" userId="8f106461-3865-4cda-a443-ca56f71f97d2" providerId="ADAL" clId="{D3EFDC9E-C770-4EC4-8A5A-B4E22FBE207B}" dt="2020-02-28T22:08:01.059" v="8125" actId="20577"/>
          <ac:graphicFrameMkLst>
            <pc:docMk/>
            <pc:sldMk cId="3461735569" sldId="651"/>
            <ac:graphicFrameMk id="6" creationId="{FEF3C806-344F-4F8E-8683-15A730131214}"/>
          </ac:graphicFrameMkLst>
        </pc:graphicFrameChg>
      </pc:sldChg>
      <pc:sldChg chg="add del">
        <pc:chgData name="Carlos Reyes García" userId="8f106461-3865-4cda-a443-ca56f71f97d2" providerId="ADAL" clId="{D3EFDC9E-C770-4EC4-8A5A-B4E22FBE207B}" dt="2020-02-26T06:45:14.742" v="2441"/>
        <pc:sldMkLst>
          <pc:docMk/>
          <pc:sldMk cId="3932859547" sldId="651"/>
        </pc:sldMkLst>
      </pc:sldChg>
      <pc:sldChg chg="addSp delSp modSp add mod modNotesTx">
        <pc:chgData name="Carlos Reyes García" userId="8f106461-3865-4cda-a443-ca56f71f97d2" providerId="ADAL" clId="{D3EFDC9E-C770-4EC4-8A5A-B4E22FBE207B}" dt="2020-02-28T22:02:42.948" v="8102" actId="20577"/>
        <pc:sldMkLst>
          <pc:docMk/>
          <pc:sldMk cId="939928185" sldId="652"/>
        </pc:sldMkLst>
        <pc:spChg chg="mod">
          <ac:chgData name="Carlos Reyes García" userId="8f106461-3865-4cda-a443-ca56f71f97d2" providerId="ADAL" clId="{D3EFDC9E-C770-4EC4-8A5A-B4E22FBE207B}" dt="2020-02-26T06:59:43.035" v="2648" actId="20577"/>
          <ac:spMkLst>
            <pc:docMk/>
            <pc:sldMk cId="939928185" sldId="652"/>
            <ac:spMk id="2" creationId="{EB67312A-9819-43C6-8D84-D9136E6CFFCC}"/>
          </ac:spMkLst>
        </pc:spChg>
        <pc:spChg chg="mod">
          <ac:chgData name="Carlos Reyes García" userId="8f106461-3865-4cda-a443-ca56f71f97d2" providerId="ADAL" clId="{D3EFDC9E-C770-4EC4-8A5A-B4E22FBE207B}" dt="2020-02-26T06:59:38.216" v="2644" actId="20577"/>
          <ac:spMkLst>
            <pc:docMk/>
            <pc:sldMk cId="939928185" sldId="652"/>
            <ac:spMk id="3" creationId="{F35E8CBB-5A7D-4DEF-BAF7-8DD5D042F9E0}"/>
          </ac:spMkLst>
        </pc:spChg>
        <pc:spChg chg="del mod">
          <ac:chgData name="Carlos Reyes García" userId="8f106461-3865-4cda-a443-ca56f71f97d2" providerId="ADAL" clId="{D3EFDC9E-C770-4EC4-8A5A-B4E22FBE207B}" dt="2020-02-28T22:01:11.993" v="8032" actId="12084"/>
          <ac:spMkLst>
            <pc:docMk/>
            <pc:sldMk cId="939928185" sldId="652"/>
            <ac:spMk id="4" creationId="{F3616A99-090F-45E1-9334-58D58B148205}"/>
          </ac:spMkLst>
        </pc:spChg>
        <pc:grpChg chg="del">
          <ac:chgData name="Carlos Reyes García" userId="8f106461-3865-4cda-a443-ca56f71f97d2" providerId="ADAL" clId="{D3EFDC9E-C770-4EC4-8A5A-B4E22FBE207B}" dt="2020-02-26T06:54:02.545" v="2493" actId="478"/>
          <ac:grpSpMkLst>
            <pc:docMk/>
            <pc:sldMk cId="939928185" sldId="652"/>
            <ac:grpSpMk id="13" creationId="{A22EF2A5-4FF4-46F7-B9B5-8DDC1C329478}"/>
          </ac:grpSpMkLst>
        </pc:grpChg>
        <pc:graphicFrameChg chg="add mod">
          <ac:chgData name="Carlos Reyes García" userId="8f106461-3865-4cda-a443-ca56f71f97d2" providerId="ADAL" clId="{D3EFDC9E-C770-4EC4-8A5A-B4E22FBE207B}" dt="2020-02-28T22:02:42.948" v="8102" actId="20577"/>
          <ac:graphicFrameMkLst>
            <pc:docMk/>
            <pc:sldMk cId="939928185" sldId="652"/>
            <ac:graphicFrameMk id="5" creationId="{F06C3C49-98DB-4B1F-90FC-72E180BA3310}"/>
          </ac:graphicFrameMkLst>
        </pc:graphicFrameChg>
        <pc:picChg chg="add mod">
          <ac:chgData name="Carlos Reyes García" userId="8f106461-3865-4cda-a443-ca56f71f97d2" providerId="ADAL" clId="{D3EFDC9E-C770-4EC4-8A5A-B4E22FBE207B}" dt="2020-02-28T22:02:12.357" v="8089" actId="1076"/>
          <ac:picMkLst>
            <pc:docMk/>
            <pc:sldMk cId="939928185" sldId="652"/>
            <ac:picMk id="2050" creationId="{DA962296-F90D-458A-8D9A-1EF1B01E568B}"/>
          </ac:picMkLst>
        </pc:picChg>
      </pc:sldChg>
      <pc:sldChg chg="addSp delSp modSp add mod modNotesTx">
        <pc:chgData name="Carlos Reyes García" userId="8f106461-3865-4cda-a443-ca56f71f97d2" providerId="ADAL" clId="{D3EFDC9E-C770-4EC4-8A5A-B4E22FBE207B}" dt="2020-02-28T22:06:05.223" v="8120" actId="404"/>
        <pc:sldMkLst>
          <pc:docMk/>
          <pc:sldMk cId="2155057141" sldId="653"/>
        </pc:sldMkLst>
        <pc:spChg chg="mod">
          <ac:chgData name="Carlos Reyes García" userId="8f106461-3865-4cda-a443-ca56f71f97d2" providerId="ADAL" clId="{D3EFDC9E-C770-4EC4-8A5A-B4E22FBE207B}" dt="2020-02-28T22:03:59.179" v="8112" actId="20577"/>
          <ac:spMkLst>
            <pc:docMk/>
            <pc:sldMk cId="2155057141" sldId="653"/>
            <ac:spMk id="3" creationId="{F35E8CBB-5A7D-4DEF-BAF7-8DD5D042F9E0}"/>
          </ac:spMkLst>
        </pc:spChg>
        <pc:spChg chg="del mod">
          <ac:chgData name="Carlos Reyes García" userId="8f106461-3865-4cda-a443-ca56f71f97d2" providerId="ADAL" clId="{D3EFDC9E-C770-4EC4-8A5A-B4E22FBE207B}" dt="2020-02-28T22:04:18.660" v="8114" actId="12084"/>
          <ac:spMkLst>
            <pc:docMk/>
            <pc:sldMk cId="2155057141" sldId="653"/>
            <ac:spMk id="4" creationId="{F3616A99-090F-45E1-9334-58D58B148205}"/>
          </ac:spMkLst>
        </pc:spChg>
        <pc:graphicFrameChg chg="add mod">
          <ac:chgData name="Carlos Reyes García" userId="8f106461-3865-4cda-a443-ca56f71f97d2" providerId="ADAL" clId="{D3EFDC9E-C770-4EC4-8A5A-B4E22FBE207B}" dt="2020-02-28T22:06:05.223" v="8120" actId="404"/>
          <ac:graphicFrameMkLst>
            <pc:docMk/>
            <pc:sldMk cId="2155057141" sldId="653"/>
            <ac:graphicFrameMk id="5" creationId="{291C9DC9-1986-483A-8AA7-02A5ABC9B810}"/>
          </ac:graphicFrameMkLst>
        </pc:graphicFrameChg>
      </pc:sldChg>
      <pc:sldChg chg="add del">
        <pc:chgData name="Carlos Reyes García" userId="8f106461-3865-4cda-a443-ca56f71f97d2" providerId="ADAL" clId="{D3EFDC9E-C770-4EC4-8A5A-B4E22FBE207B}" dt="2020-02-26T07:12:17.980" v="2955" actId="47"/>
        <pc:sldMkLst>
          <pc:docMk/>
          <pc:sldMk cId="1874210889" sldId="654"/>
        </pc:sldMkLst>
      </pc:sldChg>
      <pc:sldChg chg="modSp add mod modNotesTx">
        <pc:chgData name="Carlos Reyes García" userId="8f106461-3865-4cda-a443-ca56f71f97d2" providerId="ADAL" clId="{D3EFDC9E-C770-4EC4-8A5A-B4E22FBE207B}" dt="2020-03-03T06:25:11.160" v="12995" actId="20577"/>
        <pc:sldMkLst>
          <pc:docMk/>
          <pc:sldMk cId="2869262210" sldId="654"/>
        </pc:sldMkLst>
        <pc:spChg chg="mod">
          <ac:chgData name="Carlos Reyes García" userId="8f106461-3865-4cda-a443-ca56f71f97d2" providerId="ADAL" clId="{D3EFDC9E-C770-4EC4-8A5A-B4E22FBE207B}" dt="2020-02-26T23:53:54.290" v="3305" actId="20577"/>
          <ac:spMkLst>
            <pc:docMk/>
            <pc:sldMk cId="2869262210" sldId="654"/>
            <ac:spMk id="6" creationId="{637E159C-9ACF-48AE-927A-D5FB13695C7F}"/>
          </ac:spMkLst>
        </pc:spChg>
      </pc:sldChg>
      <pc:sldChg chg="addSp delSp modSp add mod modShow modNotesTx">
        <pc:chgData name="Carlos Reyes García" userId="8f106461-3865-4cda-a443-ca56f71f97d2" providerId="ADAL" clId="{D3EFDC9E-C770-4EC4-8A5A-B4E22FBE207B}" dt="2020-02-27T00:15:30.143" v="3543" actId="6549"/>
        <pc:sldMkLst>
          <pc:docMk/>
          <pc:sldMk cId="1848014774" sldId="655"/>
        </pc:sldMkLst>
        <pc:spChg chg="mod">
          <ac:chgData name="Carlos Reyes García" userId="8f106461-3865-4cda-a443-ca56f71f97d2" providerId="ADAL" clId="{D3EFDC9E-C770-4EC4-8A5A-B4E22FBE207B}" dt="2020-02-26T23:54:50.003" v="3309"/>
          <ac:spMkLst>
            <pc:docMk/>
            <pc:sldMk cId="1848014774" sldId="655"/>
            <ac:spMk id="2" creationId="{EB67312A-9819-43C6-8D84-D9136E6CFFCC}"/>
          </ac:spMkLst>
        </pc:spChg>
        <pc:spChg chg="mod">
          <ac:chgData name="Carlos Reyes García" userId="8f106461-3865-4cda-a443-ca56f71f97d2" providerId="ADAL" clId="{D3EFDC9E-C770-4EC4-8A5A-B4E22FBE207B}" dt="2020-02-26T23:54:53.802" v="3311" actId="20577"/>
          <ac:spMkLst>
            <pc:docMk/>
            <pc:sldMk cId="1848014774" sldId="655"/>
            <ac:spMk id="3" creationId="{F35E8CBB-5A7D-4DEF-BAF7-8DD5D042F9E0}"/>
          </ac:spMkLst>
        </pc:spChg>
        <pc:spChg chg="del mod">
          <ac:chgData name="Carlos Reyes García" userId="8f106461-3865-4cda-a443-ca56f71f97d2" providerId="ADAL" clId="{D3EFDC9E-C770-4EC4-8A5A-B4E22FBE207B}" dt="2020-02-27T00:10:04.514" v="3359" actId="478"/>
          <ac:spMkLst>
            <pc:docMk/>
            <pc:sldMk cId="1848014774" sldId="655"/>
            <ac:spMk id="4" creationId="{F3616A99-090F-45E1-9334-58D58B148205}"/>
          </ac:spMkLst>
        </pc:spChg>
        <pc:spChg chg="add mod">
          <ac:chgData name="Carlos Reyes García" userId="8f106461-3865-4cda-a443-ca56f71f97d2" providerId="ADAL" clId="{D3EFDC9E-C770-4EC4-8A5A-B4E22FBE207B}" dt="2020-02-27T00:15:30.143" v="3543" actId="6549"/>
          <ac:spMkLst>
            <pc:docMk/>
            <pc:sldMk cId="1848014774" sldId="655"/>
            <ac:spMk id="14" creationId="{9130FF38-63C0-44C9-A861-5E3CCFC6E44D}"/>
          </ac:spMkLst>
        </pc:spChg>
        <pc:spChg chg="add del mod">
          <ac:chgData name="Carlos Reyes García" userId="8f106461-3865-4cda-a443-ca56f71f97d2" providerId="ADAL" clId="{D3EFDC9E-C770-4EC4-8A5A-B4E22FBE207B}" dt="2020-02-27T00:14:47.021" v="3538"/>
          <ac:spMkLst>
            <pc:docMk/>
            <pc:sldMk cId="1848014774" sldId="655"/>
            <ac:spMk id="16" creationId="{E3BEA126-B2E0-433A-AA20-69C4DF90CA8F}"/>
          </ac:spMkLst>
        </pc:spChg>
        <pc:grpChg chg="del">
          <ac:chgData name="Carlos Reyes García" userId="8f106461-3865-4cda-a443-ca56f71f97d2" providerId="ADAL" clId="{D3EFDC9E-C770-4EC4-8A5A-B4E22FBE207B}" dt="2020-02-27T00:08:46.506" v="3358" actId="478"/>
          <ac:grpSpMkLst>
            <pc:docMk/>
            <pc:sldMk cId="1848014774" sldId="655"/>
            <ac:grpSpMk id="13" creationId="{A22EF2A5-4FF4-46F7-B9B5-8DDC1C329478}"/>
          </ac:grpSpMkLst>
        </pc:grpChg>
        <pc:graphicFrameChg chg="add del">
          <ac:chgData name="Carlos Reyes García" userId="8f106461-3865-4cda-a443-ca56f71f97d2" providerId="ADAL" clId="{D3EFDC9E-C770-4EC4-8A5A-B4E22FBE207B}" dt="2020-02-27T00:14:26.342" v="3530"/>
          <ac:graphicFrameMkLst>
            <pc:docMk/>
            <pc:sldMk cId="1848014774" sldId="655"/>
            <ac:graphicFrameMk id="15" creationId="{EB4A09C2-EFC0-4FD2-9751-04239BB8F0F9}"/>
          </ac:graphicFrameMkLst>
        </pc:graphicFrameChg>
        <pc:picChg chg="add mod">
          <ac:chgData name="Carlos Reyes García" userId="8f106461-3865-4cda-a443-ca56f71f97d2" providerId="ADAL" clId="{D3EFDC9E-C770-4EC4-8A5A-B4E22FBE207B}" dt="2020-02-27T00:10:10.485" v="3362" actId="14100"/>
          <ac:picMkLst>
            <pc:docMk/>
            <pc:sldMk cId="1848014774" sldId="655"/>
            <ac:picMk id="5" creationId="{467DB092-02AF-4809-9CE5-3601919BA007}"/>
          </ac:picMkLst>
        </pc:picChg>
        <pc:picChg chg="add mod">
          <ac:chgData name="Carlos Reyes García" userId="8f106461-3865-4cda-a443-ca56f71f97d2" providerId="ADAL" clId="{D3EFDC9E-C770-4EC4-8A5A-B4E22FBE207B}" dt="2020-02-27T00:11:28.831" v="3370" actId="14100"/>
          <ac:picMkLst>
            <pc:docMk/>
            <pc:sldMk cId="1848014774" sldId="655"/>
            <ac:picMk id="7" creationId="{CDCF6B27-E996-47C3-BC6F-D2C4DA4561F4}"/>
          </ac:picMkLst>
        </pc:picChg>
        <pc:cxnChg chg="add mod">
          <ac:chgData name="Carlos Reyes García" userId="8f106461-3865-4cda-a443-ca56f71f97d2" providerId="ADAL" clId="{D3EFDC9E-C770-4EC4-8A5A-B4E22FBE207B}" dt="2020-02-27T00:11:46.273" v="3373" actId="1582"/>
          <ac:cxnSpMkLst>
            <pc:docMk/>
            <pc:sldMk cId="1848014774" sldId="655"/>
            <ac:cxnSpMk id="9" creationId="{A2F84DC1-9899-41DE-A318-1B58EE6C6295}"/>
          </ac:cxnSpMkLst>
        </pc:cxnChg>
      </pc:sldChg>
      <pc:sldChg chg="add del">
        <pc:chgData name="Carlos Reyes García" userId="8f106461-3865-4cda-a443-ca56f71f97d2" providerId="ADAL" clId="{D3EFDC9E-C770-4EC4-8A5A-B4E22FBE207B}" dt="2020-02-27T01:20:32.556" v="4765" actId="47"/>
        <pc:sldMkLst>
          <pc:docMk/>
          <pc:sldMk cId="1710219698" sldId="656"/>
        </pc:sldMkLst>
      </pc:sldChg>
      <pc:sldChg chg="addSp delSp modSp add mod">
        <pc:chgData name="Carlos Reyes García" userId="8f106461-3865-4cda-a443-ca56f71f97d2" providerId="ADAL" clId="{D3EFDC9E-C770-4EC4-8A5A-B4E22FBE207B}" dt="2020-02-27T00:54:29.949" v="4072" actId="21"/>
        <pc:sldMkLst>
          <pc:docMk/>
          <pc:sldMk cId="2551537243" sldId="657"/>
        </pc:sldMkLst>
        <pc:spChg chg="mod">
          <ac:chgData name="Carlos Reyes García" userId="8f106461-3865-4cda-a443-ca56f71f97d2" providerId="ADAL" clId="{D3EFDC9E-C770-4EC4-8A5A-B4E22FBE207B}" dt="2020-02-27T00:30:56.904" v="3742" actId="20577"/>
          <ac:spMkLst>
            <pc:docMk/>
            <pc:sldMk cId="2551537243" sldId="657"/>
            <ac:spMk id="14" creationId="{9130FF38-63C0-44C9-A861-5E3CCFC6E44D}"/>
          </ac:spMkLst>
        </pc:spChg>
        <pc:spChg chg="mod topLvl">
          <ac:chgData name="Carlos Reyes García" userId="8f106461-3865-4cda-a443-ca56f71f97d2" providerId="ADAL" clId="{D3EFDC9E-C770-4EC4-8A5A-B4E22FBE207B}" dt="2020-02-27T00:54:15.110" v="4068" actId="164"/>
          <ac:spMkLst>
            <pc:docMk/>
            <pc:sldMk cId="2551537243" sldId="657"/>
            <ac:spMk id="17" creationId="{8BF19811-1C57-47A6-BEA7-BC02F3DE29F1}"/>
          </ac:spMkLst>
        </pc:spChg>
        <pc:grpChg chg="del mod topLvl">
          <ac:chgData name="Carlos Reyes García" userId="8f106461-3865-4cda-a443-ca56f71f97d2" providerId="ADAL" clId="{D3EFDC9E-C770-4EC4-8A5A-B4E22FBE207B}" dt="2020-02-27T00:54:29.949" v="4072" actId="21"/>
          <ac:grpSpMkLst>
            <pc:docMk/>
            <pc:sldMk cId="2551537243" sldId="657"/>
            <ac:grpSpMk id="16" creationId="{5FACA029-7C62-4173-9783-BB91FBE4A883}"/>
          </ac:grpSpMkLst>
        </pc:grpChg>
        <pc:grpChg chg="del mod topLvl">
          <ac:chgData name="Carlos Reyes García" userId="8f106461-3865-4cda-a443-ca56f71f97d2" providerId="ADAL" clId="{D3EFDC9E-C770-4EC4-8A5A-B4E22FBE207B}" dt="2020-02-27T00:53:23.645" v="4061" actId="478"/>
          <ac:grpSpMkLst>
            <pc:docMk/>
            <pc:sldMk cId="2551537243" sldId="657"/>
            <ac:grpSpMk id="18" creationId="{C0B33969-2910-4B5B-A427-72D1F0DAE47F}"/>
          </ac:grpSpMkLst>
        </pc:grpChg>
        <pc:grpChg chg="mod topLvl">
          <ac:chgData name="Carlos Reyes García" userId="8f106461-3865-4cda-a443-ca56f71f97d2" providerId="ADAL" clId="{D3EFDC9E-C770-4EC4-8A5A-B4E22FBE207B}" dt="2020-02-27T00:54:15.110" v="4068" actId="164"/>
          <ac:grpSpMkLst>
            <pc:docMk/>
            <pc:sldMk cId="2551537243" sldId="657"/>
            <ac:grpSpMk id="19" creationId="{8DD969ED-6C0C-4BA7-9084-0214B86A4935}"/>
          </ac:grpSpMkLst>
        </pc:grpChg>
        <pc:grpChg chg="mod topLvl">
          <ac:chgData name="Carlos Reyes García" userId="8f106461-3865-4cda-a443-ca56f71f97d2" providerId="ADAL" clId="{D3EFDC9E-C770-4EC4-8A5A-B4E22FBE207B}" dt="2020-02-27T00:53:29.585" v="4062" actId="1076"/>
          <ac:grpSpMkLst>
            <pc:docMk/>
            <pc:sldMk cId="2551537243" sldId="657"/>
            <ac:grpSpMk id="30" creationId="{8D4A1F15-E15E-4376-8EE9-8B2B9BF63875}"/>
          </ac:grpSpMkLst>
        </pc:grpChg>
        <pc:grpChg chg="add del mod">
          <ac:chgData name="Carlos Reyes García" userId="8f106461-3865-4cda-a443-ca56f71f97d2" providerId="ADAL" clId="{D3EFDC9E-C770-4EC4-8A5A-B4E22FBE207B}" dt="2020-02-27T00:53:12.621" v="4059" actId="165"/>
          <ac:grpSpMkLst>
            <pc:docMk/>
            <pc:sldMk cId="2551537243" sldId="657"/>
            <ac:grpSpMk id="47" creationId="{FECE758E-2C44-4C6F-84DA-F0C5A1E6B62F}"/>
          </ac:grpSpMkLst>
        </pc:grpChg>
        <pc:grpChg chg="add mod">
          <ac:chgData name="Carlos Reyes García" userId="8f106461-3865-4cda-a443-ca56f71f97d2" providerId="ADAL" clId="{D3EFDC9E-C770-4EC4-8A5A-B4E22FBE207B}" dt="2020-02-27T00:54:20.100" v="4071" actId="1076"/>
          <ac:grpSpMkLst>
            <pc:docMk/>
            <pc:sldMk cId="2551537243" sldId="657"/>
            <ac:grpSpMk id="48" creationId="{4C8850EC-B200-4AAA-8204-572CCFDCEAC0}"/>
          </ac:grpSpMkLst>
        </pc:grpChg>
        <pc:grpChg chg="add del">
          <ac:chgData name="Carlos Reyes García" userId="8f106461-3865-4cda-a443-ca56f71f97d2" providerId="ADAL" clId="{D3EFDC9E-C770-4EC4-8A5A-B4E22FBE207B}" dt="2020-02-27T00:54:17.899" v="4070" actId="22"/>
          <ac:grpSpMkLst>
            <pc:docMk/>
            <pc:sldMk cId="2551537243" sldId="657"/>
            <ac:grpSpMk id="60" creationId="{0B814717-B64C-4145-BF64-E84947D48B73}"/>
          </ac:grpSpMkLst>
        </pc:grpChg>
        <pc:picChg chg="add mod">
          <ac:chgData name="Carlos Reyes García" userId="8f106461-3865-4cda-a443-ca56f71f97d2" providerId="ADAL" clId="{D3EFDC9E-C770-4EC4-8A5A-B4E22FBE207B}" dt="2020-02-27T00:22:51.313" v="3546" actId="1076"/>
          <ac:picMkLst>
            <pc:docMk/>
            <pc:sldMk cId="2551537243" sldId="657"/>
            <ac:picMk id="4" creationId="{4EFB45A9-754E-4582-827A-A9E30836F272}"/>
          </ac:picMkLst>
        </pc:picChg>
        <pc:picChg chg="del">
          <ac:chgData name="Carlos Reyes García" userId="8f106461-3865-4cda-a443-ca56f71f97d2" providerId="ADAL" clId="{D3EFDC9E-C770-4EC4-8A5A-B4E22FBE207B}" dt="2020-02-27T00:22:54.951" v="3547" actId="478"/>
          <ac:picMkLst>
            <pc:docMk/>
            <pc:sldMk cId="2551537243" sldId="657"/>
            <ac:picMk id="5" creationId="{467DB092-02AF-4809-9CE5-3601919BA007}"/>
          </ac:picMkLst>
        </pc:picChg>
        <pc:picChg chg="add mod ord">
          <ac:chgData name="Carlos Reyes García" userId="8f106461-3865-4cda-a443-ca56f71f97d2" providerId="ADAL" clId="{D3EFDC9E-C770-4EC4-8A5A-B4E22FBE207B}" dt="2020-02-27T00:23:51.466" v="3555" actId="167"/>
          <ac:picMkLst>
            <pc:docMk/>
            <pc:sldMk cId="2551537243" sldId="657"/>
            <ac:picMk id="6" creationId="{19AB22CF-2494-4A4A-B9F9-A7ED9A55241A}"/>
          </ac:picMkLst>
        </pc:picChg>
        <pc:picChg chg="del">
          <ac:chgData name="Carlos Reyes García" userId="8f106461-3865-4cda-a443-ca56f71f97d2" providerId="ADAL" clId="{D3EFDC9E-C770-4EC4-8A5A-B4E22FBE207B}" dt="2020-02-27T00:22:56.834" v="3548" actId="478"/>
          <ac:picMkLst>
            <pc:docMk/>
            <pc:sldMk cId="2551537243" sldId="657"/>
            <ac:picMk id="7" creationId="{CDCF6B27-E996-47C3-BC6F-D2C4DA4561F4}"/>
          </ac:picMkLst>
        </pc:picChg>
        <pc:picChg chg="add del ord">
          <ac:chgData name="Carlos Reyes García" userId="8f106461-3865-4cda-a443-ca56f71f97d2" providerId="ADAL" clId="{D3EFDC9E-C770-4EC4-8A5A-B4E22FBE207B}" dt="2020-02-27T00:23:54.471" v="3556" actId="478"/>
          <ac:picMkLst>
            <pc:docMk/>
            <pc:sldMk cId="2551537243" sldId="657"/>
            <ac:picMk id="8" creationId="{D5D63BE3-944F-4364-BA48-F978FEE1FC89}"/>
          </ac:picMkLst>
        </pc:picChg>
        <pc:cxnChg chg="mod">
          <ac:chgData name="Carlos Reyes García" userId="8f106461-3865-4cda-a443-ca56f71f97d2" providerId="ADAL" clId="{D3EFDC9E-C770-4EC4-8A5A-B4E22FBE207B}" dt="2020-02-27T00:27:36.574" v="3579" actId="14100"/>
          <ac:cxnSpMkLst>
            <pc:docMk/>
            <pc:sldMk cId="2551537243" sldId="657"/>
            <ac:cxnSpMk id="9" creationId="{A2F84DC1-9899-41DE-A318-1B58EE6C6295}"/>
          </ac:cxnSpMkLst>
        </pc:cxnChg>
        <pc:cxnChg chg="del">
          <ac:chgData name="Carlos Reyes García" userId="8f106461-3865-4cda-a443-ca56f71f97d2" providerId="ADAL" clId="{D3EFDC9E-C770-4EC4-8A5A-B4E22FBE207B}" dt="2020-02-27T00:53:38.969" v="4064" actId="478"/>
          <ac:cxnSpMkLst>
            <pc:docMk/>
            <pc:sldMk cId="2551537243" sldId="657"/>
            <ac:cxnSpMk id="24" creationId="{B11DDEE8-D646-4B6F-AF72-A9CC9D8E611E}"/>
          </ac:cxnSpMkLst>
        </pc:cxnChg>
        <pc:cxnChg chg="del">
          <ac:chgData name="Carlos Reyes García" userId="8f106461-3865-4cda-a443-ca56f71f97d2" providerId="ADAL" clId="{D3EFDC9E-C770-4EC4-8A5A-B4E22FBE207B}" dt="2020-02-27T00:53:35.766" v="4063" actId="478"/>
          <ac:cxnSpMkLst>
            <pc:docMk/>
            <pc:sldMk cId="2551537243" sldId="657"/>
            <ac:cxnSpMk id="25" creationId="{04232775-4A7B-4FAD-A50B-9BA17BF3220F}"/>
          </ac:cxnSpMkLst>
        </pc:cxnChg>
        <pc:cxnChg chg="del topLvl">
          <ac:chgData name="Carlos Reyes García" userId="8f106461-3865-4cda-a443-ca56f71f97d2" providerId="ADAL" clId="{D3EFDC9E-C770-4EC4-8A5A-B4E22FBE207B}" dt="2020-02-27T00:53:23.645" v="4061" actId="478"/>
          <ac:cxnSpMkLst>
            <pc:docMk/>
            <pc:sldMk cId="2551537243" sldId="657"/>
            <ac:cxnSpMk id="31" creationId="{668644DA-27FC-4463-8871-8106F0589100}"/>
          </ac:cxnSpMkLst>
        </pc:cxnChg>
      </pc:sldChg>
      <pc:sldChg chg="addSp delSp modSp add mod">
        <pc:chgData name="Carlos Reyes García" userId="8f106461-3865-4cda-a443-ca56f71f97d2" providerId="ADAL" clId="{D3EFDC9E-C770-4EC4-8A5A-B4E22FBE207B}" dt="2020-02-27T01:04:27.671" v="4134" actId="478"/>
        <pc:sldMkLst>
          <pc:docMk/>
          <pc:sldMk cId="3240405561" sldId="658"/>
        </pc:sldMkLst>
        <pc:spChg chg="mod">
          <ac:chgData name="Carlos Reyes García" userId="8f106461-3865-4cda-a443-ca56f71f97d2" providerId="ADAL" clId="{D3EFDC9E-C770-4EC4-8A5A-B4E22FBE207B}" dt="2020-02-27T00:52:02.822" v="4055" actId="404"/>
          <ac:spMkLst>
            <pc:docMk/>
            <pc:sldMk cId="3240405561" sldId="658"/>
            <ac:spMk id="14" creationId="{9130FF38-63C0-44C9-A861-5E3CCFC6E44D}"/>
          </ac:spMkLst>
        </pc:spChg>
        <pc:spChg chg="mod topLvl">
          <ac:chgData name="Carlos Reyes García" userId="8f106461-3865-4cda-a443-ca56f71f97d2" providerId="ADAL" clId="{D3EFDC9E-C770-4EC4-8A5A-B4E22FBE207B}" dt="2020-02-27T00:54:55.330" v="4078" actId="165"/>
          <ac:spMkLst>
            <pc:docMk/>
            <pc:sldMk cId="3240405561" sldId="658"/>
            <ac:spMk id="18" creationId="{643A697E-2D16-4E96-8F44-9ECBBCEFED01}"/>
          </ac:spMkLst>
        </pc:spChg>
        <pc:spChg chg="del mod topLvl">
          <ac:chgData name="Carlos Reyes García" userId="8f106461-3865-4cda-a443-ca56f71f97d2" providerId="ADAL" clId="{D3EFDC9E-C770-4EC4-8A5A-B4E22FBE207B}" dt="2020-02-27T00:55:01.184" v="4080" actId="478"/>
          <ac:spMkLst>
            <pc:docMk/>
            <pc:sldMk cId="3240405561" sldId="658"/>
            <ac:spMk id="19" creationId="{DA83FD97-42B5-43B1-B424-E30C0428C914}"/>
          </ac:spMkLst>
        </pc:spChg>
        <pc:spChg chg="del mod topLvl">
          <ac:chgData name="Carlos Reyes García" userId="8f106461-3865-4cda-a443-ca56f71f97d2" providerId="ADAL" clId="{D3EFDC9E-C770-4EC4-8A5A-B4E22FBE207B}" dt="2020-02-27T00:55:28.152" v="4084" actId="478"/>
          <ac:spMkLst>
            <pc:docMk/>
            <pc:sldMk cId="3240405561" sldId="658"/>
            <ac:spMk id="30" creationId="{87A17425-830B-4F9D-AB59-5D8DE26E0627}"/>
          </ac:spMkLst>
        </pc:spChg>
        <pc:spChg chg="mod topLvl">
          <ac:chgData name="Carlos Reyes García" userId="8f106461-3865-4cda-a443-ca56f71f97d2" providerId="ADAL" clId="{D3EFDC9E-C770-4EC4-8A5A-B4E22FBE207B}" dt="2020-02-27T00:55:34.361" v="4085" actId="164"/>
          <ac:spMkLst>
            <pc:docMk/>
            <pc:sldMk cId="3240405561" sldId="658"/>
            <ac:spMk id="31" creationId="{CB577427-99BE-4514-A0C8-4E7D56F6E3AE}"/>
          </ac:spMkLst>
        </pc:spChg>
        <pc:grpChg chg="add del mod">
          <ac:chgData name="Carlos Reyes García" userId="8f106461-3865-4cda-a443-ca56f71f97d2" providerId="ADAL" clId="{D3EFDC9E-C770-4EC4-8A5A-B4E22FBE207B}" dt="2020-02-27T00:54:49.420" v="4077" actId="165"/>
          <ac:grpSpMkLst>
            <pc:docMk/>
            <pc:sldMk cId="3240405561" sldId="658"/>
            <ac:grpSpMk id="10" creationId="{2A045A79-EA86-47AA-9C7B-64AA10A540A1}"/>
          </ac:grpSpMkLst>
        </pc:grpChg>
        <pc:grpChg chg="del mod topLvl">
          <ac:chgData name="Carlos Reyes García" userId="8f106461-3865-4cda-a443-ca56f71f97d2" providerId="ADAL" clId="{D3EFDC9E-C770-4EC4-8A5A-B4E22FBE207B}" dt="2020-02-27T00:55:03.419" v="4081" actId="478"/>
          <ac:grpSpMkLst>
            <pc:docMk/>
            <pc:sldMk cId="3240405561" sldId="658"/>
            <ac:grpSpMk id="12" creationId="{3E64E1D6-86B5-408F-8D5B-D8E156C45A5C}"/>
          </ac:grpSpMkLst>
        </pc:grpChg>
        <pc:grpChg chg="mod topLvl">
          <ac:chgData name="Carlos Reyes García" userId="8f106461-3865-4cda-a443-ca56f71f97d2" providerId="ADAL" clId="{D3EFDC9E-C770-4EC4-8A5A-B4E22FBE207B}" dt="2020-02-27T00:54:49.420" v="4077" actId="165"/>
          <ac:grpSpMkLst>
            <pc:docMk/>
            <pc:sldMk cId="3240405561" sldId="658"/>
            <ac:grpSpMk id="13" creationId="{D18D5DE4-3A3E-424E-A780-517C3DCA345B}"/>
          </ac:grpSpMkLst>
        </pc:grpChg>
        <pc:grpChg chg="del mod topLvl">
          <ac:chgData name="Carlos Reyes García" userId="8f106461-3865-4cda-a443-ca56f71f97d2" providerId="ADAL" clId="{D3EFDC9E-C770-4EC4-8A5A-B4E22FBE207B}" dt="2020-02-27T00:54:55.330" v="4078" actId="165"/>
          <ac:grpSpMkLst>
            <pc:docMk/>
            <pc:sldMk cId="3240405561" sldId="658"/>
            <ac:grpSpMk id="15" creationId="{EA124454-12A4-43F6-A563-1D989A4F92C4}"/>
          </ac:grpSpMkLst>
        </pc:grpChg>
        <pc:grpChg chg="mod topLvl">
          <ac:chgData name="Carlos Reyes García" userId="8f106461-3865-4cda-a443-ca56f71f97d2" providerId="ADAL" clId="{D3EFDC9E-C770-4EC4-8A5A-B4E22FBE207B}" dt="2020-02-27T00:55:34.361" v="4085" actId="164"/>
          <ac:grpSpMkLst>
            <pc:docMk/>
            <pc:sldMk cId="3240405561" sldId="658"/>
            <ac:grpSpMk id="25" creationId="{8C551314-2522-4503-B433-9AF119BDBB99}"/>
          </ac:grpSpMkLst>
        </pc:grpChg>
        <pc:grpChg chg="del mod topLvl">
          <ac:chgData name="Carlos Reyes García" userId="8f106461-3865-4cda-a443-ca56f71f97d2" providerId="ADAL" clId="{D3EFDC9E-C770-4EC4-8A5A-B4E22FBE207B}" dt="2020-02-27T00:55:28.152" v="4084" actId="478"/>
          <ac:grpSpMkLst>
            <pc:docMk/>
            <pc:sldMk cId="3240405561" sldId="658"/>
            <ac:grpSpMk id="26" creationId="{9B584322-63B0-4C6D-A0F7-E27A6192B223}"/>
          </ac:grpSpMkLst>
        </pc:grpChg>
        <pc:grpChg chg="del mod topLvl">
          <ac:chgData name="Carlos Reyes García" userId="8f106461-3865-4cda-a443-ca56f71f97d2" providerId="ADAL" clId="{D3EFDC9E-C770-4EC4-8A5A-B4E22FBE207B}" dt="2020-02-27T00:55:23.549" v="4083" actId="165"/>
          <ac:grpSpMkLst>
            <pc:docMk/>
            <pc:sldMk cId="3240405561" sldId="658"/>
            <ac:grpSpMk id="27" creationId="{0536A038-49BE-43DB-85A9-119FB8F6F152}"/>
          </ac:grpSpMkLst>
        </pc:grpChg>
        <pc:grpChg chg="add del mod">
          <ac:chgData name="Carlos Reyes García" userId="8f106461-3865-4cda-a443-ca56f71f97d2" providerId="ADAL" clId="{D3EFDC9E-C770-4EC4-8A5A-B4E22FBE207B}" dt="2020-02-27T00:55:18.626" v="4082" actId="165"/>
          <ac:grpSpMkLst>
            <pc:docMk/>
            <pc:sldMk cId="3240405561" sldId="658"/>
            <ac:grpSpMk id="36" creationId="{45354FE7-0267-4B9C-AA92-2FAC9FEB5AD9}"/>
          </ac:grpSpMkLst>
        </pc:grpChg>
        <pc:grpChg chg="add del mod">
          <ac:chgData name="Carlos Reyes García" userId="8f106461-3865-4cda-a443-ca56f71f97d2" providerId="ADAL" clId="{D3EFDC9E-C770-4EC4-8A5A-B4E22FBE207B}" dt="2020-02-27T00:56:26.326" v="4091" actId="478"/>
          <ac:grpSpMkLst>
            <pc:docMk/>
            <pc:sldMk cId="3240405561" sldId="658"/>
            <ac:grpSpMk id="37" creationId="{572752ED-1E91-4944-8E7C-8FED962CD5D0}"/>
          </ac:grpSpMkLst>
        </pc:grpChg>
        <pc:picChg chg="del">
          <ac:chgData name="Carlos Reyes García" userId="8f106461-3865-4cda-a443-ca56f71f97d2" providerId="ADAL" clId="{D3EFDC9E-C770-4EC4-8A5A-B4E22FBE207B}" dt="2020-02-27T00:33:21.534" v="3746" actId="478"/>
          <ac:picMkLst>
            <pc:docMk/>
            <pc:sldMk cId="3240405561" sldId="658"/>
            <ac:picMk id="4" creationId="{4EFB45A9-754E-4582-827A-A9E30836F272}"/>
          </ac:picMkLst>
        </pc:picChg>
        <pc:picChg chg="add mod">
          <ac:chgData name="Carlos Reyes García" userId="8f106461-3865-4cda-a443-ca56f71f97d2" providerId="ADAL" clId="{D3EFDC9E-C770-4EC4-8A5A-B4E22FBE207B}" dt="2020-02-27T00:33:19.588" v="3745" actId="1076"/>
          <ac:picMkLst>
            <pc:docMk/>
            <pc:sldMk cId="3240405561" sldId="658"/>
            <ac:picMk id="5" creationId="{71805EB6-4A93-443E-8225-6F842A45AB06}"/>
          </ac:picMkLst>
        </pc:picChg>
        <pc:picChg chg="del">
          <ac:chgData name="Carlos Reyes García" userId="8f106461-3865-4cda-a443-ca56f71f97d2" providerId="ADAL" clId="{D3EFDC9E-C770-4EC4-8A5A-B4E22FBE207B}" dt="2020-02-27T00:47:13.987" v="3751" actId="478"/>
          <ac:picMkLst>
            <pc:docMk/>
            <pc:sldMk cId="3240405561" sldId="658"/>
            <ac:picMk id="6" creationId="{19AB22CF-2494-4A4A-B9F9-A7ED9A55241A}"/>
          </ac:picMkLst>
        </pc:picChg>
        <pc:picChg chg="add mod ord">
          <ac:chgData name="Carlos Reyes García" userId="8f106461-3865-4cda-a443-ca56f71f97d2" providerId="ADAL" clId="{D3EFDC9E-C770-4EC4-8A5A-B4E22FBE207B}" dt="2020-02-27T00:47:11.600" v="3750" actId="167"/>
          <ac:picMkLst>
            <pc:docMk/>
            <pc:sldMk cId="3240405561" sldId="658"/>
            <ac:picMk id="7" creationId="{BCF916CA-F91C-4C9E-AA28-74F06C8FBEDC}"/>
          </ac:picMkLst>
        </pc:picChg>
        <pc:picChg chg="add del mod">
          <ac:chgData name="Carlos Reyes García" userId="8f106461-3865-4cda-a443-ca56f71f97d2" providerId="ADAL" clId="{D3EFDC9E-C770-4EC4-8A5A-B4E22FBE207B}" dt="2020-02-27T01:04:27.671" v="4134" actId="478"/>
          <ac:picMkLst>
            <pc:docMk/>
            <pc:sldMk cId="3240405561" sldId="658"/>
            <ac:picMk id="8" creationId="{93ED191F-C0BA-4C03-9498-0A72AB2C6EDD}"/>
          </ac:picMkLst>
        </pc:picChg>
        <pc:picChg chg="del mod topLvl">
          <ac:chgData name="Carlos Reyes García" userId="8f106461-3865-4cda-a443-ca56f71f97d2" providerId="ADAL" clId="{D3EFDC9E-C770-4EC4-8A5A-B4E22FBE207B}" dt="2020-02-27T00:54:58.056" v="4079" actId="478"/>
          <ac:picMkLst>
            <pc:docMk/>
            <pc:sldMk cId="3240405561" sldId="658"/>
            <ac:picMk id="16" creationId="{AC8D76EB-D027-4AAA-A70E-D283224E13DC}"/>
          </ac:picMkLst>
        </pc:picChg>
        <pc:picChg chg="mod topLvl">
          <ac:chgData name="Carlos Reyes García" userId="8f106461-3865-4cda-a443-ca56f71f97d2" providerId="ADAL" clId="{D3EFDC9E-C770-4EC4-8A5A-B4E22FBE207B}" dt="2020-02-27T00:54:55.330" v="4078" actId="165"/>
          <ac:picMkLst>
            <pc:docMk/>
            <pc:sldMk cId="3240405561" sldId="658"/>
            <ac:picMk id="17" creationId="{242D9C4A-9B80-441A-96ED-830C81FFA9FB}"/>
          </ac:picMkLst>
        </pc:picChg>
        <pc:picChg chg="mod topLvl">
          <ac:chgData name="Carlos Reyes García" userId="8f106461-3865-4cda-a443-ca56f71f97d2" providerId="ADAL" clId="{D3EFDC9E-C770-4EC4-8A5A-B4E22FBE207B}" dt="2020-02-27T00:55:34.361" v="4085" actId="164"/>
          <ac:picMkLst>
            <pc:docMk/>
            <pc:sldMk cId="3240405561" sldId="658"/>
            <ac:picMk id="28" creationId="{BEC3CCA3-F23F-4E07-88E2-80122A219D5C}"/>
          </ac:picMkLst>
        </pc:picChg>
        <pc:picChg chg="del mod topLvl">
          <ac:chgData name="Carlos Reyes García" userId="8f106461-3865-4cda-a443-ca56f71f97d2" providerId="ADAL" clId="{D3EFDC9E-C770-4EC4-8A5A-B4E22FBE207B}" dt="2020-02-27T00:55:28.152" v="4084" actId="478"/>
          <ac:picMkLst>
            <pc:docMk/>
            <pc:sldMk cId="3240405561" sldId="658"/>
            <ac:picMk id="29" creationId="{D1F0B4CE-9FCD-4FAE-9691-7074ECB9E3C3}"/>
          </ac:picMkLst>
        </pc:picChg>
      </pc:sldChg>
      <pc:sldChg chg="addSp delSp modSp add mod">
        <pc:chgData name="Carlos Reyes García" userId="8f106461-3865-4cda-a443-ca56f71f97d2" providerId="ADAL" clId="{D3EFDC9E-C770-4EC4-8A5A-B4E22FBE207B}" dt="2020-02-27T01:11:46.599" v="4764" actId="1076"/>
        <pc:sldMkLst>
          <pc:docMk/>
          <pc:sldMk cId="4247026079" sldId="659"/>
        </pc:sldMkLst>
        <pc:spChg chg="mod">
          <ac:chgData name="Carlos Reyes García" userId="8f106461-3865-4cda-a443-ca56f71f97d2" providerId="ADAL" clId="{D3EFDC9E-C770-4EC4-8A5A-B4E22FBE207B}" dt="2020-02-27T01:11:46.599" v="4764" actId="1076"/>
          <ac:spMkLst>
            <pc:docMk/>
            <pc:sldMk cId="4247026079" sldId="659"/>
            <ac:spMk id="14" creationId="{9130FF38-63C0-44C9-A861-5E3CCFC6E44D}"/>
          </ac:spMkLst>
        </pc:spChg>
        <pc:spChg chg="del">
          <ac:chgData name="Carlos Reyes García" userId="8f106461-3865-4cda-a443-ca56f71f97d2" providerId="ADAL" clId="{D3EFDC9E-C770-4EC4-8A5A-B4E22FBE207B}" dt="2020-02-27T01:01:28.649" v="4116" actId="478"/>
          <ac:spMkLst>
            <pc:docMk/>
            <pc:sldMk cId="4247026079" sldId="659"/>
            <ac:spMk id="18" creationId="{643A697E-2D16-4E96-8F44-9ECBBCEFED01}"/>
          </ac:spMkLst>
        </pc:spChg>
        <pc:spChg chg="add mod">
          <ac:chgData name="Carlos Reyes García" userId="8f106461-3865-4cda-a443-ca56f71f97d2" providerId="ADAL" clId="{D3EFDC9E-C770-4EC4-8A5A-B4E22FBE207B}" dt="2020-02-27T01:05:11.315" v="4137" actId="164"/>
          <ac:spMkLst>
            <pc:docMk/>
            <pc:sldMk cId="4247026079" sldId="659"/>
            <ac:spMk id="25" creationId="{2D233411-EF47-40AE-B02C-617E99A19B63}"/>
          </ac:spMkLst>
        </pc:spChg>
        <pc:spChg chg="add mod">
          <ac:chgData name="Carlos Reyes García" userId="8f106461-3865-4cda-a443-ca56f71f97d2" providerId="ADAL" clId="{D3EFDC9E-C770-4EC4-8A5A-B4E22FBE207B}" dt="2020-02-27T01:05:11.315" v="4137" actId="164"/>
          <ac:spMkLst>
            <pc:docMk/>
            <pc:sldMk cId="4247026079" sldId="659"/>
            <ac:spMk id="27" creationId="{2ABB4F08-18E9-4497-B143-1932EC4DAF0D}"/>
          </ac:spMkLst>
        </pc:spChg>
        <pc:spChg chg="add mod">
          <ac:chgData name="Carlos Reyes García" userId="8f106461-3865-4cda-a443-ca56f71f97d2" providerId="ADAL" clId="{D3EFDC9E-C770-4EC4-8A5A-B4E22FBE207B}" dt="2020-02-27T01:05:11.315" v="4137" actId="164"/>
          <ac:spMkLst>
            <pc:docMk/>
            <pc:sldMk cId="4247026079" sldId="659"/>
            <ac:spMk id="31" creationId="{95DE6E7E-46C4-40A2-84F7-AC892028C0CF}"/>
          </ac:spMkLst>
        </pc:spChg>
        <pc:grpChg chg="del">
          <ac:chgData name="Carlos Reyes García" userId="8f106461-3865-4cda-a443-ca56f71f97d2" providerId="ADAL" clId="{D3EFDC9E-C770-4EC4-8A5A-B4E22FBE207B}" dt="2020-02-27T01:01:28.649" v="4116" actId="478"/>
          <ac:grpSpMkLst>
            <pc:docMk/>
            <pc:sldMk cId="4247026079" sldId="659"/>
            <ac:grpSpMk id="13" creationId="{D18D5DE4-3A3E-424E-A780-517C3DCA345B}"/>
          </ac:grpSpMkLst>
        </pc:grpChg>
        <pc:grpChg chg="add mod">
          <ac:chgData name="Carlos Reyes García" userId="8f106461-3865-4cda-a443-ca56f71f97d2" providerId="ADAL" clId="{D3EFDC9E-C770-4EC4-8A5A-B4E22FBE207B}" dt="2020-02-27T01:05:11.315" v="4137" actId="164"/>
          <ac:grpSpMkLst>
            <pc:docMk/>
            <pc:sldMk cId="4247026079" sldId="659"/>
            <ac:grpSpMk id="32" creationId="{CD47346E-4E26-473B-AE67-300D8118C34A}"/>
          </ac:grpSpMkLst>
        </pc:grpChg>
        <pc:picChg chg="add del mod">
          <ac:chgData name="Carlos Reyes García" userId="8f106461-3865-4cda-a443-ca56f71f97d2" providerId="ADAL" clId="{D3EFDC9E-C770-4EC4-8A5A-B4E22FBE207B}" dt="2020-02-27T00:59:11.200" v="4096" actId="478"/>
          <ac:picMkLst>
            <pc:docMk/>
            <pc:sldMk cId="4247026079" sldId="659"/>
            <ac:picMk id="4" creationId="{DC6FE542-3657-4744-8A84-35E36B396135}"/>
          </ac:picMkLst>
        </pc:picChg>
        <pc:picChg chg="del">
          <ac:chgData name="Carlos Reyes García" userId="8f106461-3865-4cda-a443-ca56f71f97d2" providerId="ADAL" clId="{D3EFDC9E-C770-4EC4-8A5A-B4E22FBE207B}" dt="2020-02-27T01:00:47.265" v="4103" actId="478"/>
          <ac:picMkLst>
            <pc:docMk/>
            <pc:sldMk cId="4247026079" sldId="659"/>
            <ac:picMk id="5" creationId="{71805EB6-4A93-443E-8225-6F842A45AB06}"/>
          </ac:picMkLst>
        </pc:picChg>
        <pc:picChg chg="add del mod">
          <ac:chgData name="Carlos Reyes García" userId="8f106461-3865-4cda-a443-ca56f71f97d2" providerId="ADAL" clId="{D3EFDC9E-C770-4EC4-8A5A-B4E22FBE207B}" dt="2020-02-27T00:59:45.027" v="4099" actId="478"/>
          <ac:picMkLst>
            <pc:docMk/>
            <pc:sldMk cId="4247026079" sldId="659"/>
            <ac:picMk id="6" creationId="{23B42A8A-F983-40F2-8634-357170CDCDE5}"/>
          </ac:picMkLst>
        </pc:picChg>
        <pc:picChg chg="del mod">
          <ac:chgData name="Carlos Reyes García" userId="8f106461-3865-4cda-a443-ca56f71f97d2" providerId="ADAL" clId="{D3EFDC9E-C770-4EC4-8A5A-B4E22FBE207B}" dt="2020-02-27T01:04:24.667" v="4133" actId="478"/>
          <ac:picMkLst>
            <pc:docMk/>
            <pc:sldMk cId="4247026079" sldId="659"/>
            <ac:picMk id="7" creationId="{BCF916CA-F91C-4C9E-AA28-74F06C8FBEDC}"/>
          </ac:picMkLst>
        </pc:picChg>
        <pc:picChg chg="add del mod">
          <ac:chgData name="Carlos Reyes García" userId="8f106461-3865-4cda-a443-ca56f71f97d2" providerId="ADAL" clId="{D3EFDC9E-C770-4EC4-8A5A-B4E22FBE207B}" dt="2020-02-27T01:04:22.208" v="4131" actId="478"/>
          <ac:picMkLst>
            <pc:docMk/>
            <pc:sldMk cId="4247026079" sldId="659"/>
            <ac:picMk id="8" creationId="{93ED191F-C0BA-4C03-9498-0A72AB2C6EDD}"/>
          </ac:picMkLst>
        </pc:picChg>
        <pc:picChg chg="add mod ord">
          <ac:chgData name="Carlos Reyes García" userId="8f106461-3865-4cda-a443-ca56f71f97d2" providerId="ADAL" clId="{D3EFDC9E-C770-4EC4-8A5A-B4E22FBE207B}" dt="2020-02-27T01:00:58.584" v="4109" actId="1038"/>
          <ac:picMkLst>
            <pc:docMk/>
            <pc:sldMk cId="4247026079" sldId="659"/>
            <ac:picMk id="10" creationId="{B9DA5C6A-A7FC-4FA8-AE58-1B754F9BCC58}"/>
          </ac:picMkLst>
        </pc:picChg>
        <pc:picChg chg="del">
          <ac:chgData name="Carlos Reyes García" userId="8f106461-3865-4cda-a443-ca56f71f97d2" providerId="ADAL" clId="{D3EFDC9E-C770-4EC4-8A5A-B4E22FBE207B}" dt="2020-02-27T01:01:28.649" v="4116" actId="478"/>
          <ac:picMkLst>
            <pc:docMk/>
            <pc:sldMk cId="4247026079" sldId="659"/>
            <ac:picMk id="17" creationId="{242D9C4A-9B80-441A-96ED-830C81FFA9FB}"/>
          </ac:picMkLst>
        </pc:picChg>
        <pc:picChg chg="add mod ord">
          <ac:chgData name="Carlos Reyes García" userId="8f106461-3865-4cda-a443-ca56f71f97d2" providerId="ADAL" clId="{D3EFDC9E-C770-4EC4-8A5A-B4E22FBE207B}" dt="2020-02-27T01:04:15.080" v="4127" actId="167"/>
          <ac:picMkLst>
            <pc:docMk/>
            <pc:sldMk cId="4247026079" sldId="659"/>
            <ac:picMk id="23" creationId="{DAD56884-DED1-4D07-9D4B-31724DEDF42A}"/>
          </ac:picMkLst>
        </pc:picChg>
        <pc:picChg chg="add mod">
          <ac:chgData name="Carlos Reyes García" userId="8f106461-3865-4cda-a443-ca56f71f97d2" providerId="ADAL" clId="{D3EFDC9E-C770-4EC4-8A5A-B4E22FBE207B}" dt="2020-02-27T01:05:11.315" v="4137" actId="164"/>
          <ac:picMkLst>
            <pc:docMk/>
            <pc:sldMk cId="4247026079" sldId="659"/>
            <ac:picMk id="29" creationId="{629A1F27-B23D-4234-84B0-4B2C61F53265}"/>
          </ac:picMkLst>
        </pc:picChg>
        <pc:picChg chg="add del mod">
          <ac:chgData name="Carlos Reyes García" userId="8f106461-3865-4cda-a443-ca56f71f97d2" providerId="ADAL" clId="{D3EFDC9E-C770-4EC4-8A5A-B4E22FBE207B}" dt="2020-02-27T01:11:11.804" v="4732" actId="478"/>
          <ac:picMkLst>
            <pc:docMk/>
            <pc:sldMk cId="4247026079" sldId="659"/>
            <ac:picMk id="33" creationId="{232D8A47-2C02-4D4E-AD5C-55AE0B9EDF93}"/>
          </ac:picMkLst>
        </pc:picChg>
        <pc:cxnChg chg="mod">
          <ac:chgData name="Carlos Reyes García" userId="8f106461-3865-4cda-a443-ca56f71f97d2" providerId="ADAL" clId="{D3EFDC9E-C770-4EC4-8A5A-B4E22FBE207B}" dt="2020-02-27T01:01:20.157" v="4115" actId="14100"/>
          <ac:cxnSpMkLst>
            <pc:docMk/>
            <pc:sldMk cId="4247026079" sldId="659"/>
            <ac:cxnSpMk id="9" creationId="{A2F84DC1-9899-41DE-A318-1B58EE6C6295}"/>
          </ac:cxnSpMkLst>
        </pc:cxnChg>
        <pc:cxnChg chg="add del mod">
          <ac:chgData name="Carlos Reyes García" userId="8f106461-3865-4cda-a443-ca56f71f97d2" providerId="ADAL" clId="{D3EFDC9E-C770-4EC4-8A5A-B4E22FBE207B}" dt="2020-02-27T01:11:08.377" v="4731" actId="478"/>
          <ac:cxnSpMkLst>
            <pc:docMk/>
            <pc:sldMk cId="4247026079" sldId="659"/>
            <ac:cxnSpMk id="34" creationId="{448B60D6-3FD6-40A3-AD9D-489140E643C3}"/>
          </ac:cxnSpMkLst>
        </pc:cxnChg>
      </pc:sldChg>
      <pc:sldChg chg="addSp modSp new mod">
        <pc:chgData name="Carlos Reyes García" userId="8f106461-3865-4cda-a443-ca56f71f97d2" providerId="ADAL" clId="{D3EFDC9E-C770-4EC4-8A5A-B4E22FBE207B}" dt="2020-02-27T01:26:56.460" v="5136" actId="20577"/>
        <pc:sldMkLst>
          <pc:docMk/>
          <pc:sldMk cId="424115361" sldId="660"/>
        </pc:sldMkLst>
        <pc:spChg chg="mod">
          <ac:chgData name="Carlos Reyes García" userId="8f106461-3865-4cda-a443-ca56f71f97d2" providerId="ADAL" clId="{D3EFDC9E-C770-4EC4-8A5A-B4E22FBE207B}" dt="2020-02-27T01:22:18.057" v="4790" actId="20577"/>
          <ac:spMkLst>
            <pc:docMk/>
            <pc:sldMk cId="424115361" sldId="660"/>
            <ac:spMk id="2" creationId="{E2F6B3C5-2D03-472F-ADDE-BB817AB401D7}"/>
          </ac:spMkLst>
        </pc:spChg>
        <pc:spChg chg="mod">
          <ac:chgData name="Carlos Reyes García" userId="8f106461-3865-4cda-a443-ca56f71f97d2" providerId="ADAL" clId="{D3EFDC9E-C770-4EC4-8A5A-B4E22FBE207B}" dt="2020-02-27T01:26:56.460" v="5136" actId="20577"/>
          <ac:spMkLst>
            <pc:docMk/>
            <pc:sldMk cId="424115361" sldId="660"/>
            <ac:spMk id="4" creationId="{D5861A11-DA26-4FEC-99B1-AA665EE14FF6}"/>
          </ac:spMkLst>
        </pc:spChg>
        <pc:picChg chg="add mod">
          <ac:chgData name="Carlos Reyes García" userId="8f106461-3865-4cda-a443-ca56f71f97d2" providerId="ADAL" clId="{D3EFDC9E-C770-4EC4-8A5A-B4E22FBE207B}" dt="2020-02-27T01:26:32.780" v="5134" actId="1076"/>
          <ac:picMkLst>
            <pc:docMk/>
            <pc:sldMk cId="424115361" sldId="660"/>
            <ac:picMk id="5" creationId="{497D7147-269D-4E94-A8DE-F66D2D686DCA}"/>
          </ac:picMkLst>
        </pc:picChg>
      </pc:sldChg>
      <pc:sldChg chg="addSp delSp modSp new mod modNotesTx">
        <pc:chgData name="Carlos Reyes García" userId="8f106461-3865-4cda-a443-ca56f71f97d2" providerId="ADAL" clId="{D3EFDC9E-C770-4EC4-8A5A-B4E22FBE207B}" dt="2020-02-27T02:52:58.276" v="5393" actId="20577"/>
        <pc:sldMkLst>
          <pc:docMk/>
          <pc:sldMk cId="2208586234" sldId="661"/>
        </pc:sldMkLst>
        <pc:spChg chg="mod">
          <ac:chgData name="Carlos Reyes García" userId="8f106461-3865-4cda-a443-ca56f71f97d2" providerId="ADAL" clId="{D3EFDC9E-C770-4EC4-8A5A-B4E22FBE207B}" dt="2020-02-27T02:34:50.067" v="5293" actId="20577"/>
          <ac:spMkLst>
            <pc:docMk/>
            <pc:sldMk cId="2208586234" sldId="661"/>
            <ac:spMk id="2" creationId="{63FBAB2C-3532-4564-B259-B2AD57B05ED6}"/>
          </ac:spMkLst>
        </pc:spChg>
        <pc:spChg chg="del">
          <ac:chgData name="Carlos Reyes García" userId="8f106461-3865-4cda-a443-ca56f71f97d2" providerId="ADAL" clId="{D3EFDC9E-C770-4EC4-8A5A-B4E22FBE207B}" dt="2020-02-27T02:34:24.423" v="5283" actId="478"/>
          <ac:spMkLst>
            <pc:docMk/>
            <pc:sldMk cId="2208586234" sldId="661"/>
            <ac:spMk id="4" creationId="{3D170CC0-9A87-456C-9DEE-3AE67E5A24B6}"/>
          </ac:spMkLst>
        </pc:spChg>
        <pc:spChg chg="add del">
          <ac:chgData name="Carlos Reyes García" userId="8f106461-3865-4cda-a443-ca56f71f97d2" providerId="ADAL" clId="{D3EFDC9E-C770-4EC4-8A5A-B4E22FBE207B}" dt="2020-02-27T02:36:03.171" v="5303" actId="478"/>
          <ac:spMkLst>
            <pc:docMk/>
            <pc:sldMk cId="2208586234" sldId="661"/>
            <ac:spMk id="7" creationId="{6CA0C906-AE4D-429F-B754-E21AF919EFC4}"/>
          </ac:spMkLst>
        </pc:spChg>
        <pc:grpChg chg="add del">
          <ac:chgData name="Carlos Reyes García" userId="8f106461-3865-4cda-a443-ca56f71f97d2" providerId="ADAL" clId="{D3EFDC9E-C770-4EC4-8A5A-B4E22FBE207B}" dt="2020-02-27T02:36:02.583" v="5302" actId="478"/>
          <ac:grpSpMkLst>
            <pc:docMk/>
            <pc:sldMk cId="2208586234" sldId="661"/>
            <ac:grpSpMk id="31" creationId="{E56A4359-739B-4F12-B664-887260FE8583}"/>
          </ac:grpSpMkLst>
        </pc:grpChg>
        <pc:picChg chg="add del mod">
          <ac:chgData name="Carlos Reyes García" userId="8f106461-3865-4cda-a443-ca56f71f97d2" providerId="ADAL" clId="{D3EFDC9E-C770-4EC4-8A5A-B4E22FBE207B}" dt="2020-02-27T02:36:02.477" v="5301"/>
          <ac:picMkLst>
            <pc:docMk/>
            <pc:sldMk cId="2208586234" sldId="661"/>
            <ac:picMk id="2050" creationId="{3E38B5B5-A564-4283-9B0E-B15FA25BBE0D}"/>
          </ac:picMkLst>
        </pc:picChg>
      </pc:sldChg>
      <pc:sldChg chg="addSp delSp modSp new mod modNotesTx">
        <pc:chgData name="Carlos Reyes García" userId="8f106461-3865-4cda-a443-ca56f71f97d2" providerId="ADAL" clId="{D3EFDC9E-C770-4EC4-8A5A-B4E22FBE207B}" dt="2020-02-27T02:53:03.017" v="5394" actId="20577"/>
        <pc:sldMkLst>
          <pc:docMk/>
          <pc:sldMk cId="3467512254" sldId="662"/>
        </pc:sldMkLst>
        <pc:spChg chg="mod">
          <ac:chgData name="Carlos Reyes García" userId="8f106461-3865-4cda-a443-ca56f71f97d2" providerId="ADAL" clId="{D3EFDC9E-C770-4EC4-8A5A-B4E22FBE207B}" dt="2020-02-27T02:42:59.239" v="5359" actId="20577"/>
          <ac:spMkLst>
            <pc:docMk/>
            <pc:sldMk cId="3467512254" sldId="662"/>
            <ac:spMk id="2" creationId="{94839F5D-162F-4769-AB09-6F694188AA4C}"/>
          </ac:spMkLst>
        </pc:spChg>
        <pc:spChg chg="del">
          <ac:chgData name="Carlos Reyes García" userId="8f106461-3865-4cda-a443-ca56f71f97d2" providerId="ADAL" clId="{D3EFDC9E-C770-4EC4-8A5A-B4E22FBE207B}" dt="2020-02-27T02:37:22.277" v="5306" actId="3680"/>
          <ac:spMkLst>
            <pc:docMk/>
            <pc:sldMk cId="3467512254" sldId="662"/>
            <ac:spMk id="4" creationId="{1E1709FB-03A5-4D41-BA3C-D3CA2CE67B3D}"/>
          </ac:spMkLst>
        </pc:spChg>
        <pc:spChg chg="add del mod">
          <ac:chgData name="Carlos Reyes García" userId="8f106461-3865-4cda-a443-ca56f71f97d2" providerId="ADAL" clId="{D3EFDC9E-C770-4EC4-8A5A-B4E22FBE207B}" dt="2020-02-27T02:43:05.694" v="5361"/>
          <ac:spMkLst>
            <pc:docMk/>
            <pc:sldMk cId="3467512254" sldId="662"/>
            <ac:spMk id="8" creationId="{3CF09D0A-95BE-4F7D-88E2-2F826CA06E14}"/>
          </ac:spMkLst>
        </pc:spChg>
        <pc:graphicFrameChg chg="add del mod ord modGraphic">
          <ac:chgData name="Carlos Reyes García" userId="8f106461-3865-4cda-a443-ca56f71f97d2" providerId="ADAL" clId="{D3EFDC9E-C770-4EC4-8A5A-B4E22FBE207B}" dt="2020-02-27T02:43:03.206" v="5360" actId="478"/>
          <ac:graphicFrameMkLst>
            <pc:docMk/>
            <pc:sldMk cId="3467512254" sldId="662"/>
            <ac:graphicFrameMk id="5" creationId="{B7812E3E-9964-4117-9A52-FD838791FDFD}"/>
          </ac:graphicFrameMkLst>
        </pc:graphicFrameChg>
        <pc:graphicFrameChg chg="add mod modGraphic">
          <ac:chgData name="Carlos Reyes García" userId="8f106461-3865-4cda-a443-ca56f71f97d2" providerId="ADAL" clId="{D3EFDC9E-C770-4EC4-8A5A-B4E22FBE207B}" dt="2020-02-27T02:43:59.831" v="5370" actId="12385"/>
          <ac:graphicFrameMkLst>
            <pc:docMk/>
            <pc:sldMk cId="3467512254" sldId="662"/>
            <ac:graphicFrameMk id="9" creationId="{7211203A-06D1-4275-BE0B-A6F63E7764AC}"/>
          </ac:graphicFrameMkLst>
        </pc:graphicFrameChg>
      </pc:sldChg>
      <pc:sldChg chg="modSp add del mod">
        <pc:chgData name="Carlos Reyes García" userId="8f106461-3865-4cda-a443-ca56f71f97d2" providerId="ADAL" clId="{D3EFDC9E-C770-4EC4-8A5A-B4E22FBE207B}" dt="2020-02-27T02:43:22.481" v="5362" actId="47"/>
        <pc:sldMkLst>
          <pc:docMk/>
          <pc:sldMk cId="2049844579" sldId="663"/>
        </pc:sldMkLst>
        <pc:graphicFrameChg chg="mod modGraphic">
          <ac:chgData name="Carlos Reyes García" userId="8f106461-3865-4cda-a443-ca56f71f97d2" providerId="ADAL" clId="{D3EFDC9E-C770-4EC4-8A5A-B4E22FBE207B}" dt="2020-02-27T02:38:48.797" v="5323" actId="20577"/>
          <ac:graphicFrameMkLst>
            <pc:docMk/>
            <pc:sldMk cId="2049844579" sldId="663"/>
            <ac:graphicFrameMk id="5" creationId="{B7812E3E-9964-4117-9A52-FD838791FDFD}"/>
          </ac:graphicFrameMkLst>
        </pc:graphicFrameChg>
      </pc:sldChg>
      <pc:sldChg chg="modSp new mod">
        <pc:chgData name="Carlos Reyes García" userId="8f106461-3865-4cda-a443-ca56f71f97d2" providerId="ADAL" clId="{D3EFDC9E-C770-4EC4-8A5A-B4E22FBE207B}" dt="2020-02-27T02:42:06.042" v="5356" actId="27636"/>
        <pc:sldMkLst>
          <pc:docMk/>
          <pc:sldMk cId="3669873639" sldId="664"/>
        </pc:sldMkLst>
        <pc:spChg chg="mod">
          <ac:chgData name="Carlos Reyes García" userId="8f106461-3865-4cda-a443-ca56f71f97d2" providerId="ADAL" clId="{D3EFDC9E-C770-4EC4-8A5A-B4E22FBE207B}" dt="2020-02-27T02:40:23.937" v="5337" actId="20577"/>
          <ac:spMkLst>
            <pc:docMk/>
            <pc:sldMk cId="3669873639" sldId="664"/>
            <ac:spMk id="2" creationId="{7C3670C4-5C26-4C91-81F6-5A68ED111745}"/>
          </ac:spMkLst>
        </pc:spChg>
        <pc:spChg chg="mod">
          <ac:chgData name="Carlos Reyes García" userId="8f106461-3865-4cda-a443-ca56f71f97d2" providerId="ADAL" clId="{D3EFDC9E-C770-4EC4-8A5A-B4E22FBE207B}" dt="2020-02-27T02:42:06.042" v="5356" actId="27636"/>
          <ac:spMkLst>
            <pc:docMk/>
            <pc:sldMk cId="3669873639" sldId="664"/>
            <ac:spMk id="4" creationId="{FEF0851C-FF3A-4F4A-9D57-9DACC0215059}"/>
          </ac:spMkLst>
        </pc:spChg>
      </pc:sldChg>
      <pc:sldChg chg="addSp delSp modSp add mod">
        <pc:chgData name="Carlos Reyes García" userId="8f106461-3865-4cda-a443-ca56f71f97d2" providerId="ADAL" clId="{D3EFDC9E-C770-4EC4-8A5A-B4E22FBE207B}" dt="2020-02-27T19:04:26.818" v="5862" actId="208"/>
        <pc:sldMkLst>
          <pc:docMk/>
          <pc:sldMk cId="3646168096" sldId="665"/>
        </pc:sldMkLst>
        <pc:spChg chg="mod">
          <ac:chgData name="Carlos Reyes García" userId="8f106461-3865-4cda-a443-ca56f71f97d2" providerId="ADAL" clId="{D3EFDC9E-C770-4EC4-8A5A-B4E22FBE207B}" dt="2020-02-27T18:45:23.559" v="5439"/>
          <ac:spMkLst>
            <pc:docMk/>
            <pc:sldMk cId="3646168096" sldId="665"/>
            <ac:spMk id="2" creationId="{EB67312A-9819-43C6-8D84-D9136E6CFFCC}"/>
          </ac:spMkLst>
        </pc:spChg>
        <pc:spChg chg="add del mod">
          <ac:chgData name="Carlos Reyes García" userId="8f106461-3865-4cda-a443-ca56f71f97d2" providerId="ADAL" clId="{D3EFDC9E-C770-4EC4-8A5A-B4E22FBE207B}" dt="2020-02-27T18:51:54.631" v="5732"/>
          <ac:spMkLst>
            <pc:docMk/>
            <pc:sldMk cId="3646168096" sldId="665"/>
            <ac:spMk id="5" creationId="{B6947C10-5592-4412-BE87-FAEE0C114033}"/>
          </ac:spMkLst>
        </pc:spChg>
        <pc:spChg chg="del mod">
          <ac:chgData name="Carlos Reyes García" userId="8f106461-3865-4cda-a443-ca56f71f97d2" providerId="ADAL" clId="{D3EFDC9E-C770-4EC4-8A5A-B4E22FBE207B}" dt="2020-02-27T18:48:28.261" v="5462" actId="478"/>
          <ac:spMkLst>
            <pc:docMk/>
            <pc:sldMk cId="3646168096" sldId="665"/>
            <ac:spMk id="14" creationId="{9130FF38-63C0-44C9-A861-5E3CCFC6E44D}"/>
          </ac:spMkLst>
        </pc:spChg>
        <pc:spChg chg="add mod">
          <ac:chgData name="Carlos Reyes García" userId="8f106461-3865-4cda-a443-ca56f71f97d2" providerId="ADAL" clId="{D3EFDC9E-C770-4EC4-8A5A-B4E22FBE207B}" dt="2020-02-27T18:53:22.429" v="5821" actId="20577"/>
          <ac:spMkLst>
            <pc:docMk/>
            <pc:sldMk cId="3646168096" sldId="665"/>
            <ac:spMk id="15" creationId="{211413AE-8D61-469A-A381-96558B10C230}"/>
          </ac:spMkLst>
        </pc:spChg>
        <pc:grpChg chg="del">
          <ac:chgData name="Carlos Reyes García" userId="8f106461-3865-4cda-a443-ca56f71f97d2" providerId="ADAL" clId="{D3EFDC9E-C770-4EC4-8A5A-B4E22FBE207B}" dt="2020-02-27T18:47:23.426" v="5441" actId="478"/>
          <ac:grpSpMkLst>
            <pc:docMk/>
            <pc:sldMk cId="3646168096" sldId="665"/>
            <ac:grpSpMk id="32" creationId="{CD47346E-4E26-473B-AE67-300D8118C34A}"/>
          </ac:grpSpMkLst>
        </pc:grpChg>
        <pc:picChg chg="add mod">
          <ac:chgData name="Carlos Reyes García" userId="8f106461-3865-4cda-a443-ca56f71f97d2" providerId="ADAL" clId="{D3EFDC9E-C770-4EC4-8A5A-B4E22FBE207B}" dt="2020-02-27T18:51:12.024" v="5717" actId="1076"/>
          <ac:picMkLst>
            <pc:docMk/>
            <pc:sldMk cId="3646168096" sldId="665"/>
            <ac:picMk id="4" creationId="{60E89AD2-297D-4B37-A2E9-45CE76DAEADB}"/>
          </ac:picMkLst>
        </pc:picChg>
        <pc:picChg chg="add del mod">
          <ac:chgData name="Carlos Reyes García" userId="8f106461-3865-4cda-a443-ca56f71f97d2" providerId="ADAL" clId="{D3EFDC9E-C770-4EC4-8A5A-B4E22FBE207B}" dt="2020-02-27T18:56:55.916" v="5843" actId="478"/>
          <ac:picMkLst>
            <pc:docMk/>
            <pc:sldMk cId="3646168096" sldId="665"/>
            <ac:picMk id="8" creationId="{24CD7795-CD30-4807-95D1-AF5E68970F0E}"/>
          </ac:picMkLst>
        </pc:picChg>
        <pc:picChg chg="add del">
          <ac:chgData name="Carlos Reyes García" userId="8f106461-3865-4cda-a443-ca56f71f97d2" providerId="ADAL" clId="{D3EFDC9E-C770-4EC4-8A5A-B4E22FBE207B}" dt="2020-02-27T18:48:16.321" v="5459" actId="478"/>
          <ac:picMkLst>
            <pc:docMk/>
            <pc:sldMk cId="3646168096" sldId="665"/>
            <ac:picMk id="10" creationId="{B9DA5C6A-A7FC-4FA8-AE58-1B754F9BCC58}"/>
          </ac:picMkLst>
        </pc:picChg>
        <pc:picChg chg="add mod">
          <ac:chgData name="Carlos Reyes García" userId="8f106461-3865-4cda-a443-ca56f71f97d2" providerId="ADAL" clId="{D3EFDC9E-C770-4EC4-8A5A-B4E22FBE207B}" dt="2020-02-27T19:04:26.818" v="5862" actId="208"/>
          <ac:picMkLst>
            <pc:docMk/>
            <pc:sldMk cId="3646168096" sldId="665"/>
            <ac:picMk id="13" creationId="{E5CB7015-BEDA-44A0-BCF3-4957F54980A8}"/>
          </ac:picMkLst>
        </pc:picChg>
        <pc:picChg chg="del">
          <ac:chgData name="Carlos Reyes García" userId="8f106461-3865-4cda-a443-ca56f71f97d2" providerId="ADAL" clId="{D3EFDC9E-C770-4EC4-8A5A-B4E22FBE207B}" dt="2020-02-27T18:47:20.271" v="5440" actId="478"/>
          <ac:picMkLst>
            <pc:docMk/>
            <pc:sldMk cId="3646168096" sldId="665"/>
            <ac:picMk id="23" creationId="{DAD56884-DED1-4D07-9D4B-31724DEDF42A}"/>
          </ac:picMkLst>
        </pc:picChg>
        <pc:picChg chg="add mod">
          <ac:chgData name="Carlos Reyes García" userId="8f106461-3865-4cda-a443-ca56f71f97d2" providerId="ADAL" clId="{D3EFDC9E-C770-4EC4-8A5A-B4E22FBE207B}" dt="2020-02-27T18:54:32.130" v="5828" actId="1076"/>
          <ac:picMkLst>
            <pc:docMk/>
            <pc:sldMk cId="3646168096" sldId="665"/>
            <ac:picMk id="1026" creationId="{C50DECDF-CD18-42CB-8AA9-32C7170BD887}"/>
          </ac:picMkLst>
        </pc:picChg>
        <pc:cxnChg chg="add del">
          <ac:chgData name="Carlos Reyes García" userId="8f106461-3865-4cda-a443-ca56f71f97d2" providerId="ADAL" clId="{D3EFDC9E-C770-4EC4-8A5A-B4E22FBE207B}" dt="2020-02-27T18:48:18.595" v="5460" actId="478"/>
          <ac:cxnSpMkLst>
            <pc:docMk/>
            <pc:sldMk cId="3646168096" sldId="665"/>
            <ac:cxnSpMk id="9" creationId="{A2F84DC1-9899-41DE-A318-1B58EE6C6295}"/>
          </ac:cxnSpMkLst>
        </pc:cxnChg>
        <pc:cxnChg chg="add mod">
          <ac:chgData name="Carlos Reyes García" userId="8f106461-3865-4cda-a443-ca56f71f97d2" providerId="ADAL" clId="{D3EFDC9E-C770-4EC4-8A5A-B4E22FBE207B}" dt="2020-02-27T18:52:10.535" v="5736" actId="14100"/>
          <ac:cxnSpMkLst>
            <pc:docMk/>
            <pc:sldMk cId="3646168096" sldId="665"/>
            <ac:cxnSpMk id="16" creationId="{95F87E3D-4B35-4430-A3B4-3AB6F3414141}"/>
          </ac:cxnSpMkLst>
        </pc:cxnChg>
        <pc:cxnChg chg="add mod">
          <ac:chgData name="Carlos Reyes García" userId="8f106461-3865-4cda-a443-ca56f71f97d2" providerId="ADAL" clId="{D3EFDC9E-C770-4EC4-8A5A-B4E22FBE207B}" dt="2020-02-27T18:54:46.178" v="5831" actId="14100"/>
          <ac:cxnSpMkLst>
            <pc:docMk/>
            <pc:sldMk cId="3646168096" sldId="665"/>
            <ac:cxnSpMk id="21" creationId="{460EA17A-3E41-4295-B15B-E1EE177E158C}"/>
          </ac:cxnSpMkLst>
        </pc:cxnChg>
      </pc:sldChg>
      <pc:sldChg chg="new del">
        <pc:chgData name="Carlos Reyes García" userId="8f106461-3865-4cda-a443-ca56f71f97d2" providerId="ADAL" clId="{D3EFDC9E-C770-4EC4-8A5A-B4E22FBE207B}" dt="2020-02-27T19:05:35.607" v="5875" actId="47"/>
        <pc:sldMkLst>
          <pc:docMk/>
          <pc:sldMk cId="2460328898" sldId="666"/>
        </pc:sldMkLst>
      </pc:sldChg>
      <pc:sldChg chg="addSp delSp modSp add mod">
        <pc:chgData name="Carlos Reyes García" userId="8f106461-3865-4cda-a443-ca56f71f97d2" providerId="ADAL" clId="{D3EFDC9E-C770-4EC4-8A5A-B4E22FBE207B}" dt="2020-02-27T19:05:22.026" v="5874" actId="14100"/>
        <pc:sldMkLst>
          <pc:docMk/>
          <pc:sldMk cId="1139598534" sldId="667"/>
        </pc:sldMkLst>
        <pc:spChg chg="mod">
          <ac:chgData name="Carlos Reyes García" userId="8f106461-3865-4cda-a443-ca56f71f97d2" providerId="ADAL" clId="{D3EFDC9E-C770-4EC4-8A5A-B4E22FBE207B}" dt="2020-02-27T18:54:57.419" v="5833" actId="6549"/>
          <ac:spMkLst>
            <pc:docMk/>
            <pc:sldMk cId="1139598534" sldId="667"/>
            <ac:spMk id="15" creationId="{211413AE-8D61-469A-A381-96558B10C230}"/>
          </ac:spMkLst>
        </pc:spChg>
        <pc:picChg chg="del">
          <ac:chgData name="Carlos Reyes García" userId="8f106461-3865-4cda-a443-ca56f71f97d2" providerId="ADAL" clId="{D3EFDC9E-C770-4EC4-8A5A-B4E22FBE207B}" dt="2020-02-27T18:55:02.386" v="5835" actId="478"/>
          <ac:picMkLst>
            <pc:docMk/>
            <pc:sldMk cId="1139598534" sldId="667"/>
            <ac:picMk id="4" creationId="{60E89AD2-297D-4B37-A2E9-45CE76DAEADB}"/>
          </ac:picMkLst>
        </pc:picChg>
        <pc:picChg chg="add del mod">
          <ac:chgData name="Carlos Reyes García" userId="8f106461-3865-4cda-a443-ca56f71f97d2" providerId="ADAL" clId="{D3EFDC9E-C770-4EC4-8A5A-B4E22FBE207B}" dt="2020-02-27T18:55:51.294" v="5842"/>
          <ac:picMkLst>
            <pc:docMk/>
            <pc:sldMk cId="1139598534" sldId="667"/>
            <ac:picMk id="5" creationId="{B1ED1933-2597-4013-8A22-297C85984286}"/>
          </ac:picMkLst>
        </pc:picChg>
        <pc:picChg chg="add del mod">
          <ac:chgData name="Carlos Reyes García" userId="8f106461-3865-4cda-a443-ca56f71f97d2" providerId="ADAL" clId="{D3EFDC9E-C770-4EC4-8A5A-B4E22FBE207B}" dt="2020-02-27T18:59:54.886" v="5848" actId="478"/>
          <ac:picMkLst>
            <pc:docMk/>
            <pc:sldMk cId="1139598534" sldId="667"/>
            <ac:picMk id="6" creationId="{9F8B8903-B6EA-44C5-9378-AD14E8E5C252}"/>
          </ac:picMkLst>
        </pc:picChg>
        <pc:picChg chg="add del mod">
          <ac:chgData name="Carlos Reyes García" userId="8f106461-3865-4cda-a443-ca56f71f97d2" providerId="ADAL" clId="{D3EFDC9E-C770-4EC4-8A5A-B4E22FBE207B}" dt="2020-02-27T19:00:53.096" v="5851" actId="478"/>
          <ac:picMkLst>
            <pc:docMk/>
            <pc:sldMk cId="1139598534" sldId="667"/>
            <ac:picMk id="7" creationId="{A9E46FC8-53F7-47FB-80AB-DE80ACA0020A}"/>
          </ac:picMkLst>
        </pc:picChg>
        <pc:picChg chg="del">
          <ac:chgData name="Carlos Reyes García" userId="8f106461-3865-4cda-a443-ca56f71f97d2" providerId="ADAL" clId="{D3EFDC9E-C770-4EC4-8A5A-B4E22FBE207B}" dt="2020-02-27T18:55:10.373" v="5838" actId="478"/>
          <ac:picMkLst>
            <pc:docMk/>
            <pc:sldMk cId="1139598534" sldId="667"/>
            <ac:picMk id="8" creationId="{24CD7795-CD30-4807-95D1-AF5E68970F0E}"/>
          </ac:picMkLst>
        </pc:picChg>
        <pc:picChg chg="add del mod">
          <ac:chgData name="Carlos Reyes García" userId="8f106461-3865-4cda-a443-ca56f71f97d2" providerId="ADAL" clId="{D3EFDC9E-C770-4EC4-8A5A-B4E22FBE207B}" dt="2020-02-27T19:02:32.445" v="5854" actId="478"/>
          <ac:picMkLst>
            <pc:docMk/>
            <pc:sldMk cId="1139598534" sldId="667"/>
            <ac:picMk id="9" creationId="{4ACE52A1-D06B-4CA8-B9E2-88DDA6CEF832}"/>
          </ac:picMkLst>
        </pc:picChg>
        <pc:picChg chg="add mod">
          <ac:chgData name="Carlos Reyes García" userId="8f106461-3865-4cda-a443-ca56f71f97d2" providerId="ADAL" clId="{D3EFDC9E-C770-4EC4-8A5A-B4E22FBE207B}" dt="2020-02-27T19:05:03.277" v="5869" actId="1076"/>
          <ac:picMkLst>
            <pc:docMk/>
            <pc:sldMk cId="1139598534" sldId="667"/>
            <ac:picMk id="10" creationId="{A60E74AF-B474-4170-9B32-66EFA6AC9043}"/>
          </ac:picMkLst>
        </pc:picChg>
        <pc:picChg chg="add del">
          <ac:chgData name="Carlos Reyes García" userId="8f106461-3865-4cda-a443-ca56f71f97d2" providerId="ADAL" clId="{D3EFDC9E-C770-4EC4-8A5A-B4E22FBE207B}" dt="2020-02-27T19:03:47.703" v="5858" actId="478"/>
          <ac:picMkLst>
            <pc:docMk/>
            <pc:sldMk cId="1139598534" sldId="667"/>
            <ac:picMk id="11" creationId="{EA505F9E-506F-4905-8C5C-3F9B0C3D53AD}"/>
          </ac:picMkLst>
        </pc:picChg>
        <pc:picChg chg="add mod">
          <ac:chgData name="Carlos Reyes García" userId="8f106461-3865-4cda-a443-ca56f71f97d2" providerId="ADAL" clId="{D3EFDC9E-C770-4EC4-8A5A-B4E22FBE207B}" dt="2020-02-27T19:04:33.127" v="5864" actId="208"/>
          <ac:picMkLst>
            <pc:docMk/>
            <pc:sldMk cId="1139598534" sldId="667"/>
            <ac:picMk id="12" creationId="{59063227-6616-4F2C-9984-92A8872A4F9C}"/>
          </ac:picMkLst>
        </pc:picChg>
        <pc:picChg chg="mod">
          <ac:chgData name="Carlos Reyes García" userId="8f106461-3865-4cda-a443-ca56f71f97d2" providerId="ADAL" clId="{D3EFDC9E-C770-4EC4-8A5A-B4E22FBE207B}" dt="2020-02-27T18:55:06.504" v="5836" actId="1076"/>
          <ac:picMkLst>
            <pc:docMk/>
            <pc:sldMk cId="1139598534" sldId="667"/>
            <ac:picMk id="1026" creationId="{C50DECDF-CD18-42CB-8AA9-32C7170BD887}"/>
          </ac:picMkLst>
        </pc:picChg>
        <pc:cxnChg chg="del">
          <ac:chgData name="Carlos Reyes García" userId="8f106461-3865-4cda-a443-ca56f71f97d2" providerId="ADAL" clId="{D3EFDC9E-C770-4EC4-8A5A-B4E22FBE207B}" dt="2020-02-27T18:55:00.497" v="5834" actId="478"/>
          <ac:cxnSpMkLst>
            <pc:docMk/>
            <pc:sldMk cId="1139598534" sldId="667"/>
            <ac:cxnSpMk id="16" creationId="{95F87E3D-4B35-4430-A3B4-3AB6F3414141}"/>
          </ac:cxnSpMkLst>
        </pc:cxnChg>
        <pc:cxnChg chg="add mod">
          <ac:chgData name="Carlos Reyes García" userId="8f106461-3865-4cda-a443-ca56f71f97d2" providerId="ADAL" clId="{D3EFDC9E-C770-4EC4-8A5A-B4E22FBE207B}" dt="2020-02-27T19:05:07.514" v="5870" actId="14100"/>
          <ac:cxnSpMkLst>
            <pc:docMk/>
            <pc:sldMk cId="1139598534" sldId="667"/>
            <ac:cxnSpMk id="17" creationId="{B08BAD6E-0364-4B43-8D45-A45A044D1AA4}"/>
          </ac:cxnSpMkLst>
        </pc:cxnChg>
        <pc:cxnChg chg="add mod">
          <ac:chgData name="Carlos Reyes García" userId="8f106461-3865-4cda-a443-ca56f71f97d2" providerId="ADAL" clId="{D3EFDC9E-C770-4EC4-8A5A-B4E22FBE207B}" dt="2020-02-27T19:05:22.026" v="5874" actId="14100"/>
          <ac:cxnSpMkLst>
            <pc:docMk/>
            <pc:sldMk cId="1139598534" sldId="667"/>
            <ac:cxnSpMk id="20" creationId="{89686035-792E-489E-A15F-11A0E9D946D5}"/>
          </ac:cxnSpMkLst>
        </pc:cxnChg>
        <pc:cxnChg chg="del">
          <ac:chgData name="Carlos Reyes García" userId="8f106461-3865-4cda-a443-ca56f71f97d2" providerId="ADAL" clId="{D3EFDC9E-C770-4EC4-8A5A-B4E22FBE207B}" dt="2020-02-27T18:55:08.591" v="5837" actId="478"/>
          <ac:cxnSpMkLst>
            <pc:docMk/>
            <pc:sldMk cId="1139598534" sldId="667"/>
            <ac:cxnSpMk id="21" creationId="{460EA17A-3E41-4295-B15B-E1EE177E158C}"/>
          </ac:cxnSpMkLst>
        </pc:cxnChg>
      </pc:sldChg>
      <pc:sldChg chg="addSp delSp modSp add mod">
        <pc:chgData name="Carlos Reyes García" userId="8f106461-3865-4cda-a443-ca56f71f97d2" providerId="ADAL" clId="{D3EFDC9E-C770-4EC4-8A5A-B4E22FBE207B}" dt="2020-02-27T20:22:52.318" v="6496" actId="554"/>
        <pc:sldMkLst>
          <pc:docMk/>
          <pc:sldMk cId="2998927833" sldId="668"/>
        </pc:sldMkLst>
        <pc:spChg chg="mod">
          <ac:chgData name="Carlos Reyes García" userId="8f106461-3865-4cda-a443-ca56f71f97d2" providerId="ADAL" clId="{D3EFDC9E-C770-4EC4-8A5A-B4E22FBE207B}" dt="2020-02-27T20:21:58.289" v="6492" actId="113"/>
          <ac:spMkLst>
            <pc:docMk/>
            <pc:sldMk cId="2998927833" sldId="668"/>
            <ac:spMk id="15" creationId="{211413AE-8D61-469A-A381-96558B10C230}"/>
          </ac:spMkLst>
        </pc:spChg>
        <pc:picChg chg="del">
          <ac:chgData name="Carlos Reyes García" userId="8f106461-3865-4cda-a443-ca56f71f97d2" providerId="ADAL" clId="{D3EFDC9E-C770-4EC4-8A5A-B4E22FBE207B}" dt="2020-02-27T19:06:14.882" v="5889" actId="478"/>
          <ac:picMkLst>
            <pc:docMk/>
            <pc:sldMk cId="2998927833" sldId="668"/>
            <ac:picMk id="4" creationId="{60E89AD2-297D-4B37-A2E9-45CE76DAEADB}"/>
          </ac:picMkLst>
        </pc:picChg>
        <pc:picChg chg="add del mod">
          <ac:chgData name="Carlos Reyes García" userId="8f106461-3865-4cda-a443-ca56f71f97d2" providerId="ADAL" clId="{D3EFDC9E-C770-4EC4-8A5A-B4E22FBE207B}" dt="2020-02-27T20:20:53.269" v="6269" actId="478"/>
          <ac:picMkLst>
            <pc:docMk/>
            <pc:sldMk cId="2998927833" sldId="668"/>
            <ac:picMk id="5" creationId="{4D7AC5E8-D9DA-48B7-BCA1-DC2BD2B66875}"/>
          </ac:picMkLst>
        </pc:picChg>
        <pc:picChg chg="add del mod">
          <ac:chgData name="Carlos Reyes García" userId="8f106461-3865-4cda-a443-ca56f71f97d2" providerId="ADAL" clId="{D3EFDC9E-C770-4EC4-8A5A-B4E22FBE207B}" dt="2020-02-27T20:18:11.602" v="6115" actId="478"/>
          <ac:picMkLst>
            <pc:docMk/>
            <pc:sldMk cId="2998927833" sldId="668"/>
            <ac:picMk id="6" creationId="{A64324DD-E5C1-4A54-86B7-0139CD6D6867}"/>
          </ac:picMkLst>
        </pc:picChg>
        <pc:picChg chg="add del mod">
          <ac:chgData name="Carlos Reyes García" userId="8f106461-3865-4cda-a443-ca56f71f97d2" providerId="ADAL" clId="{D3EFDC9E-C770-4EC4-8A5A-B4E22FBE207B}" dt="2020-02-27T20:18:37.422" v="6122" actId="478"/>
          <ac:picMkLst>
            <pc:docMk/>
            <pc:sldMk cId="2998927833" sldId="668"/>
            <ac:picMk id="7" creationId="{CDDDBC8D-D71A-4A3D-9DDF-E0897D8AC7FF}"/>
          </ac:picMkLst>
        </pc:picChg>
        <pc:picChg chg="add del mod">
          <ac:chgData name="Carlos Reyes García" userId="8f106461-3865-4cda-a443-ca56f71f97d2" providerId="ADAL" clId="{D3EFDC9E-C770-4EC4-8A5A-B4E22FBE207B}" dt="2020-02-27T20:19:50.303" v="6253" actId="478"/>
          <ac:picMkLst>
            <pc:docMk/>
            <pc:sldMk cId="2998927833" sldId="668"/>
            <ac:picMk id="8" creationId="{B5DF9044-D14A-4F4D-8852-F08A29BBC53F}"/>
          </ac:picMkLst>
        </pc:picChg>
        <pc:picChg chg="add mod modCrop">
          <ac:chgData name="Carlos Reyes García" userId="8f106461-3865-4cda-a443-ca56f71f97d2" providerId="ADAL" clId="{D3EFDC9E-C770-4EC4-8A5A-B4E22FBE207B}" dt="2020-02-27T20:22:52.318" v="6496" actId="554"/>
          <ac:picMkLst>
            <pc:docMk/>
            <pc:sldMk cId="2998927833" sldId="668"/>
            <ac:picMk id="9" creationId="{0257B9EC-C488-43B5-9554-5523F6E05076}"/>
          </ac:picMkLst>
        </pc:picChg>
        <pc:picChg chg="add mod modCrop">
          <ac:chgData name="Carlos Reyes García" userId="8f106461-3865-4cda-a443-ca56f71f97d2" providerId="ADAL" clId="{D3EFDC9E-C770-4EC4-8A5A-B4E22FBE207B}" dt="2020-02-27T20:22:52.318" v="6496" actId="554"/>
          <ac:picMkLst>
            <pc:docMk/>
            <pc:sldMk cId="2998927833" sldId="668"/>
            <ac:picMk id="10" creationId="{9E154C26-CCA7-4157-87D0-21A52F6213F4}"/>
          </ac:picMkLst>
        </pc:picChg>
        <pc:picChg chg="del">
          <ac:chgData name="Carlos Reyes García" userId="8f106461-3865-4cda-a443-ca56f71f97d2" providerId="ADAL" clId="{D3EFDC9E-C770-4EC4-8A5A-B4E22FBE207B}" dt="2020-02-27T19:06:11.847" v="5887" actId="478"/>
          <ac:picMkLst>
            <pc:docMk/>
            <pc:sldMk cId="2998927833" sldId="668"/>
            <ac:picMk id="13" creationId="{E5CB7015-BEDA-44A0-BCF3-4957F54980A8}"/>
          </ac:picMkLst>
        </pc:picChg>
        <pc:picChg chg="del">
          <ac:chgData name="Carlos Reyes García" userId="8f106461-3865-4cda-a443-ca56f71f97d2" providerId="ADAL" clId="{D3EFDC9E-C770-4EC4-8A5A-B4E22FBE207B}" dt="2020-02-27T19:06:16.397" v="5890" actId="478"/>
          <ac:picMkLst>
            <pc:docMk/>
            <pc:sldMk cId="2998927833" sldId="668"/>
            <ac:picMk id="1026" creationId="{C50DECDF-CD18-42CB-8AA9-32C7170BD887}"/>
          </ac:picMkLst>
        </pc:picChg>
        <pc:cxnChg chg="del">
          <ac:chgData name="Carlos Reyes García" userId="8f106461-3865-4cda-a443-ca56f71f97d2" providerId="ADAL" clId="{D3EFDC9E-C770-4EC4-8A5A-B4E22FBE207B}" dt="2020-02-27T19:06:09.986" v="5886" actId="478"/>
          <ac:cxnSpMkLst>
            <pc:docMk/>
            <pc:sldMk cId="2998927833" sldId="668"/>
            <ac:cxnSpMk id="16" creationId="{95F87E3D-4B35-4430-A3B4-3AB6F3414141}"/>
          </ac:cxnSpMkLst>
        </pc:cxnChg>
        <pc:cxnChg chg="del">
          <ac:chgData name="Carlos Reyes García" userId="8f106461-3865-4cda-a443-ca56f71f97d2" providerId="ADAL" clId="{D3EFDC9E-C770-4EC4-8A5A-B4E22FBE207B}" dt="2020-02-27T19:06:13.604" v="5888" actId="478"/>
          <ac:cxnSpMkLst>
            <pc:docMk/>
            <pc:sldMk cId="2998927833" sldId="668"/>
            <ac:cxnSpMk id="21" creationId="{460EA17A-3E41-4295-B15B-E1EE177E158C}"/>
          </ac:cxnSpMkLst>
        </pc:cxnChg>
      </pc:sldChg>
      <pc:sldChg chg="add del">
        <pc:chgData name="Carlos Reyes García" userId="8f106461-3865-4cda-a443-ca56f71f97d2" providerId="ADAL" clId="{D3EFDC9E-C770-4EC4-8A5A-B4E22FBE207B}" dt="2020-02-27T19:05:42.376" v="5877" actId="47"/>
        <pc:sldMkLst>
          <pc:docMk/>
          <pc:sldMk cId="4124624780" sldId="668"/>
        </pc:sldMkLst>
      </pc:sldChg>
      <pc:sldChg chg="addSp delSp modSp new mod">
        <pc:chgData name="Carlos Reyes García" userId="8f106461-3865-4cda-a443-ca56f71f97d2" providerId="ADAL" clId="{D3EFDC9E-C770-4EC4-8A5A-B4E22FBE207B}" dt="2020-02-28T22:12:35.895" v="8131" actId="12100"/>
        <pc:sldMkLst>
          <pc:docMk/>
          <pc:sldMk cId="3151014712" sldId="669"/>
        </pc:sldMkLst>
        <pc:spChg chg="mod">
          <ac:chgData name="Carlos Reyes García" userId="8f106461-3865-4cda-a443-ca56f71f97d2" providerId="ADAL" clId="{D3EFDC9E-C770-4EC4-8A5A-B4E22FBE207B}" dt="2020-02-27T20:49:46.015" v="6589" actId="20577"/>
          <ac:spMkLst>
            <pc:docMk/>
            <pc:sldMk cId="3151014712" sldId="669"/>
            <ac:spMk id="2" creationId="{A38C0A7B-81E0-4AD6-8CB1-79618B186971}"/>
          </ac:spMkLst>
        </pc:spChg>
        <pc:spChg chg="mod">
          <ac:chgData name="Carlos Reyes García" userId="8f106461-3865-4cda-a443-ca56f71f97d2" providerId="ADAL" clId="{D3EFDC9E-C770-4EC4-8A5A-B4E22FBE207B}" dt="2020-02-27T20:49:41.423" v="6586" actId="6549"/>
          <ac:spMkLst>
            <pc:docMk/>
            <pc:sldMk cId="3151014712" sldId="669"/>
            <ac:spMk id="3" creationId="{80079579-A2FF-4181-B21D-2CF51E5D6122}"/>
          </ac:spMkLst>
        </pc:spChg>
        <pc:spChg chg="add del mod">
          <ac:chgData name="Carlos Reyes García" userId="8f106461-3865-4cda-a443-ca56f71f97d2" providerId="ADAL" clId="{D3EFDC9E-C770-4EC4-8A5A-B4E22FBE207B}" dt="2020-02-27T20:49:21.963" v="6583" actId="20577"/>
          <ac:spMkLst>
            <pc:docMk/>
            <pc:sldMk cId="3151014712" sldId="669"/>
            <ac:spMk id="4" creationId="{8FE185CA-318A-471D-BC96-F43921339391}"/>
          </ac:spMkLst>
        </pc:spChg>
        <pc:spChg chg="add del">
          <ac:chgData name="Carlos Reyes García" userId="8f106461-3865-4cda-a443-ca56f71f97d2" providerId="ADAL" clId="{D3EFDC9E-C770-4EC4-8A5A-B4E22FBE207B}" dt="2020-02-27T20:45:10.554" v="6519"/>
          <ac:spMkLst>
            <pc:docMk/>
            <pc:sldMk cId="3151014712" sldId="669"/>
            <ac:spMk id="5" creationId="{434CBF0F-2226-402C-9A4F-13B75E767A1F}"/>
          </ac:spMkLst>
        </pc:spChg>
        <pc:spChg chg="add del mod">
          <ac:chgData name="Carlos Reyes García" userId="8f106461-3865-4cda-a443-ca56f71f97d2" providerId="ADAL" clId="{D3EFDC9E-C770-4EC4-8A5A-B4E22FBE207B}" dt="2020-02-27T20:45:45.327" v="6529" actId="12084"/>
          <ac:spMkLst>
            <pc:docMk/>
            <pc:sldMk cId="3151014712" sldId="669"/>
            <ac:spMk id="6" creationId="{C5B5E4AC-163F-473C-BBC3-3DFD20508975}"/>
          </ac:spMkLst>
        </pc:spChg>
        <pc:graphicFrameChg chg="add mod">
          <ac:chgData name="Carlos Reyes García" userId="8f106461-3865-4cda-a443-ca56f71f97d2" providerId="ADAL" clId="{D3EFDC9E-C770-4EC4-8A5A-B4E22FBE207B}" dt="2020-02-28T22:12:35.895" v="8131" actId="12100"/>
          <ac:graphicFrameMkLst>
            <pc:docMk/>
            <pc:sldMk cId="3151014712" sldId="669"/>
            <ac:graphicFrameMk id="7" creationId="{2B65C78B-CE07-4797-B221-0ED002C91B89}"/>
          </ac:graphicFrameMkLst>
        </pc:graphicFrameChg>
        <pc:picChg chg="add mod">
          <ac:chgData name="Carlos Reyes García" userId="8f106461-3865-4cda-a443-ca56f71f97d2" providerId="ADAL" clId="{D3EFDC9E-C770-4EC4-8A5A-B4E22FBE207B}" dt="2020-02-27T20:49:11.203" v="6576" actId="1076"/>
          <ac:picMkLst>
            <pc:docMk/>
            <pc:sldMk cId="3151014712" sldId="669"/>
            <ac:picMk id="8" creationId="{A4A8EB61-1353-4292-B3A9-312105526473}"/>
          </ac:picMkLst>
        </pc:picChg>
      </pc:sldChg>
      <pc:sldChg chg="modSp add mod">
        <pc:chgData name="Carlos Reyes García" userId="8f106461-3865-4cda-a443-ca56f71f97d2" providerId="ADAL" clId="{D3EFDC9E-C770-4EC4-8A5A-B4E22FBE207B}" dt="2020-02-27T20:59:17.565" v="6647" actId="20577"/>
        <pc:sldMkLst>
          <pc:docMk/>
          <pc:sldMk cId="3777781783" sldId="670"/>
        </pc:sldMkLst>
        <pc:spChg chg="mod">
          <ac:chgData name="Carlos Reyes García" userId="8f106461-3865-4cda-a443-ca56f71f97d2" providerId="ADAL" clId="{D3EFDC9E-C770-4EC4-8A5A-B4E22FBE207B}" dt="2020-02-27T20:59:00.060" v="6640" actId="6549"/>
          <ac:spMkLst>
            <pc:docMk/>
            <pc:sldMk cId="3777781783" sldId="670"/>
            <ac:spMk id="2" creationId="{A8E6DCE9-9C89-4283-B0E0-34E0C1FB96DA}"/>
          </ac:spMkLst>
        </pc:spChg>
        <pc:spChg chg="mod">
          <ac:chgData name="Carlos Reyes García" userId="8f106461-3865-4cda-a443-ca56f71f97d2" providerId="ADAL" clId="{D3EFDC9E-C770-4EC4-8A5A-B4E22FBE207B}" dt="2020-02-27T20:59:17.565" v="6647" actId="20577"/>
          <ac:spMkLst>
            <pc:docMk/>
            <pc:sldMk cId="3777781783" sldId="670"/>
            <ac:spMk id="4" creationId="{EB8FEEE0-7D03-497F-99E3-2992983D127E}"/>
          </ac:spMkLst>
        </pc:spChg>
      </pc:sldChg>
      <pc:sldChg chg="add">
        <pc:chgData name="Carlos Reyes García" userId="8f106461-3865-4cda-a443-ca56f71f97d2" providerId="ADAL" clId="{D3EFDC9E-C770-4EC4-8A5A-B4E22FBE207B}" dt="2020-02-27T20:58:21.881" v="6593"/>
        <pc:sldMkLst>
          <pc:docMk/>
          <pc:sldMk cId="2359027535" sldId="671"/>
        </pc:sldMkLst>
      </pc:sldChg>
      <pc:sldChg chg="modSp new mod modNotesTx">
        <pc:chgData name="Carlos Reyes García" userId="8f106461-3865-4cda-a443-ca56f71f97d2" providerId="ADAL" clId="{D3EFDC9E-C770-4EC4-8A5A-B4E22FBE207B}" dt="2020-02-27T22:13:29.896" v="6890" actId="20577"/>
        <pc:sldMkLst>
          <pc:docMk/>
          <pc:sldMk cId="2593387472" sldId="672"/>
        </pc:sldMkLst>
        <pc:spChg chg="mod">
          <ac:chgData name="Carlos Reyes García" userId="8f106461-3865-4cda-a443-ca56f71f97d2" providerId="ADAL" clId="{D3EFDC9E-C770-4EC4-8A5A-B4E22FBE207B}" dt="2020-02-27T21:03:56.376" v="6678"/>
          <ac:spMkLst>
            <pc:docMk/>
            <pc:sldMk cId="2593387472" sldId="672"/>
            <ac:spMk id="2" creationId="{CE8D4DB0-F727-42CD-BB55-06368E4BD1DA}"/>
          </ac:spMkLst>
        </pc:spChg>
        <pc:spChg chg="mod">
          <ac:chgData name="Carlos Reyes García" userId="8f106461-3865-4cda-a443-ca56f71f97d2" providerId="ADAL" clId="{D3EFDC9E-C770-4EC4-8A5A-B4E22FBE207B}" dt="2020-02-27T21:03:39.159" v="6675" actId="15"/>
          <ac:spMkLst>
            <pc:docMk/>
            <pc:sldMk cId="2593387472" sldId="672"/>
            <ac:spMk id="4" creationId="{469B670E-C9AE-4C2D-8308-BCDBCD515AAC}"/>
          </ac:spMkLst>
        </pc:spChg>
      </pc:sldChg>
      <pc:sldChg chg="addSp delSp modSp new mod modAnim">
        <pc:chgData name="Carlos Reyes García" userId="8f106461-3865-4cda-a443-ca56f71f97d2" providerId="ADAL" clId="{D3EFDC9E-C770-4EC4-8A5A-B4E22FBE207B}" dt="2020-02-27T21:05:35.291" v="6689" actId="208"/>
        <pc:sldMkLst>
          <pc:docMk/>
          <pc:sldMk cId="3473839749" sldId="673"/>
        </pc:sldMkLst>
        <pc:spChg chg="mod">
          <ac:chgData name="Carlos Reyes García" userId="8f106461-3865-4cda-a443-ca56f71f97d2" providerId="ADAL" clId="{D3EFDC9E-C770-4EC4-8A5A-B4E22FBE207B}" dt="2020-02-27T21:04:10.970" v="6680"/>
          <ac:spMkLst>
            <pc:docMk/>
            <pc:sldMk cId="3473839749" sldId="673"/>
            <ac:spMk id="2" creationId="{A4C41FE1-60B1-41C8-A0BC-64AE4EFCFD1B}"/>
          </ac:spMkLst>
        </pc:spChg>
        <pc:spChg chg="del">
          <ac:chgData name="Carlos Reyes García" userId="8f106461-3865-4cda-a443-ca56f71f97d2" providerId="ADAL" clId="{D3EFDC9E-C770-4EC4-8A5A-B4E22FBE207B}" dt="2020-02-27T21:04:42.349" v="6686" actId="478"/>
          <ac:spMkLst>
            <pc:docMk/>
            <pc:sldMk cId="3473839749" sldId="673"/>
            <ac:spMk id="4" creationId="{8FE6FD57-815A-413D-A6A7-4524226D65BD}"/>
          </ac:spMkLst>
        </pc:spChg>
        <pc:spChg chg="add del mod">
          <ac:chgData name="Carlos Reyes García" userId="8f106461-3865-4cda-a443-ca56f71f97d2" providerId="ADAL" clId="{D3EFDC9E-C770-4EC4-8A5A-B4E22FBE207B}" dt="2020-02-27T21:05:35.291" v="6689" actId="208"/>
          <ac:spMkLst>
            <pc:docMk/>
            <pc:sldMk cId="3473839749" sldId="673"/>
            <ac:spMk id="5" creationId="{9B97426A-153E-46C2-8CEC-05868B9FE9CF}"/>
          </ac:spMkLst>
        </pc:spChg>
        <pc:spChg chg="add del mod">
          <ac:chgData name="Carlos Reyes García" userId="8f106461-3865-4cda-a443-ca56f71f97d2" providerId="ADAL" clId="{D3EFDC9E-C770-4EC4-8A5A-B4E22FBE207B}" dt="2020-02-27T21:05:35.291" v="6689" actId="208"/>
          <ac:spMkLst>
            <pc:docMk/>
            <pc:sldMk cId="3473839749" sldId="673"/>
            <ac:spMk id="6" creationId="{E6F4AC5D-AC66-4330-88B9-77C10E11FA7E}"/>
          </ac:spMkLst>
        </pc:spChg>
        <pc:spChg chg="add del mod">
          <ac:chgData name="Carlos Reyes García" userId="8f106461-3865-4cda-a443-ca56f71f97d2" providerId="ADAL" clId="{D3EFDC9E-C770-4EC4-8A5A-B4E22FBE207B}" dt="2020-02-27T21:05:35.291" v="6689" actId="208"/>
          <ac:spMkLst>
            <pc:docMk/>
            <pc:sldMk cId="3473839749" sldId="673"/>
            <ac:spMk id="7" creationId="{5B6A85A9-3891-4A96-B959-8C80427FE877}"/>
          </ac:spMkLst>
        </pc:spChg>
        <pc:spChg chg="add del mod">
          <ac:chgData name="Carlos Reyes García" userId="8f106461-3865-4cda-a443-ca56f71f97d2" providerId="ADAL" clId="{D3EFDC9E-C770-4EC4-8A5A-B4E22FBE207B}" dt="2020-02-27T21:05:35.291" v="6689" actId="208"/>
          <ac:spMkLst>
            <pc:docMk/>
            <pc:sldMk cId="3473839749" sldId="673"/>
            <ac:spMk id="8" creationId="{0D24F656-D0F8-44D3-BECA-25BAADBDEECB}"/>
          </ac:spMkLst>
        </pc:spChg>
        <pc:spChg chg="add del mod">
          <ac:chgData name="Carlos Reyes García" userId="8f106461-3865-4cda-a443-ca56f71f97d2" providerId="ADAL" clId="{D3EFDC9E-C770-4EC4-8A5A-B4E22FBE207B}" dt="2020-02-27T21:05:35.291" v="6689" actId="208"/>
          <ac:spMkLst>
            <pc:docMk/>
            <pc:sldMk cId="3473839749" sldId="673"/>
            <ac:spMk id="9" creationId="{590A5D84-62C7-462A-8919-4B755385B034}"/>
          </ac:spMkLst>
        </pc:spChg>
        <pc:spChg chg="add del mod">
          <ac:chgData name="Carlos Reyes García" userId="8f106461-3865-4cda-a443-ca56f71f97d2" providerId="ADAL" clId="{D3EFDC9E-C770-4EC4-8A5A-B4E22FBE207B}" dt="2020-02-27T21:05:35.291" v="6689" actId="208"/>
          <ac:spMkLst>
            <pc:docMk/>
            <pc:sldMk cId="3473839749" sldId="673"/>
            <ac:spMk id="10" creationId="{935F65DA-6D32-4690-AE5F-7A9BADD6E400}"/>
          </ac:spMkLst>
        </pc:spChg>
        <pc:spChg chg="add del mod">
          <ac:chgData name="Carlos Reyes García" userId="8f106461-3865-4cda-a443-ca56f71f97d2" providerId="ADAL" clId="{D3EFDC9E-C770-4EC4-8A5A-B4E22FBE207B}" dt="2020-02-27T21:05:35.291" v="6689" actId="208"/>
          <ac:spMkLst>
            <pc:docMk/>
            <pc:sldMk cId="3473839749" sldId="673"/>
            <ac:spMk id="15" creationId="{0BFAA888-F90A-43FC-9213-5A8AEE4A2BFC}"/>
          </ac:spMkLst>
        </pc:spChg>
        <pc:spChg chg="add del">
          <ac:chgData name="Carlos Reyes García" userId="8f106461-3865-4cda-a443-ca56f71f97d2" providerId="ADAL" clId="{D3EFDC9E-C770-4EC4-8A5A-B4E22FBE207B}" dt="2020-02-27T21:04:34.564" v="6685"/>
          <ac:spMkLst>
            <pc:docMk/>
            <pc:sldMk cId="3473839749" sldId="673"/>
            <ac:spMk id="18" creationId="{6E0A38D3-AC08-4215-A42E-BC479BEA7B80}"/>
          </ac:spMkLst>
        </pc:spChg>
        <pc:spChg chg="add del">
          <ac:chgData name="Carlos Reyes García" userId="8f106461-3865-4cda-a443-ca56f71f97d2" providerId="ADAL" clId="{D3EFDC9E-C770-4EC4-8A5A-B4E22FBE207B}" dt="2020-02-27T21:04:34.564" v="6685"/>
          <ac:spMkLst>
            <pc:docMk/>
            <pc:sldMk cId="3473839749" sldId="673"/>
            <ac:spMk id="19" creationId="{926100A6-FC18-41C4-BB2E-5D31DAE8F403}"/>
          </ac:spMkLst>
        </pc:spChg>
        <pc:spChg chg="add del">
          <ac:chgData name="Carlos Reyes García" userId="8f106461-3865-4cda-a443-ca56f71f97d2" providerId="ADAL" clId="{D3EFDC9E-C770-4EC4-8A5A-B4E22FBE207B}" dt="2020-02-27T21:04:34.564" v="6685"/>
          <ac:spMkLst>
            <pc:docMk/>
            <pc:sldMk cId="3473839749" sldId="673"/>
            <ac:spMk id="20" creationId="{70A5EA4B-FD33-478F-9CD7-02E83D8CC356}"/>
          </ac:spMkLst>
        </pc:spChg>
        <pc:cxnChg chg="add del">
          <ac:chgData name="Carlos Reyes García" userId="8f106461-3865-4cda-a443-ca56f71f97d2" providerId="ADAL" clId="{D3EFDC9E-C770-4EC4-8A5A-B4E22FBE207B}" dt="2020-02-27T21:04:34.564" v="6685"/>
          <ac:cxnSpMkLst>
            <pc:docMk/>
            <pc:sldMk cId="3473839749" sldId="673"/>
            <ac:cxnSpMk id="11" creationId="{B8F23743-0035-498E-9C31-9C66F65F92D2}"/>
          </ac:cxnSpMkLst>
        </pc:cxnChg>
        <pc:cxnChg chg="add del">
          <ac:chgData name="Carlos Reyes García" userId="8f106461-3865-4cda-a443-ca56f71f97d2" providerId="ADAL" clId="{D3EFDC9E-C770-4EC4-8A5A-B4E22FBE207B}" dt="2020-02-27T21:04:34.564" v="6685"/>
          <ac:cxnSpMkLst>
            <pc:docMk/>
            <pc:sldMk cId="3473839749" sldId="673"/>
            <ac:cxnSpMk id="12" creationId="{F5FB175A-6D8E-4D6C-97C1-778B426B304C}"/>
          </ac:cxnSpMkLst>
        </pc:cxnChg>
        <pc:cxnChg chg="add del">
          <ac:chgData name="Carlos Reyes García" userId="8f106461-3865-4cda-a443-ca56f71f97d2" providerId="ADAL" clId="{D3EFDC9E-C770-4EC4-8A5A-B4E22FBE207B}" dt="2020-02-27T21:04:34.564" v="6685"/>
          <ac:cxnSpMkLst>
            <pc:docMk/>
            <pc:sldMk cId="3473839749" sldId="673"/>
            <ac:cxnSpMk id="13" creationId="{4D259B7D-EECE-424C-98E0-0C4B78CAF69A}"/>
          </ac:cxnSpMkLst>
        </pc:cxnChg>
        <pc:cxnChg chg="add del">
          <ac:chgData name="Carlos Reyes García" userId="8f106461-3865-4cda-a443-ca56f71f97d2" providerId="ADAL" clId="{D3EFDC9E-C770-4EC4-8A5A-B4E22FBE207B}" dt="2020-02-27T21:04:34.564" v="6685"/>
          <ac:cxnSpMkLst>
            <pc:docMk/>
            <pc:sldMk cId="3473839749" sldId="673"/>
            <ac:cxnSpMk id="14" creationId="{5B82A3F1-1691-45D9-B64B-26FE8C8E6963}"/>
          </ac:cxnSpMkLst>
        </pc:cxnChg>
        <pc:cxnChg chg="add del">
          <ac:chgData name="Carlos Reyes García" userId="8f106461-3865-4cda-a443-ca56f71f97d2" providerId="ADAL" clId="{D3EFDC9E-C770-4EC4-8A5A-B4E22FBE207B}" dt="2020-02-27T21:04:34.564" v="6685"/>
          <ac:cxnSpMkLst>
            <pc:docMk/>
            <pc:sldMk cId="3473839749" sldId="673"/>
            <ac:cxnSpMk id="16" creationId="{C6A816FB-4506-42A8-B9B4-0D61FA664A04}"/>
          </ac:cxnSpMkLst>
        </pc:cxnChg>
        <pc:cxnChg chg="add del">
          <ac:chgData name="Carlos Reyes García" userId="8f106461-3865-4cda-a443-ca56f71f97d2" providerId="ADAL" clId="{D3EFDC9E-C770-4EC4-8A5A-B4E22FBE207B}" dt="2020-02-27T21:04:34.564" v="6685"/>
          <ac:cxnSpMkLst>
            <pc:docMk/>
            <pc:sldMk cId="3473839749" sldId="673"/>
            <ac:cxnSpMk id="17" creationId="{F5FA547C-D5A7-4C65-82FC-E0376BB86261}"/>
          </ac:cxnSpMkLst>
        </pc:cxnChg>
      </pc:sldChg>
      <pc:sldChg chg="addSp delSp modSp new mod">
        <pc:chgData name="Carlos Reyes García" userId="8f106461-3865-4cda-a443-ca56f71f97d2" providerId="ADAL" clId="{D3EFDC9E-C770-4EC4-8A5A-B4E22FBE207B}" dt="2020-02-28T22:24:48.001" v="8170" actId="6549"/>
        <pc:sldMkLst>
          <pc:docMk/>
          <pc:sldMk cId="1300762399" sldId="674"/>
        </pc:sldMkLst>
        <pc:spChg chg="mod">
          <ac:chgData name="Carlos Reyes García" userId="8f106461-3865-4cda-a443-ca56f71f97d2" providerId="ADAL" clId="{D3EFDC9E-C770-4EC4-8A5A-B4E22FBE207B}" dt="2020-02-27T21:06:10.973" v="6694" actId="20577"/>
          <ac:spMkLst>
            <pc:docMk/>
            <pc:sldMk cId="1300762399" sldId="674"/>
            <ac:spMk id="2" creationId="{DF0EF99E-7833-478B-AFB6-53D15EC85F31}"/>
          </ac:spMkLst>
        </pc:spChg>
        <pc:spChg chg="mod">
          <ac:chgData name="Carlos Reyes García" userId="8f106461-3865-4cda-a443-ca56f71f97d2" providerId="ADAL" clId="{D3EFDC9E-C770-4EC4-8A5A-B4E22FBE207B}" dt="2020-02-28T22:24:48.001" v="8170" actId="6549"/>
          <ac:spMkLst>
            <pc:docMk/>
            <pc:sldMk cId="1300762399" sldId="674"/>
            <ac:spMk id="4" creationId="{A917FD24-2EAC-48F0-BAF8-082E2FA65575}"/>
          </ac:spMkLst>
        </pc:spChg>
        <pc:picChg chg="add del mod">
          <ac:chgData name="Carlos Reyes García" userId="8f106461-3865-4cda-a443-ca56f71f97d2" providerId="ADAL" clId="{D3EFDC9E-C770-4EC4-8A5A-B4E22FBE207B}" dt="2020-02-27T22:54:12.430" v="7039" actId="478"/>
          <ac:picMkLst>
            <pc:docMk/>
            <pc:sldMk cId="1300762399" sldId="674"/>
            <ac:picMk id="6" creationId="{F238E51A-AC6A-481C-B085-67AE8420404D}"/>
          </ac:picMkLst>
        </pc:picChg>
        <pc:picChg chg="add mod ord">
          <ac:chgData name="Carlos Reyes García" userId="8f106461-3865-4cda-a443-ca56f71f97d2" providerId="ADAL" clId="{D3EFDC9E-C770-4EC4-8A5A-B4E22FBE207B}" dt="2020-02-27T22:54:10.326" v="7038" actId="167"/>
          <ac:picMkLst>
            <pc:docMk/>
            <pc:sldMk cId="1300762399" sldId="674"/>
            <ac:picMk id="7" creationId="{A0E1A561-D6B6-47D7-A3CF-DF231A506A02}"/>
          </ac:picMkLst>
        </pc:picChg>
      </pc:sldChg>
      <pc:sldChg chg="addSp delSp modSp new mod">
        <pc:chgData name="Carlos Reyes García" userId="8f106461-3865-4cda-a443-ca56f71f97d2" providerId="ADAL" clId="{D3EFDC9E-C770-4EC4-8A5A-B4E22FBE207B}" dt="2020-02-27T21:08:31.889" v="6735" actId="1076"/>
        <pc:sldMkLst>
          <pc:docMk/>
          <pc:sldMk cId="1851708808" sldId="675"/>
        </pc:sldMkLst>
        <pc:spChg chg="mod">
          <ac:chgData name="Carlos Reyes García" userId="8f106461-3865-4cda-a443-ca56f71f97d2" providerId="ADAL" clId="{D3EFDC9E-C770-4EC4-8A5A-B4E22FBE207B}" dt="2020-02-27T21:07:30.784" v="6711"/>
          <ac:spMkLst>
            <pc:docMk/>
            <pc:sldMk cId="1851708808" sldId="675"/>
            <ac:spMk id="2" creationId="{518943CA-FA7C-4DEA-88B5-B372CD452089}"/>
          </ac:spMkLst>
        </pc:spChg>
        <pc:spChg chg="mod">
          <ac:chgData name="Carlos Reyes García" userId="8f106461-3865-4cda-a443-ca56f71f97d2" providerId="ADAL" clId="{D3EFDC9E-C770-4EC4-8A5A-B4E22FBE207B}" dt="2020-02-27T21:08:13.611" v="6730" actId="14100"/>
          <ac:spMkLst>
            <pc:docMk/>
            <pc:sldMk cId="1851708808" sldId="675"/>
            <ac:spMk id="4" creationId="{F8DD0E4E-51B5-40C3-BB52-CF0E5591B6C3}"/>
          </ac:spMkLst>
        </pc:spChg>
        <pc:spChg chg="add del">
          <ac:chgData name="Carlos Reyes García" userId="8f106461-3865-4cda-a443-ca56f71f97d2" providerId="ADAL" clId="{D3EFDC9E-C770-4EC4-8A5A-B4E22FBE207B}" dt="2020-02-27T21:07:45.617" v="6714" actId="22"/>
          <ac:spMkLst>
            <pc:docMk/>
            <pc:sldMk cId="1851708808" sldId="675"/>
            <ac:spMk id="6" creationId="{3D28812A-66F5-435C-A6E0-A453C6246217}"/>
          </ac:spMkLst>
        </pc:spChg>
        <pc:spChg chg="add del">
          <ac:chgData name="Carlos Reyes García" userId="8f106461-3865-4cda-a443-ca56f71f97d2" providerId="ADAL" clId="{D3EFDC9E-C770-4EC4-8A5A-B4E22FBE207B}" dt="2020-02-27T21:07:51.173" v="6720" actId="22"/>
          <ac:spMkLst>
            <pc:docMk/>
            <pc:sldMk cId="1851708808" sldId="675"/>
            <ac:spMk id="8" creationId="{2F63E0B1-9A17-4E69-A681-1CEDD5DF96FD}"/>
          </ac:spMkLst>
        </pc:spChg>
        <pc:spChg chg="add del">
          <ac:chgData name="Carlos Reyes García" userId="8f106461-3865-4cda-a443-ca56f71f97d2" providerId="ADAL" clId="{D3EFDC9E-C770-4EC4-8A5A-B4E22FBE207B}" dt="2020-02-27T21:08:15.642" v="6731" actId="478"/>
          <ac:spMkLst>
            <pc:docMk/>
            <pc:sldMk cId="1851708808" sldId="675"/>
            <ac:spMk id="11" creationId="{5C33EA37-2D86-4ADC-8288-2DFB0594ACAB}"/>
          </ac:spMkLst>
        </pc:spChg>
        <pc:grpChg chg="add mod">
          <ac:chgData name="Carlos Reyes García" userId="8f106461-3865-4cda-a443-ca56f71f97d2" providerId="ADAL" clId="{D3EFDC9E-C770-4EC4-8A5A-B4E22FBE207B}" dt="2020-02-27T21:08:31.889" v="6735" actId="1076"/>
          <ac:grpSpMkLst>
            <pc:docMk/>
            <pc:sldMk cId="1851708808" sldId="675"/>
            <ac:grpSpMk id="36" creationId="{A49CBB0E-78F7-48A4-8029-B0AD852FFB93}"/>
          </ac:grpSpMkLst>
        </pc:grpChg>
        <pc:picChg chg="add del">
          <ac:chgData name="Carlos Reyes García" userId="8f106461-3865-4cda-a443-ca56f71f97d2" providerId="ADAL" clId="{D3EFDC9E-C770-4EC4-8A5A-B4E22FBE207B}" dt="2020-02-27T21:07:52.728" v="6722" actId="478"/>
          <ac:picMkLst>
            <pc:docMk/>
            <pc:sldMk cId="1851708808" sldId="675"/>
            <ac:picMk id="9" creationId="{9EAC07CC-62CF-465D-9025-89DAC0C8ADFC}"/>
          </ac:picMkLst>
        </pc:picChg>
      </pc:sldChg>
      <pc:sldChg chg="addSp delSp modSp new mod">
        <pc:chgData name="Carlos Reyes García" userId="8f106461-3865-4cda-a443-ca56f71f97d2" providerId="ADAL" clId="{D3EFDC9E-C770-4EC4-8A5A-B4E22FBE207B}" dt="2020-02-27T21:13:37.749" v="6844" actId="1076"/>
        <pc:sldMkLst>
          <pc:docMk/>
          <pc:sldMk cId="3299218633" sldId="676"/>
        </pc:sldMkLst>
        <pc:spChg chg="mod">
          <ac:chgData name="Carlos Reyes García" userId="8f106461-3865-4cda-a443-ca56f71f97d2" providerId="ADAL" clId="{D3EFDC9E-C770-4EC4-8A5A-B4E22FBE207B}" dt="2020-02-27T21:13:21.683" v="6840"/>
          <ac:spMkLst>
            <pc:docMk/>
            <pc:sldMk cId="3299218633" sldId="676"/>
            <ac:spMk id="2" creationId="{263D25D5-3AA4-410E-BB9F-EFCBB69D8791}"/>
          </ac:spMkLst>
        </pc:spChg>
        <pc:spChg chg="mod">
          <ac:chgData name="Carlos Reyes García" userId="8f106461-3865-4cda-a443-ca56f71f97d2" providerId="ADAL" clId="{D3EFDC9E-C770-4EC4-8A5A-B4E22FBE207B}" dt="2020-02-27T21:13:28.729" v="6841"/>
          <ac:spMkLst>
            <pc:docMk/>
            <pc:sldMk cId="3299218633" sldId="676"/>
            <ac:spMk id="4" creationId="{A9D1E6B2-00CD-46D7-B956-32AAE3A5FBF1}"/>
          </ac:spMkLst>
        </pc:spChg>
        <pc:spChg chg="add del">
          <ac:chgData name="Carlos Reyes García" userId="8f106461-3865-4cda-a443-ca56f71f97d2" providerId="ADAL" clId="{D3EFDC9E-C770-4EC4-8A5A-B4E22FBE207B}" dt="2020-02-27T21:12:45.447" v="6836" actId="22"/>
          <ac:spMkLst>
            <pc:docMk/>
            <pc:sldMk cId="3299218633" sldId="676"/>
            <ac:spMk id="6" creationId="{482A789B-73B9-4D36-9383-C486501B6FB6}"/>
          </ac:spMkLst>
        </pc:spChg>
        <pc:spChg chg="add mod">
          <ac:chgData name="Carlos Reyes García" userId="8f106461-3865-4cda-a443-ca56f71f97d2" providerId="ADAL" clId="{D3EFDC9E-C770-4EC4-8A5A-B4E22FBE207B}" dt="2020-02-27T21:12:59.399" v="6838" actId="164"/>
          <ac:spMkLst>
            <pc:docMk/>
            <pc:sldMk cId="3299218633" sldId="676"/>
            <ac:spMk id="26" creationId="{14210F4D-9E3B-49C3-B21D-A457116F1926}"/>
          </ac:spMkLst>
        </pc:spChg>
        <pc:spChg chg="add mod">
          <ac:chgData name="Carlos Reyes García" userId="8f106461-3865-4cda-a443-ca56f71f97d2" providerId="ADAL" clId="{D3EFDC9E-C770-4EC4-8A5A-B4E22FBE207B}" dt="2020-02-27T21:12:59.399" v="6838" actId="164"/>
          <ac:spMkLst>
            <pc:docMk/>
            <pc:sldMk cId="3299218633" sldId="676"/>
            <ac:spMk id="27" creationId="{5CA103B3-06BC-4775-9BB4-89F9A9B6480E}"/>
          </ac:spMkLst>
        </pc:spChg>
        <pc:spChg chg="add mod">
          <ac:chgData name="Carlos Reyes García" userId="8f106461-3865-4cda-a443-ca56f71f97d2" providerId="ADAL" clId="{D3EFDC9E-C770-4EC4-8A5A-B4E22FBE207B}" dt="2020-02-27T21:12:59.399" v="6838" actId="164"/>
          <ac:spMkLst>
            <pc:docMk/>
            <pc:sldMk cId="3299218633" sldId="676"/>
            <ac:spMk id="28" creationId="{6CC0C792-4FFD-445E-99A1-3824A042406B}"/>
          </ac:spMkLst>
        </pc:spChg>
        <pc:spChg chg="add mod">
          <ac:chgData name="Carlos Reyes García" userId="8f106461-3865-4cda-a443-ca56f71f97d2" providerId="ADAL" clId="{D3EFDC9E-C770-4EC4-8A5A-B4E22FBE207B}" dt="2020-02-27T21:12:59.399" v="6838" actId="164"/>
          <ac:spMkLst>
            <pc:docMk/>
            <pc:sldMk cId="3299218633" sldId="676"/>
            <ac:spMk id="29" creationId="{26F6C500-3AE8-426E-A900-A9A9637C2525}"/>
          </ac:spMkLst>
        </pc:spChg>
        <pc:grpChg chg="add mod">
          <ac:chgData name="Carlos Reyes García" userId="8f106461-3865-4cda-a443-ca56f71f97d2" providerId="ADAL" clId="{D3EFDC9E-C770-4EC4-8A5A-B4E22FBE207B}" dt="2020-02-27T21:12:59.399" v="6838" actId="164"/>
          <ac:grpSpMkLst>
            <pc:docMk/>
            <pc:sldMk cId="3299218633" sldId="676"/>
            <ac:grpSpMk id="7" creationId="{E336117B-E2F8-4CFB-A11F-55F75CC0259A}"/>
          </ac:grpSpMkLst>
        </pc:grpChg>
        <pc:grpChg chg="add del mod">
          <ac:chgData name="Carlos Reyes García" userId="8f106461-3865-4cda-a443-ca56f71f97d2" providerId="ADAL" clId="{D3EFDC9E-C770-4EC4-8A5A-B4E22FBE207B}" dt="2020-02-27T21:13:33.967" v="6842" actId="478"/>
          <ac:grpSpMkLst>
            <pc:docMk/>
            <pc:sldMk cId="3299218633" sldId="676"/>
            <ac:grpSpMk id="30" creationId="{15C675AB-9E07-4F86-A4C8-589D7C053086}"/>
          </ac:grpSpMkLst>
        </pc:grpChg>
        <pc:grpChg chg="add mod">
          <ac:chgData name="Carlos Reyes García" userId="8f106461-3865-4cda-a443-ca56f71f97d2" providerId="ADAL" clId="{D3EFDC9E-C770-4EC4-8A5A-B4E22FBE207B}" dt="2020-02-27T21:13:37.749" v="6844" actId="1076"/>
          <ac:grpSpMkLst>
            <pc:docMk/>
            <pc:sldMk cId="3299218633" sldId="676"/>
            <ac:grpSpMk id="58" creationId="{CC0B57B9-7937-4530-A3CF-68460A055D06}"/>
          </ac:grpSpMkLst>
        </pc:grpChg>
        <pc:cxnChg chg="add mod">
          <ac:chgData name="Carlos Reyes García" userId="8f106461-3865-4cda-a443-ca56f71f97d2" providerId="ADAL" clId="{D3EFDC9E-C770-4EC4-8A5A-B4E22FBE207B}" dt="2020-02-27T21:12:59.399" v="6838" actId="164"/>
          <ac:cxnSpMkLst>
            <pc:docMk/>
            <pc:sldMk cId="3299218633" sldId="676"/>
            <ac:cxnSpMk id="22" creationId="{4FC01F80-06AE-4773-A125-FA2BA9181BAD}"/>
          </ac:cxnSpMkLst>
        </pc:cxnChg>
        <pc:cxnChg chg="add mod">
          <ac:chgData name="Carlos Reyes García" userId="8f106461-3865-4cda-a443-ca56f71f97d2" providerId="ADAL" clId="{D3EFDC9E-C770-4EC4-8A5A-B4E22FBE207B}" dt="2020-02-27T21:12:59.399" v="6838" actId="164"/>
          <ac:cxnSpMkLst>
            <pc:docMk/>
            <pc:sldMk cId="3299218633" sldId="676"/>
            <ac:cxnSpMk id="23" creationId="{E89B3637-73F2-44F9-8205-5B8200CBF28E}"/>
          </ac:cxnSpMkLst>
        </pc:cxnChg>
        <pc:cxnChg chg="add mod">
          <ac:chgData name="Carlos Reyes García" userId="8f106461-3865-4cda-a443-ca56f71f97d2" providerId="ADAL" clId="{D3EFDC9E-C770-4EC4-8A5A-B4E22FBE207B}" dt="2020-02-27T21:12:59.399" v="6838" actId="164"/>
          <ac:cxnSpMkLst>
            <pc:docMk/>
            <pc:sldMk cId="3299218633" sldId="676"/>
            <ac:cxnSpMk id="24" creationId="{2DB03D6A-5368-487E-A8F1-C353DB646D23}"/>
          </ac:cxnSpMkLst>
        </pc:cxnChg>
        <pc:cxnChg chg="add mod">
          <ac:chgData name="Carlos Reyes García" userId="8f106461-3865-4cda-a443-ca56f71f97d2" providerId="ADAL" clId="{D3EFDC9E-C770-4EC4-8A5A-B4E22FBE207B}" dt="2020-02-27T21:12:59.399" v="6838" actId="164"/>
          <ac:cxnSpMkLst>
            <pc:docMk/>
            <pc:sldMk cId="3299218633" sldId="676"/>
            <ac:cxnSpMk id="25" creationId="{79760475-EF04-4BB5-BC89-F5513FBD6F31}"/>
          </ac:cxnSpMkLst>
        </pc:cxnChg>
      </pc:sldChg>
      <pc:sldChg chg="addSp modSp new mod">
        <pc:chgData name="Carlos Reyes García" userId="8f106461-3865-4cda-a443-ca56f71f97d2" providerId="ADAL" clId="{D3EFDC9E-C770-4EC4-8A5A-B4E22FBE207B}" dt="2020-02-28T22:25:40.032" v="8178" actId="1076"/>
        <pc:sldMkLst>
          <pc:docMk/>
          <pc:sldMk cId="3299027233" sldId="677"/>
        </pc:sldMkLst>
        <pc:spChg chg="mod">
          <ac:chgData name="Carlos Reyes García" userId="8f106461-3865-4cda-a443-ca56f71f97d2" providerId="ADAL" clId="{D3EFDC9E-C770-4EC4-8A5A-B4E22FBE207B}" dt="2020-02-27T21:13:54.003" v="6846"/>
          <ac:spMkLst>
            <pc:docMk/>
            <pc:sldMk cId="3299027233" sldId="677"/>
            <ac:spMk id="2" creationId="{EB8C4969-B6CC-48B4-AD04-99E863C0991F}"/>
          </ac:spMkLst>
        </pc:spChg>
        <pc:spChg chg="mod">
          <ac:chgData name="Carlos Reyes García" userId="8f106461-3865-4cda-a443-ca56f71f97d2" providerId="ADAL" clId="{D3EFDC9E-C770-4EC4-8A5A-B4E22FBE207B}" dt="2020-02-28T22:25:32.154" v="8177" actId="6549"/>
          <ac:spMkLst>
            <pc:docMk/>
            <pc:sldMk cId="3299027233" sldId="677"/>
            <ac:spMk id="4" creationId="{7EC35A15-26A4-4D84-8636-6034C78CF9DD}"/>
          </ac:spMkLst>
        </pc:spChg>
        <pc:picChg chg="add mod">
          <ac:chgData name="Carlos Reyes García" userId="8f106461-3865-4cda-a443-ca56f71f97d2" providerId="ADAL" clId="{D3EFDC9E-C770-4EC4-8A5A-B4E22FBE207B}" dt="2020-02-28T22:25:40.032" v="8178" actId="1076"/>
          <ac:picMkLst>
            <pc:docMk/>
            <pc:sldMk cId="3299027233" sldId="677"/>
            <ac:picMk id="6" creationId="{649FF0D2-47AA-4470-8809-FC381EB2A94A}"/>
          </ac:picMkLst>
        </pc:picChg>
      </pc:sldChg>
      <pc:sldChg chg="modSp new mod modNotesTx">
        <pc:chgData name="Carlos Reyes García" userId="8f106461-3865-4cda-a443-ca56f71f97d2" providerId="ADAL" clId="{D3EFDC9E-C770-4EC4-8A5A-B4E22FBE207B}" dt="2020-02-28T22:26:32.700" v="8186" actId="20577"/>
        <pc:sldMkLst>
          <pc:docMk/>
          <pc:sldMk cId="3596346425" sldId="678"/>
        </pc:sldMkLst>
        <pc:spChg chg="mod">
          <ac:chgData name="Carlos Reyes García" userId="8f106461-3865-4cda-a443-ca56f71f97d2" providerId="ADAL" clId="{D3EFDC9E-C770-4EC4-8A5A-B4E22FBE207B}" dt="2020-02-27T21:14:21.677" v="6851"/>
          <ac:spMkLst>
            <pc:docMk/>
            <pc:sldMk cId="3596346425" sldId="678"/>
            <ac:spMk id="2" creationId="{D1E452B6-E2D9-4808-A13E-5597AEE2B65E}"/>
          </ac:spMkLst>
        </pc:spChg>
        <pc:spChg chg="mod">
          <ac:chgData name="Carlos Reyes García" userId="8f106461-3865-4cda-a443-ca56f71f97d2" providerId="ADAL" clId="{D3EFDC9E-C770-4EC4-8A5A-B4E22FBE207B}" dt="2020-02-28T22:26:32.700" v="8186" actId="20577"/>
          <ac:spMkLst>
            <pc:docMk/>
            <pc:sldMk cId="3596346425" sldId="678"/>
            <ac:spMk id="4" creationId="{EFE77F73-4095-44F8-A550-60F7B23C8A52}"/>
          </ac:spMkLst>
        </pc:spChg>
      </pc:sldChg>
      <pc:sldChg chg="addSp modSp new mod">
        <pc:chgData name="Carlos Reyes García" userId="8f106461-3865-4cda-a443-ca56f71f97d2" providerId="ADAL" clId="{D3EFDC9E-C770-4EC4-8A5A-B4E22FBE207B}" dt="2020-02-27T21:15:30.678" v="6864" actId="1076"/>
        <pc:sldMkLst>
          <pc:docMk/>
          <pc:sldMk cId="2695069304" sldId="679"/>
        </pc:sldMkLst>
        <pc:spChg chg="mod">
          <ac:chgData name="Carlos Reyes García" userId="8f106461-3865-4cda-a443-ca56f71f97d2" providerId="ADAL" clId="{D3EFDC9E-C770-4EC4-8A5A-B4E22FBE207B}" dt="2020-02-27T21:15:05.629" v="6861"/>
          <ac:spMkLst>
            <pc:docMk/>
            <pc:sldMk cId="2695069304" sldId="679"/>
            <ac:spMk id="2" creationId="{D4D67A8C-1571-4560-AD72-2E77B10AF292}"/>
          </ac:spMkLst>
        </pc:spChg>
        <pc:spChg chg="mod">
          <ac:chgData name="Carlos Reyes García" userId="8f106461-3865-4cda-a443-ca56f71f97d2" providerId="ADAL" clId="{D3EFDC9E-C770-4EC4-8A5A-B4E22FBE207B}" dt="2020-02-27T21:15:13.234" v="6862"/>
          <ac:spMkLst>
            <pc:docMk/>
            <pc:sldMk cId="2695069304" sldId="679"/>
            <ac:spMk id="4" creationId="{B965750F-ED6F-4D17-9B4A-BDF5BAF51D26}"/>
          </ac:spMkLst>
        </pc:spChg>
        <pc:graphicFrameChg chg="add mod">
          <ac:chgData name="Carlos Reyes García" userId="8f106461-3865-4cda-a443-ca56f71f97d2" providerId="ADAL" clId="{D3EFDC9E-C770-4EC4-8A5A-B4E22FBE207B}" dt="2020-02-27T21:15:30.678" v="6864" actId="1076"/>
          <ac:graphicFrameMkLst>
            <pc:docMk/>
            <pc:sldMk cId="2695069304" sldId="679"/>
            <ac:graphicFrameMk id="6" creationId="{7946A3CD-2207-4CF8-9AC8-0B5177E59961}"/>
          </ac:graphicFrameMkLst>
        </pc:graphicFrameChg>
      </pc:sldChg>
      <pc:sldChg chg="addSp delSp modSp new mod">
        <pc:chgData name="Carlos Reyes García" userId="8f106461-3865-4cda-a443-ca56f71f97d2" providerId="ADAL" clId="{D3EFDC9E-C770-4EC4-8A5A-B4E22FBE207B}" dt="2020-02-28T22:46:35.168" v="8424" actId="14100"/>
        <pc:sldMkLst>
          <pc:docMk/>
          <pc:sldMk cId="884684850" sldId="680"/>
        </pc:sldMkLst>
        <pc:spChg chg="mod">
          <ac:chgData name="Carlos Reyes García" userId="8f106461-3865-4cda-a443-ca56f71f97d2" providerId="ADAL" clId="{D3EFDC9E-C770-4EC4-8A5A-B4E22FBE207B}" dt="2020-02-28T22:27:13.222" v="8196" actId="20577"/>
          <ac:spMkLst>
            <pc:docMk/>
            <pc:sldMk cId="884684850" sldId="680"/>
            <ac:spMk id="2" creationId="{9D440642-DF47-4B69-8B63-BDCAE2C95EEA}"/>
          </ac:spMkLst>
        </pc:spChg>
        <pc:spChg chg="mod">
          <ac:chgData name="Carlos Reyes García" userId="8f106461-3865-4cda-a443-ca56f71f97d2" providerId="ADAL" clId="{D3EFDC9E-C770-4EC4-8A5A-B4E22FBE207B}" dt="2020-02-28T22:43:46.339" v="8397" actId="5793"/>
          <ac:spMkLst>
            <pc:docMk/>
            <pc:sldMk cId="884684850" sldId="680"/>
            <ac:spMk id="4" creationId="{CC841386-82FA-420D-8403-6C2CD800EB0A}"/>
          </ac:spMkLst>
        </pc:spChg>
        <pc:spChg chg="add mod">
          <ac:chgData name="Carlos Reyes García" userId="8f106461-3865-4cda-a443-ca56f71f97d2" providerId="ADAL" clId="{D3EFDC9E-C770-4EC4-8A5A-B4E22FBE207B}" dt="2020-02-28T22:46:35.168" v="8424" actId="14100"/>
          <ac:spMkLst>
            <pc:docMk/>
            <pc:sldMk cId="884684850" sldId="680"/>
            <ac:spMk id="6" creationId="{B5B47066-5E4A-4C0A-A6AB-56A1C28C0252}"/>
          </ac:spMkLst>
        </pc:spChg>
        <pc:spChg chg="add del">
          <ac:chgData name="Carlos Reyes García" userId="8f106461-3865-4cda-a443-ca56f71f97d2" providerId="ADAL" clId="{D3EFDC9E-C770-4EC4-8A5A-B4E22FBE207B}" dt="2020-02-28T22:43:31.105" v="8385" actId="12084"/>
          <ac:spMkLst>
            <pc:docMk/>
            <pc:sldMk cId="884684850" sldId="680"/>
            <ac:spMk id="7" creationId="{1A7EAF97-6B4E-475D-930A-5FF26525A420}"/>
          </ac:spMkLst>
        </pc:spChg>
        <pc:graphicFrameChg chg="add mod">
          <ac:chgData name="Carlos Reyes García" userId="8f106461-3865-4cda-a443-ca56f71f97d2" providerId="ADAL" clId="{D3EFDC9E-C770-4EC4-8A5A-B4E22FBE207B}" dt="2020-02-28T22:45:43.534" v="8415" actId="20577"/>
          <ac:graphicFrameMkLst>
            <pc:docMk/>
            <pc:sldMk cId="884684850" sldId="680"/>
            <ac:graphicFrameMk id="8" creationId="{2B644F61-6104-4899-89A9-C7E06B79D2AF}"/>
          </ac:graphicFrameMkLst>
        </pc:graphicFrameChg>
      </pc:sldChg>
      <pc:sldChg chg="modSp new mod">
        <pc:chgData name="Carlos Reyes García" userId="8f106461-3865-4cda-a443-ca56f71f97d2" providerId="ADAL" clId="{D3EFDC9E-C770-4EC4-8A5A-B4E22FBE207B}" dt="2020-02-28T22:27:23.585" v="8198" actId="20577"/>
        <pc:sldMkLst>
          <pc:docMk/>
          <pc:sldMk cId="2155388841" sldId="681"/>
        </pc:sldMkLst>
        <pc:spChg chg="mod">
          <ac:chgData name="Carlos Reyes García" userId="8f106461-3865-4cda-a443-ca56f71f97d2" providerId="ADAL" clId="{D3EFDC9E-C770-4EC4-8A5A-B4E22FBE207B}" dt="2020-02-28T22:27:23.585" v="8198" actId="20577"/>
          <ac:spMkLst>
            <pc:docMk/>
            <pc:sldMk cId="2155388841" sldId="681"/>
            <ac:spMk id="2" creationId="{099D1E49-FC67-49B6-A251-E78DAFC1EEDB}"/>
          </ac:spMkLst>
        </pc:spChg>
        <pc:spChg chg="mod">
          <ac:chgData name="Carlos Reyes García" userId="8f106461-3865-4cda-a443-ca56f71f97d2" providerId="ADAL" clId="{D3EFDC9E-C770-4EC4-8A5A-B4E22FBE207B}" dt="2020-02-27T21:17:09.860" v="6882" actId="5793"/>
          <ac:spMkLst>
            <pc:docMk/>
            <pc:sldMk cId="2155388841" sldId="681"/>
            <ac:spMk id="4" creationId="{14ADA88D-5C95-40FD-A465-AB1818DE47FB}"/>
          </ac:spMkLst>
        </pc:spChg>
      </pc:sldChg>
      <pc:sldChg chg="addSp delSp modSp new mod modAnim">
        <pc:chgData name="Carlos Reyes García" userId="8f106461-3865-4cda-a443-ca56f71f97d2" providerId="ADAL" clId="{D3EFDC9E-C770-4EC4-8A5A-B4E22FBE207B}" dt="2020-02-27T21:17:40.808" v="6886"/>
        <pc:sldMkLst>
          <pc:docMk/>
          <pc:sldMk cId="1699401867" sldId="682"/>
        </pc:sldMkLst>
        <pc:spChg chg="mod">
          <ac:chgData name="Carlos Reyes García" userId="8f106461-3865-4cda-a443-ca56f71f97d2" providerId="ADAL" clId="{D3EFDC9E-C770-4EC4-8A5A-B4E22FBE207B}" dt="2020-02-27T21:17:29.121" v="6884"/>
          <ac:spMkLst>
            <pc:docMk/>
            <pc:sldMk cId="1699401867" sldId="682"/>
            <ac:spMk id="2" creationId="{20A7E63E-82B4-483C-839F-3904AAA83EED}"/>
          </ac:spMkLst>
        </pc:spChg>
        <pc:spChg chg="del">
          <ac:chgData name="Carlos Reyes García" userId="8f106461-3865-4cda-a443-ca56f71f97d2" providerId="ADAL" clId="{D3EFDC9E-C770-4EC4-8A5A-B4E22FBE207B}" dt="2020-02-27T21:17:40.303" v="6885" actId="478"/>
          <ac:spMkLst>
            <pc:docMk/>
            <pc:sldMk cId="1699401867" sldId="682"/>
            <ac:spMk id="4" creationId="{E01BF401-4855-45E2-A799-164185F3A93D}"/>
          </ac:spMkLst>
        </pc:spChg>
        <pc:spChg chg="add">
          <ac:chgData name="Carlos Reyes García" userId="8f106461-3865-4cda-a443-ca56f71f97d2" providerId="ADAL" clId="{D3EFDC9E-C770-4EC4-8A5A-B4E22FBE207B}" dt="2020-02-27T21:17:40.808" v="6886"/>
          <ac:spMkLst>
            <pc:docMk/>
            <pc:sldMk cId="1699401867" sldId="682"/>
            <ac:spMk id="6" creationId="{C2C50F82-971B-4BC4-A0FD-E1E5E2F2931F}"/>
          </ac:spMkLst>
        </pc:spChg>
        <pc:spChg chg="add">
          <ac:chgData name="Carlos Reyes García" userId="8f106461-3865-4cda-a443-ca56f71f97d2" providerId="ADAL" clId="{D3EFDC9E-C770-4EC4-8A5A-B4E22FBE207B}" dt="2020-02-27T21:17:40.808" v="6886"/>
          <ac:spMkLst>
            <pc:docMk/>
            <pc:sldMk cId="1699401867" sldId="682"/>
            <ac:spMk id="8" creationId="{4276CECF-F11A-47A3-9253-74B4BF9B38A1}"/>
          </ac:spMkLst>
        </pc:spChg>
        <pc:spChg chg="add">
          <ac:chgData name="Carlos Reyes García" userId="8f106461-3865-4cda-a443-ca56f71f97d2" providerId="ADAL" clId="{D3EFDC9E-C770-4EC4-8A5A-B4E22FBE207B}" dt="2020-02-27T21:17:40.808" v="6886"/>
          <ac:spMkLst>
            <pc:docMk/>
            <pc:sldMk cId="1699401867" sldId="682"/>
            <ac:spMk id="10" creationId="{1B367D8E-8BDB-4263-8DCA-EF1BBE03D0B9}"/>
          </ac:spMkLst>
        </pc:spChg>
        <pc:spChg chg="add">
          <ac:chgData name="Carlos Reyes García" userId="8f106461-3865-4cda-a443-ca56f71f97d2" providerId="ADAL" clId="{D3EFDC9E-C770-4EC4-8A5A-B4E22FBE207B}" dt="2020-02-27T21:17:40.808" v="6886"/>
          <ac:spMkLst>
            <pc:docMk/>
            <pc:sldMk cId="1699401867" sldId="682"/>
            <ac:spMk id="11" creationId="{66C07DBF-1A60-457D-905A-507AFEDC8687}"/>
          </ac:spMkLst>
        </pc:spChg>
        <pc:spChg chg="add">
          <ac:chgData name="Carlos Reyes García" userId="8f106461-3865-4cda-a443-ca56f71f97d2" providerId="ADAL" clId="{D3EFDC9E-C770-4EC4-8A5A-B4E22FBE207B}" dt="2020-02-27T21:17:40.808" v="6886"/>
          <ac:spMkLst>
            <pc:docMk/>
            <pc:sldMk cId="1699401867" sldId="682"/>
            <ac:spMk id="12" creationId="{BFECA4E0-4392-482A-B088-9012F5C92748}"/>
          </ac:spMkLst>
        </pc:spChg>
        <pc:spChg chg="add">
          <ac:chgData name="Carlos Reyes García" userId="8f106461-3865-4cda-a443-ca56f71f97d2" providerId="ADAL" clId="{D3EFDC9E-C770-4EC4-8A5A-B4E22FBE207B}" dt="2020-02-27T21:17:40.808" v="6886"/>
          <ac:spMkLst>
            <pc:docMk/>
            <pc:sldMk cId="1699401867" sldId="682"/>
            <ac:spMk id="13" creationId="{68BCA6E7-4DEC-458B-9F01-9EC4AF3F4F35}"/>
          </ac:spMkLst>
        </pc:spChg>
        <pc:spChg chg="add">
          <ac:chgData name="Carlos Reyes García" userId="8f106461-3865-4cda-a443-ca56f71f97d2" providerId="ADAL" clId="{D3EFDC9E-C770-4EC4-8A5A-B4E22FBE207B}" dt="2020-02-27T21:17:40.808" v="6886"/>
          <ac:spMkLst>
            <pc:docMk/>
            <pc:sldMk cId="1699401867" sldId="682"/>
            <ac:spMk id="15" creationId="{66549F75-08E4-4552-AF23-C79A36F23BE0}"/>
          </ac:spMkLst>
        </pc:spChg>
        <pc:spChg chg="add">
          <ac:chgData name="Carlos Reyes García" userId="8f106461-3865-4cda-a443-ca56f71f97d2" providerId="ADAL" clId="{D3EFDC9E-C770-4EC4-8A5A-B4E22FBE207B}" dt="2020-02-27T21:17:40.808" v="6886"/>
          <ac:spMkLst>
            <pc:docMk/>
            <pc:sldMk cId="1699401867" sldId="682"/>
            <ac:spMk id="17" creationId="{C450657F-8A41-4A4F-911A-20F1C1EC88CE}"/>
          </ac:spMkLst>
        </pc:spChg>
        <pc:spChg chg="add">
          <ac:chgData name="Carlos Reyes García" userId="8f106461-3865-4cda-a443-ca56f71f97d2" providerId="ADAL" clId="{D3EFDC9E-C770-4EC4-8A5A-B4E22FBE207B}" dt="2020-02-27T21:17:40.808" v="6886"/>
          <ac:spMkLst>
            <pc:docMk/>
            <pc:sldMk cId="1699401867" sldId="682"/>
            <ac:spMk id="19" creationId="{2C0EC74A-7BDC-4A50-8D13-4036086430D5}"/>
          </ac:spMkLst>
        </pc:spChg>
        <pc:spChg chg="add">
          <ac:chgData name="Carlos Reyes García" userId="8f106461-3865-4cda-a443-ca56f71f97d2" providerId="ADAL" clId="{D3EFDC9E-C770-4EC4-8A5A-B4E22FBE207B}" dt="2020-02-27T21:17:40.808" v="6886"/>
          <ac:spMkLst>
            <pc:docMk/>
            <pc:sldMk cId="1699401867" sldId="682"/>
            <ac:spMk id="20" creationId="{B9DD3BAE-4916-4D82-8589-6D9865885B01}"/>
          </ac:spMkLst>
        </pc:spChg>
        <pc:spChg chg="add">
          <ac:chgData name="Carlos Reyes García" userId="8f106461-3865-4cda-a443-ca56f71f97d2" providerId="ADAL" clId="{D3EFDC9E-C770-4EC4-8A5A-B4E22FBE207B}" dt="2020-02-27T21:17:40.808" v="6886"/>
          <ac:spMkLst>
            <pc:docMk/>
            <pc:sldMk cId="1699401867" sldId="682"/>
            <ac:spMk id="21" creationId="{8875665A-A192-474A-BFCC-DAD4112536B0}"/>
          </ac:spMkLst>
        </pc:spChg>
        <pc:spChg chg="add">
          <ac:chgData name="Carlos Reyes García" userId="8f106461-3865-4cda-a443-ca56f71f97d2" providerId="ADAL" clId="{D3EFDC9E-C770-4EC4-8A5A-B4E22FBE207B}" dt="2020-02-27T21:17:40.808" v="6886"/>
          <ac:spMkLst>
            <pc:docMk/>
            <pc:sldMk cId="1699401867" sldId="682"/>
            <ac:spMk id="22" creationId="{7CC552A1-929F-437A-9C86-6C7A3A3DED55}"/>
          </ac:spMkLst>
        </pc:spChg>
        <pc:spChg chg="add">
          <ac:chgData name="Carlos Reyes García" userId="8f106461-3865-4cda-a443-ca56f71f97d2" providerId="ADAL" clId="{D3EFDC9E-C770-4EC4-8A5A-B4E22FBE207B}" dt="2020-02-27T21:17:40.808" v="6886"/>
          <ac:spMkLst>
            <pc:docMk/>
            <pc:sldMk cId="1699401867" sldId="682"/>
            <ac:spMk id="23" creationId="{58F8CA29-8A69-4954-8C93-61FBF2A8E1A0}"/>
          </ac:spMkLst>
        </pc:spChg>
        <pc:spChg chg="add">
          <ac:chgData name="Carlos Reyes García" userId="8f106461-3865-4cda-a443-ca56f71f97d2" providerId="ADAL" clId="{D3EFDC9E-C770-4EC4-8A5A-B4E22FBE207B}" dt="2020-02-27T21:17:40.808" v="6886"/>
          <ac:spMkLst>
            <pc:docMk/>
            <pc:sldMk cId="1699401867" sldId="682"/>
            <ac:spMk id="24" creationId="{92C9E746-CB80-40DD-BFDB-6B6ACDFEE1BE}"/>
          </ac:spMkLst>
        </pc:spChg>
        <pc:spChg chg="add">
          <ac:chgData name="Carlos Reyes García" userId="8f106461-3865-4cda-a443-ca56f71f97d2" providerId="ADAL" clId="{D3EFDC9E-C770-4EC4-8A5A-B4E22FBE207B}" dt="2020-02-27T21:17:40.808" v="6886"/>
          <ac:spMkLst>
            <pc:docMk/>
            <pc:sldMk cId="1699401867" sldId="682"/>
            <ac:spMk id="26" creationId="{165DB9DB-5607-4F40-807E-C87CEF2BDDE6}"/>
          </ac:spMkLst>
        </pc:spChg>
        <pc:spChg chg="add">
          <ac:chgData name="Carlos Reyes García" userId="8f106461-3865-4cda-a443-ca56f71f97d2" providerId="ADAL" clId="{D3EFDC9E-C770-4EC4-8A5A-B4E22FBE207B}" dt="2020-02-27T21:17:40.808" v="6886"/>
          <ac:spMkLst>
            <pc:docMk/>
            <pc:sldMk cId="1699401867" sldId="682"/>
            <ac:spMk id="28" creationId="{3F559122-CE26-4907-BF18-8F587AF7FFBA}"/>
          </ac:spMkLst>
        </pc:spChg>
        <pc:spChg chg="add">
          <ac:chgData name="Carlos Reyes García" userId="8f106461-3865-4cda-a443-ca56f71f97d2" providerId="ADAL" clId="{D3EFDC9E-C770-4EC4-8A5A-B4E22FBE207B}" dt="2020-02-27T21:17:40.808" v="6886"/>
          <ac:spMkLst>
            <pc:docMk/>
            <pc:sldMk cId="1699401867" sldId="682"/>
            <ac:spMk id="30" creationId="{F3D50E1B-35E3-4BCA-9F82-D0486728FAAC}"/>
          </ac:spMkLst>
        </pc:spChg>
        <pc:spChg chg="add">
          <ac:chgData name="Carlos Reyes García" userId="8f106461-3865-4cda-a443-ca56f71f97d2" providerId="ADAL" clId="{D3EFDC9E-C770-4EC4-8A5A-B4E22FBE207B}" dt="2020-02-27T21:17:40.808" v="6886"/>
          <ac:spMkLst>
            <pc:docMk/>
            <pc:sldMk cId="1699401867" sldId="682"/>
            <ac:spMk id="32" creationId="{3A364861-C84E-450D-A645-5A40C2098362}"/>
          </ac:spMkLst>
        </pc:spChg>
        <pc:spChg chg="add">
          <ac:chgData name="Carlos Reyes García" userId="8f106461-3865-4cda-a443-ca56f71f97d2" providerId="ADAL" clId="{D3EFDC9E-C770-4EC4-8A5A-B4E22FBE207B}" dt="2020-02-27T21:17:40.808" v="6886"/>
          <ac:spMkLst>
            <pc:docMk/>
            <pc:sldMk cId="1699401867" sldId="682"/>
            <ac:spMk id="33" creationId="{FC7DA781-9A4F-497E-8873-48B8B37BC828}"/>
          </ac:spMkLst>
        </pc:spChg>
        <pc:spChg chg="add">
          <ac:chgData name="Carlos Reyes García" userId="8f106461-3865-4cda-a443-ca56f71f97d2" providerId="ADAL" clId="{D3EFDC9E-C770-4EC4-8A5A-B4E22FBE207B}" dt="2020-02-27T21:17:40.808" v="6886"/>
          <ac:spMkLst>
            <pc:docMk/>
            <pc:sldMk cId="1699401867" sldId="682"/>
            <ac:spMk id="34" creationId="{87987CE7-0D49-480E-956F-ACD320A976D7}"/>
          </ac:spMkLst>
        </pc:spChg>
        <pc:spChg chg="add">
          <ac:chgData name="Carlos Reyes García" userId="8f106461-3865-4cda-a443-ca56f71f97d2" providerId="ADAL" clId="{D3EFDC9E-C770-4EC4-8A5A-B4E22FBE207B}" dt="2020-02-27T21:17:40.808" v="6886"/>
          <ac:spMkLst>
            <pc:docMk/>
            <pc:sldMk cId="1699401867" sldId="682"/>
            <ac:spMk id="37" creationId="{6A60B63F-037F-4118-8015-6D06B40DD304}"/>
          </ac:spMkLst>
        </pc:spChg>
        <pc:spChg chg="add">
          <ac:chgData name="Carlos Reyes García" userId="8f106461-3865-4cda-a443-ca56f71f97d2" providerId="ADAL" clId="{D3EFDC9E-C770-4EC4-8A5A-B4E22FBE207B}" dt="2020-02-27T21:17:40.808" v="6886"/>
          <ac:spMkLst>
            <pc:docMk/>
            <pc:sldMk cId="1699401867" sldId="682"/>
            <ac:spMk id="38" creationId="{0ADD16EA-D409-431F-B275-370F8308BA4D}"/>
          </ac:spMkLst>
        </pc:spChg>
        <pc:spChg chg="add">
          <ac:chgData name="Carlos Reyes García" userId="8f106461-3865-4cda-a443-ca56f71f97d2" providerId="ADAL" clId="{D3EFDC9E-C770-4EC4-8A5A-B4E22FBE207B}" dt="2020-02-27T21:17:40.808" v="6886"/>
          <ac:spMkLst>
            <pc:docMk/>
            <pc:sldMk cId="1699401867" sldId="682"/>
            <ac:spMk id="39" creationId="{D38E0F18-2BE3-4DCF-836B-831F1601745E}"/>
          </ac:spMkLst>
        </pc:spChg>
        <pc:spChg chg="add">
          <ac:chgData name="Carlos Reyes García" userId="8f106461-3865-4cda-a443-ca56f71f97d2" providerId="ADAL" clId="{D3EFDC9E-C770-4EC4-8A5A-B4E22FBE207B}" dt="2020-02-27T21:17:40.808" v="6886"/>
          <ac:spMkLst>
            <pc:docMk/>
            <pc:sldMk cId="1699401867" sldId="682"/>
            <ac:spMk id="44" creationId="{DD5D9D96-1CB8-44D6-83A8-7B780C5A97F3}"/>
          </ac:spMkLst>
        </pc:spChg>
        <pc:spChg chg="add">
          <ac:chgData name="Carlos Reyes García" userId="8f106461-3865-4cda-a443-ca56f71f97d2" providerId="ADAL" clId="{D3EFDC9E-C770-4EC4-8A5A-B4E22FBE207B}" dt="2020-02-27T21:17:40.808" v="6886"/>
          <ac:spMkLst>
            <pc:docMk/>
            <pc:sldMk cId="1699401867" sldId="682"/>
            <ac:spMk id="46" creationId="{8F4EE29F-7962-4243-B66C-C905E92AC539}"/>
          </ac:spMkLst>
        </pc:spChg>
        <pc:spChg chg="add">
          <ac:chgData name="Carlos Reyes García" userId="8f106461-3865-4cda-a443-ca56f71f97d2" providerId="ADAL" clId="{D3EFDC9E-C770-4EC4-8A5A-B4E22FBE207B}" dt="2020-02-27T21:17:40.808" v="6886"/>
          <ac:spMkLst>
            <pc:docMk/>
            <pc:sldMk cId="1699401867" sldId="682"/>
            <ac:spMk id="48" creationId="{BBBBC12C-22BB-463F-9FEF-C95A8E7F28B2}"/>
          </ac:spMkLst>
        </pc:spChg>
        <pc:cxnChg chg="add">
          <ac:chgData name="Carlos Reyes García" userId="8f106461-3865-4cda-a443-ca56f71f97d2" providerId="ADAL" clId="{D3EFDC9E-C770-4EC4-8A5A-B4E22FBE207B}" dt="2020-02-27T21:17:40.808" v="6886"/>
          <ac:cxnSpMkLst>
            <pc:docMk/>
            <pc:sldMk cId="1699401867" sldId="682"/>
            <ac:cxnSpMk id="5" creationId="{5ABCB05B-3F6B-4570-8C8B-A6D38561AC1E}"/>
          </ac:cxnSpMkLst>
        </pc:cxnChg>
        <pc:cxnChg chg="add">
          <ac:chgData name="Carlos Reyes García" userId="8f106461-3865-4cda-a443-ca56f71f97d2" providerId="ADAL" clId="{D3EFDC9E-C770-4EC4-8A5A-B4E22FBE207B}" dt="2020-02-27T21:17:40.808" v="6886"/>
          <ac:cxnSpMkLst>
            <pc:docMk/>
            <pc:sldMk cId="1699401867" sldId="682"/>
            <ac:cxnSpMk id="7" creationId="{776DCF1C-78C9-4C79-BD75-076404FA9CFE}"/>
          </ac:cxnSpMkLst>
        </pc:cxnChg>
        <pc:cxnChg chg="add">
          <ac:chgData name="Carlos Reyes García" userId="8f106461-3865-4cda-a443-ca56f71f97d2" providerId="ADAL" clId="{D3EFDC9E-C770-4EC4-8A5A-B4E22FBE207B}" dt="2020-02-27T21:17:40.808" v="6886"/>
          <ac:cxnSpMkLst>
            <pc:docMk/>
            <pc:sldMk cId="1699401867" sldId="682"/>
            <ac:cxnSpMk id="9" creationId="{AF01957E-5AE8-4804-A365-7D56F4E923C6}"/>
          </ac:cxnSpMkLst>
        </pc:cxnChg>
        <pc:cxnChg chg="add">
          <ac:chgData name="Carlos Reyes García" userId="8f106461-3865-4cda-a443-ca56f71f97d2" providerId="ADAL" clId="{D3EFDC9E-C770-4EC4-8A5A-B4E22FBE207B}" dt="2020-02-27T21:17:40.808" v="6886"/>
          <ac:cxnSpMkLst>
            <pc:docMk/>
            <pc:sldMk cId="1699401867" sldId="682"/>
            <ac:cxnSpMk id="14" creationId="{666A165D-689A-4C39-A9CC-DB208E89EE1B}"/>
          </ac:cxnSpMkLst>
        </pc:cxnChg>
        <pc:cxnChg chg="add">
          <ac:chgData name="Carlos Reyes García" userId="8f106461-3865-4cda-a443-ca56f71f97d2" providerId="ADAL" clId="{D3EFDC9E-C770-4EC4-8A5A-B4E22FBE207B}" dt="2020-02-27T21:17:40.808" v="6886"/>
          <ac:cxnSpMkLst>
            <pc:docMk/>
            <pc:sldMk cId="1699401867" sldId="682"/>
            <ac:cxnSpMk id="16" creationId="{31DA5F38-1482-4B7E-9CAE-BA1EA18D98AE}"/>
          </ac:cxnSpMkLst>
        </pc:cxnChg>
        <pc:cxnChg chg="add">
          <ac:chgData name="Carlos Reyes García" userId="8f106461-3865-4cda-a443-ca56f71f97d2" providerId="ADAL" clId="{D3EFDC9E-C770-4EC4-8A5A-B4E22FBE207B}" dt="2020-02-27T21:17:40.808" v="6886"/>
          <ac:cxnSpMkLst>
            <pc:docMk/>
            <pc:sldMk cId="1699401867" sldId="682"/>
            <ac:cxnSpMk id="18" creationId="{ADA2EB6A-FA2D-4DBD-90A3-A41C7BE76593}"/>
          </ac:cxnSpMkLst>
        </pc:cxnChg>
        <pc:cxnChg chg="add">
          <ac:chgData name="Carlos Reyes García" userId="8f106461-3865-4cda-a443-ca56f71f97d2" providerId="ADAL" clId="{D3EFDC9E-C770-4EC4-8A5A-B4E22FBE207B}" dt="2020-02-27T21:17:40.808" v="6886"/>
          <ac:cxnSpMkLst>
            <pc:docMk/>
            <pc:sldMk cId="1699401867" sldId="682"/>
            <ac:cxnSpMk id="25" creationId="{2B9F6A21-D60C-4B3C-AA21-77B4EA313857}"/>
          </ac:cxnSpMkLst>
        </pc:cxnChg>
        <pc:cxnChg chg="add">
          <ac:chgData name="Carlos Reyes García" userId="8f106461-3865-4cda-a443-ca56f71f97d2" providerId="ADAL" clId="{D3EFDC9E-C770-4EC4-8A5A-B4E22FBE207B}" dt="2020-02-27T21:17:40.808" v="6886"/>
          <ac:cxnSpMkLst>
            <pc:docMk/>
            <pc:sldMk cId="1699401867" sldId="682"/>
            <ac:cxnSpMk id="27" creationId="{CFE07139-8A34-4DB2-8DC3-5CDCFF8520A5}"/>
          </ac:cxnSpMkLst>
        </pc:cxnChg>
        <pc:cxnChg chg="add">
          <ac:chgData name="Carlos Reyes García" userId="8f106461-3865-4cda-a443-ca56f71f97d2" providerId="ADAL" clId="{D3EFDC9E-C770-4EC4-8A5A-B4E22FBE207B}" dt="2020-02-27T21:17:40.808" v="6886"/>
          <ac:cxnSpMkLst>
            <pc:docMk/>
            <pc:sldMk cId="1699401867" sldId="682"/>
            <ac:cxnSpMk id="29" creationId="{FE8BAC78-2145-41E6-AF3D-B4F4F4F1503A}"/>
          </ac:cxnSpMkLst>
        </pc:cxnChg>
        <pc:cxnChg chg="add">
          <ac:chgData name="Carlos Reyes García" userId="8f106461-3865-4cda-a443-ca56f71f97d2" providerId="ADAL" clId="{D3EFDC9E-C770-4EC4-8A5A-B4E22FBE207B}" dt="2020-02-27T21:17:40.808" v="6886"/>
          <ac:cxnSpMkLst>
            <pc:docMk/>
            <pc:sldMk cId="1699401867" sldId="682"/>
            <ac:cxnSpMk id="31" creationId="{EE0ABD66-3C05-45A7-9E3A-9DB8BABC0F0C}"/>
          </ac:cxnSpMkLst>
        </pc:cxnChg>
        <pc:cxnChg chg="add">
          <ac:chgData name="Carlos Reyes García" userId="8f106461-3865-4cda-a443-ca56f71f97d2" providerId="ADAL" clId="{D3EFDC9E-C770-4EC4-8A5A-B4E22FBE207B}" dt="2020-02-27T21:17:40.808" v="6886"/>
          <ac:cxnSpMkLst>
            <pc:docMk/>
            <pc:sldMk cId="1699401867" sldId="682"/>
            <ac:cxnSpMk id="35" creationId="{E4A4715C-2216-466A-A50F-09CCF5471983}"/>
          </ac:cxnSpMkLst>
        </pc:cxnChg>
        <pc:cxnChg chg="add">
          <ac:chgData name="Carlos Reyes García" userId="8f106461-3865-4cda-a443-ca56f71f97d2" providerId="ADAL" clId="{D3EFDC9E-C770-4EC4-8A5A-B4E22FBE207B}" dt="2020-02-27T21:17:40.808" v="6886"/>
          <ac:cxnSpMkLst>
            <pc:docMk/>
            <pc:sldMk cId="1699401867" sldId="682"/>
            <ac:cxnSpMk id="36" creationId="{3E500E49-A6E7-4103-9604-C0317B783BC4}"/>
          </ac:cxnSpMkLst>
        </pc:cxnChg>
        <pc:cxnChg chg="add">
          <ac:chgData name="Carlos Reyes García" userId="8f106461-3865-4cda-a443-ca56f71f97d2" providerId="ADAL" clId="{D3EFDC9E-C770-4EC4-8A5A-B4E22FBE207B}" dt="2020-02-27T21:17:40.808" v="6886"/>
          <ac:cxnSpMkLst>
            <pc:docMk/>
            <pc:sldMk cId="1699401867" sldId="682"/>
            <ac:cxnSpMk id="40" creationId="{A77423F4-21E2-48EA-98B7-EAE0C208A4AE}"/>
          </ac:cxnSpMkLst>
        </pc:cxnChg>
        <pc:cxnChg chg="add">
          <ac:chgData name="Carlos Reyes García" userId="8f106461-3865-4cda-a443-ca56f71f97d2" providerId="ADAL" clId="{D3EFDC9E-C770-4EC4-8A5A-B4E22FBE207B}" dt="2020-02-27T21:17:40.808" v="6886"/>
          <ac:cxnSpMkLst>
            <pc:docMk/>
            <pc:sldMk cId="1699401867" sldId="682"/>
            <ac:cxnSpMk id="41" creationId="{36D37B83-3C42-410D-93BB-0FC4A276E62F}"/>
          </ac:cxnSpMkLst>
        </pc:cxnChg>
        <pc:cxnChg chg="add">
          <ac:chgData name="Carlos Reyes García" userId="8f106461-3865-4cda-a443-ca56f71f97d2" providerId="ADAL" clId="{D3EFDC9E-C770-4EC4-8A5A-B4E22FBE207B}" dt="2020-02-27T21:17:40.808" v="6886"/>
          <ac:cxnSpMkLst>
            <pc:docMk/>
            <pc:sldMk cId="1699401867" sldId="682"/>
            <ac:cxnSpMk id="42" creationId="{8C3CBF66-7F4C-4BEA-B736-42B7E923AC00}"/>
          </ac:cxnSpMkLst>
        </pc:cxnChg>
        <pc:cxnChg chg="add">
          <ac:chgData name="Carlos Reyes García" userId="8f106461-3865-4cda-a443-ca56f71f97d2" providerId="ADAL" clId="{D3EFDC9E-C770-4EC4-8A5A-B4E22FBE207B}" dt="2020-02-27T21:17:40.808" v="6886"/>
          <ac:cxnSpMkLst>
            <pc:docMk/>
            <pc:sldMk cId="1699401867" sldId="682"/>
            <ac:cxnSpMk id="43" creationId="{7E8F50D7-36D1-46EA-AC16-5781053B8FA3}"/>
          </ac:cxnSpMkLst>
        </pc:cxnChg>
        <pc:cxnChg chg="add">
          <ac:chgData name="Carlos Reyes García" userId="8f106461-3865-4cda-a443-ca56f71f97d2" providerId="ADAL" clId="{D3EFDC9E-C770-4EC4-8A5A-B4E22FBE207B}" dt="2020-02-27T21:17:40.808" v="6886"/>
          <ac:cxnSpMkLst>
            <pc:docMk/>
            <pc:sldMk cId="1699401867" sldId="682"/>
            <ac:cxnSpMk id="45" creationId="{207812BF-4D71-474A-9D7B-4F8D3A9F3B49}"/>
          </ac:cxnSpMkLst>
        </pc:cxnChg>
        <pc:cxnChg chg="add">
          <ac:chgData name="Carlos Reyes García" userId="8f106461-3865-4cda-a443-ca56f71f97d2" providerId="ADAL" clId="{D3EFDC9E-C770-4EC4-8A5A-B4E22FBE207B}" dt="2020-02-27T21:17:40.808" v="6886"/>
          <ac:cxnSpMkLst>
            <pc:docMk/>
            <pc:sldMk cId="1699401867" sldId="682"/>
            <ac:cxnSpMk id="47" creationId="{703E30F0-3D49-4823-9346-E1A15DB67715}"/>
          </ac:cxnSpMkLst>
        </pc:cxnChg>
      </pc:sldChg>
      <pc:sldChg chg="modSp add mod modNotesTx">
        <pc:chgData name="Carlos Reyes García" userId="8f106461-3865-4cda-a443-ca56f71f97d2" providerId="ADAL" clId="{D3EFDC9E-C770-4EC4-8A5A-B4E22FBE207B}" dt="2020-02-28T00:18:27.525" v="7046" actId="20577"/>
        <pc:sldMkLst>
          <pc:docMk/>
          <pc:sldMk cId="1300224634" sldId="683"/>
        </pc:sldMkLst>
        <pc:spChg chg="mod">
          <ac:chgData name="Carlos Reyes García" userId="8f106461-3865-4cda-a443-ca56f71f97d2" providerId="ADAL" clId="{D3EFDC9E-C770-4EC4-8A5A-B4E22FBE207B}" dt="2020-02-27T22:56:02.978" v="7043" actId="20577"/>
          <ac:spMkLst>
            <pc:docMk/>
            <pc:sldMk cId="1300224634" sldId="683"/>
            <ac:spMk id="6" creationId="{637E159C-9ACF-48AE-927A-D5FB13695C7F}"/>
          </ac:spMkLst>
        </pc:spChg>
      </pc:sldChg>
      <pc:sldChg chg="new del">
        <pc:chgData name="Carlos Reyes García" userId="8f106461-3865-4cda-a443-ca56f71f97d2" providerId="ADAL" clId="{D3EFDC9E-C770-4EC4-8A5A-B4E22FBE207B}" dt="2020-02-27T22:26:47.610" v="6905" actId="680"/>
        <pc:sldMkLst>
          <pc:docMk/>
          <pc:sldMk cId="274558408" sldId="684"/>
        </pc:sldMkLst>
      </pc:sldChg>
      <pc:sldChg chg="modSp add del">
        <pc:chgData name="Carlos Reyes García" userId="8f106461-3865-4cda-a443-ca56f71f97d2" providerId="ADAL" clId="{D3EFDC9E-C770-4EC4-8A5A-B4E22FBE207B}" dt="2020-02-27T22:24:37.270" v="6900" actId="2696"/>
        <pc:sldMkLst>
          <pc:docMk/>
          <pc:sldMk cId="807414490" sldId="684"/>
        </pc:sldMkLst>
        <pc:spChg chg="mod">
          <ac:chgData name="Carlos Reyes García" userId="8f106461-3865-4cda-a443-ca56f71f97d2" providerId="ADAL" clId="{D3EFDC9E-C770-4EC4-8A5A-B4E22FBE207B}" dt="2020-02-27T22:24:04.251" v="6899"/>
          <ac:spMkLst>
            <pc:docMk/>
            <pc:sldMk cId="807414490" sldId="684"/>
            <ac:spMk id="6" creationId="{637E159C-9ACF-48AE-927A-D5FB13695C7F}"/>
          </ac:spMkLst>
        </pc:spChg>
      </pc:sldChg>
      <pc:sldChg chg="new del">
        <pc:chgData name="Carlos Reyes García" userId="8f106461-3865-4cda-a443-ca56f71f97d2" providerId="ADAL" clId="{D3EFDC9E-C770-4EC4-8A5A-B4E22FBE207B}" dt="2020-02-27T22:26:43.112" v="6903" actId="47"/>
        <pc:sldMkLst>
          <pc:docMk/>
          <pc:sldMk cId="1870663255" sldId="684"/>
        </pc:sldMkLst>
      </pc:sldChg>
      <pc:sldChg chg="addSp modSp new del mod">
        <pc:chgData name="Carlos Reyes García" userId="8f106461-3865-4cda-a443-ca56f71f97d2" providerId="ADAL" clId="{D3EFDC9E-C770-4EC4-8A5A-B4E22FBE207B}" dt="2020-02-27T22:31:55.651" v="6934" actId="47"/>
        <pc:sldMkLst>
          <pc:docMk/>
          <pc:sldMk cId="2653911909" sldId="684"/>
        </pc:sldMkLst>
        <pc:spChg chg="mod">
          <ac:chgData name="Carlos Reyes García" userId="8f106461-3865-4cda-a443-ca56f71f97d2" providerId="ADAL" clId="{D3EFDC9E-C770-4EC4-8A5A-B4E22FBE207B}" dt="2020-02-27T22:27:04.433" v="6908"/>
          <ac:spMkLst>
            <pc:docMk/>
            <pc:sldMk cId="2653911909" sldId="684"/>
            <ac:spMk id="2" creationId="{96E61E53-10BF-44BC-A380-585DF329048E}"/>
          </ac:spMkLst>
        </pc:spChg>
        <pc:spChg chg="mod">
          <ac:chgData name="Carlos Reyes García" userId="8f106461-3865-4cda-a443-ca56f71f97d2" providerId="ADAL" clId="{D3EFDC9E-C770-4EC4-8A5A-B4E22FBE207B}" dt="2020-02-27T22:27:12.507" v="6909"/>
          <ac:spMkLst>
            <pc:docMk/>
            <pc:sldMk cId="2653911909" sldId="684"/>
            <ac:spMk id="3" creationId="{84F56B5B-314B-4B51-9C77-98C243391403}"/>
          </ac:spMkLst>
        </pc:spChg>
        <pc:spChg chg="add mod">
          <ac:chgData name="Carlos Reyes García" userId="8f106461-3865-4cda-a443-ca56f71f97d2" providerId="ADAL" clId="{D3EFDC9E-C770-4EC4-8A5A-B4E22FBE207B}" dt="2020-02-27T22:28:55.949" v="6914" actId="1076"/>
          <ac:spMkLst>
            <pc:docMk/>
            <pc:sldMk cId="2653911909" sldId="684"/>
            <ac:spMk id="5" creationId="{9A285CE5-572B-4E53-9654-63AA0D389CF6}"/>
          </ac:spMkLst>
        </pc:spChg>
        <pc:spChg chg="add mod">
          <ac:chgData name="Carlos Reyes García" userId="8f106461-3865-4cda-a443-ca56f71f97d2" providerId="ADAL" clId="{D3EFDC9E-C770-4EC4-8A5A-B4E22FBE207B}" dt="2020-02-27T22:27:35.634" v="6912" actId="404"/>
          <ac:spMkLst>
            <pc:docMk/>
            <pc:sldMk cId="2653911909" sldId="684"/>
            <ac:spMk id="7" creationId="{B842FC45-773A-47B2-87E7-06F5F62446D6}"/>
          </ac:spMkLst>
        </pc:spChg>
      </pc:sldChg>
      <pc:sldChg chg="addSp modSp new del mod">
        <pc:chgData name="Carlos Reyes García" userId="8f106461-3865-4cda-a443-ca56f71f97d2" providerId="ADAL" clId="{D3EFDC9E-C770-4EC4-8A5A-B4E22FBE207B}" dt="2020-02-27T22:32:14.095" v="6939" actId="47"/>
        <pc:sldMkLst>
          <pc:docMk/>
          <pc:sldMk cId="3671038964" sldId="685"/>
        </pc:sldMkLst>
        <pc:spChg chg="mod">
          <ac:chgData name="Carlos Reyes García" userId="8f106461-3865-4cda-a443-ca56f71f97d2" providerId="ADAL" clId="{D3EFDC9E-C770-4EC4-8A5A-B4E22FBE207B}" dt="2020-02-27T22:29:51.473" v="6915"/>
          <ac:spMkLst>
            <pc:docMk/>
            <pc:sldMk cId="3671038964" sldId="685"/>
            <ac:spMk id="2" creationId="{DDB7734D-9317-4085-9CE0-448E460DA865}"/>
          </ac:spMkLst>
        </pc:spChg>
        <pc:spChg chg="mod">
          <ac:chgData name="Carlos Reyes García" userId="8f106461-3865-4cda-a443-ca56f71f97d2" providerId="ADAL" clId="{D3EFDC9E-C770-4EC4-8A5A-B4E22FBE207B}" dt="2020-02-27T22:30:13.242" v="6919" actId="113"/>
          <ac:spMkLst>
            <pc:docMk/>
            <pc:sldMk cId="3671038964" sldId="685"/>
            <ac:spMk id="3" creationId="{5B67F7CC-D74B-468E-AD61-B075BCF434CE}"/>
          </ac:spMkLst>
        </pc:spChg>
        <pc:spChg chg="add mod">
          <ac:chgData name="Carlos Reyes García" userId="8f106461-3865-4cda-a443-ca56f71f97d2" providerId="ADAL" clId="{D3EFDC9E-C770-4EC4-8A5A-B4E22FBE207B}" dt="2020-02-27T22:30:46.785" v="6921" actId="1076"/>
          <ac:spMkLst>
            <pc:docMk/>
            <pc:sldMk cId="3671038964" sldId="685"/>
            <ac:spMk id="5" creationId="{CE365A35-EABA-4646-9EF4-0E3E9C660450}"/>
          </ac:spMkLst>
        </pc:spChg>
        <pc:grpChg chg="add mod">
          <ac:chgData name="Carlos Reyes García" userId="8f106461-3865-4cda-a443-ca56f71f97d2" providerId="ADAL" clId="{D3EFDC9E-C770-4EC4-8A5A-B4E22FBE207B}" dt="2020-02-27T22:30:46.785" v="6921" actId="1076"/>
          <ac:grpSpMkLst>
            <pc:docMk/>
            <pc:sldMk cId="3671038964" sldId="685"/>
            <ac:grpSpMk id="9" creationId="{60684E6E-0BC2-48CD-8EC2-310DC1C547D9}"/>
          </ac:grpSpMkLst>
        </pc:grpChg>
      </pc:sldChg>
      <pc:sldChg chg="modSp new del mod">
        <pc:chgData name="Carlos Reyes García" userId="8f106461-3865-4cda-a443-ca56f71f97d2" providerId="ADAL" clId="{D3EFDC9E-C770-4EC4-8A5A-B4E22FBE207B}" dt="2020-02-27T22:32:28.695" v="6943" actId="47"/>
        <pc:sldMkLst>
          <pc:docMk/>
          <pc:sldMk cId="3589342226" sldId="686"/>
        </pc:sldMkLst>
        <pc:spChg chg="mod">
          <ac:chgData name="Carlos Reyes García" userId="8f106461-3865-4cda-a443-ca56f71f97d2" providerId="ADAL" clId="{D3EFDC9E-C770-4EC4-8A5A-B4E22FBE207B}" dt="2020-02-27T22:31:02.024" v="6923"/>
          <ac:spMkLst>
            <pc:docMk/>
            <pc:sldMk cId="3589342226" sldId="686"/>
            <ac:spMk id="2" creationId="{1D749A07-87AA-4976-ABD7-26E631704625}"/>
          </ac:spMkLst>
        </pc:spChg>
        <pc:spChg chg="mod">
          <ac:chgData name="Carlos Reyes García" userId="8f106461-3865-4cda-a443-ca56f71f97d2" providerId="ADAL" clId="{D3EFDC9E-C770-4EC4-8A5A-B4E22FBE207B}" dt="2020-02-27T22:31:13.732" v="6925" actId="15"/>
          <ac:spMkLst>
            <pc:docMk/>
            <pc:sldMk cId="3589342226" sldId="686"/>
            <ac:spMk id="3" creationId="{56F3C219-4689-47F6-87A9-D488922095A1}"/>
          </ac:spMkLst>
        </pc:spChg>
      </pc:sldChg>
      <pc:sldChg chg="new del">
        <pc:chgData name="Carlos Reyes García" userId="8f106461-3865-4cda-a443-ca56f71f97d2" providerId="ADAL" clId="{D3EFDC9E-C770-4EC4-8A5A-B4E22FBE207B}" dt="2020-02-27T22:31:33.235" v="6928" actId="47"/>
        <pc:sldMkLst>
          <pc:docMk/>
          <pc:sldMk cId="4077607344" sldId="687"/>
        </pc:sldMkLst>
      </pc:sldChg>
      <pc:sldChg chg="addSp modSp new mod ord modNotesTx">
        <pc:chgData name="Carlos Reyes García" userId="8f106461-3865-4cda-a443-ca56f71f97d2" providerId="ADAL" clId="{D3EFDC9E-C770-4EC4-8A5A-B4E22FBE207B}" dt="2020-02-28T22:32:13.722" v="8223" actId="20577"/>
        <pc:sldMkLst>
          <pc:docMk/>
          <pc:sldMk cId="1755439722" sldId="688"/>
        </pc:sldMkLst>
        <pc:spChg chg="mod">
          <ac:chgData name="Carlos Reyes García" userId="8f106461-3865-4cda-a443-ca56f71f97d2" providerId="ADAL" clId="{D3EFDC9E-C770-4EC4-8A5A-B4E22FBE207B}" dt="2020-02-27T22:38:29.884" v="6973" actId="20577"/>
          <ac:spMkLst>
            <pc:docMk/>
            <pc:sldMk cId="1755439722" sldId="688"/>
            <ac:spMk id="2" creationId="{46E95934-6017-4EBF-9EFA-A72556437BE2}"/>
          </ac:spMkLst>
        </pc:spChg>
        <pc:spChg chg="mod">
          <ac:chgData name="Carlos Reyes García" userId="8f106461-3865-4cda-a443-ca56f71f97d2" providerId="ADAL" clId="{D3EFDC9E-C770-4EC4-8A5A-B4E22FBE207B}" dt="2020-02-28T22:32:13.722" v="8223" actId="20577"/>
          <ac:spMkLst>
            <pc:docMk/>
            <pc:sldMk cId="1755439722" sldId="688"/>
            <ac:spMk id="4" creationId="{98B9BDCF-4EA8-43B4-83C6-79FFD7EB6433}"/>
          </ac:spMkLst>
        </pc:spChg>
        <pc:spChg chg="add mod">
          <ac:chgData name="Carlos Reyes García" userId="8f106461-3865-4cda-a443-ca56f71f97d2" providerId="ADAL" clId="{D3EFDC9E-C770-4EC4-8A5A-B4E22FBE207B}" dt="2020-02-28T22:31:57.797" v="8217" actId="14100"/>
          <ac:spMkLst>
            <pc:docMk/>
            <pc:sldMk cId="1755439722" sldId="688"/>
            <ac:spMk id="6" creationId="{86C6B81C-8A57-43AE-8FBD-96E1ADA571B3}"/>
          </ac:spMkLst>
        </pc:spChg>
        <pc:spChg chg="add mod">
          <ac:chgData name="Carlos Reyes García" userId="8f106461-3865-4cda-a443-ca56f71f97d2" providerId="ADAL" clId="{D3EFDC9E-C770-4EC4-8A5A-B4E22FBE207B}" dt="2020-02-28T22:31:57.797" v="8217" actId="14100"/>
          <ac:spMkLst>
            <pc:docMk/>
            <pc:sldMk cId="1755439722" sldId="688"/>
            <ac:spMk id="8" creationId="{E28BC56E-A5B0-4E95-84BE-4B2724ED3F7A}"/>
          </ac:spMkLst>
        </pc:spChg>
        <pc:graphicFrameChg chg="add mod">
          <ac:chgData name="Carlos Reyes García" userId="8f106461-3865-4cda-a443-ca56f71f97d2" providerId="ADAL" clId="{D3EFDC9E-C770-4EC4-8A5A-B4E22FBE207B}" dt="2020-02-28T22:27:54.191" v="8199" actId="12100"/>
          <ac:graphicFrameMkLst>
            <pc:docMk/>
            <pc:sldMk cId="1755439722" sldId="688"/>
            <ac:graphicFrameMk id="10" creationId="{70968EFE-D801-442A-BE10-826BCBFED0D9}"/>
          </ac:graphicFrameMkLst>
        </pc:graphicFrameChg>
      </pc:sldChg>
      <pc:sldChg chg="addSp delSp modSp new mod">
        <pc:chgData name="Carlos Reyes García" userId="8f106461-3865-4cda-a443-ca56f71f97d2" providerId="ADAL" clId="{D3EFDC9E-C770-4EC4-8A5A-B4E22FBE207B}" dt="2020-02-28T22:40:41.241" v="8366" actId="20577"/>
        <pc:sldMkLst>
          <pc:docMk/>
          <pc:sldMk cId="4158935505" sldId="689"/>
        </pc:sldMkLst>
        <pc:spChg chg="mod">
          <ac:chgData name="Carlos Reyes García" userId="8f106461-3865-4cda-a443-ca56f71f97d2" providerId="ADAL" clId="{D3EFDC9E-C770-4EC4-8A5A-B4E22FBE207B}" dt="2020-02-27T22:46:59.587" v="6994"/>
          <ac:spMkLst>
            <pc:docMk/>
            <pc:sldMk cId="4158935505" sldId="689"/>
            <ac:spMk id="2" creationId="{A1F8F13A-CC0F-407C-965D-B80F3170A778}"/>
          </ac:spMkLst>
        </pc:spChg>
        <pc:spChg chg="mod">
          <ac:chgData name="Carlos Reyes García" userId="8f106461-3865-4cda-a443-ca56f71f97d2" providerId="ADAL" clId="{D3EFDC9E-C770-4EC4-8A5A-B4E22FBE207B}" dt="2020-02-28T22:40:28.248" v="8365" actId="6549"/>
          <ac:spMkLst>
            <pc:docMk/>
            <pc:sldMk cId="4158935505" sldId="689"/>
            <ac:spMk id="4" creationId="{A7F46172-B34A-4642-9EAA-994133FC9B4B}"/>
          </ac:spMkLst>
        </pc:spChg>
        <pc:spChg chg="add mod">
          <ac:chgData name="Carlos Reyes García" userId="8f106461-3865-4cda-a443-ca56f71f97d2" providerId="ADAL" clId="{D3EFDC9E-C770-4EC4-8A5A-B4E22FBE207B}" dt="2020-02-28T22:39:15.665" v="8360" actId="1076"/>
          <ac:spMkLst>
            <pc:docMk/>
            <pc:sldMk cId="4158935505" sldId="689"/>
            <ac:spMk id="6" creationId="{E57E0C42-6BE8-475B-9877-9EA01F142013}"/>
          </ac:spMkLst>
        </pc:spChg>
        <pc:spChg chg="add del">
          <ac:chgData name="Carlos Reyes García" userId="8f106461-3865-4cda-a443-ca56f71f97d2" providerId="ADAL" clId="{D3EFDC9E-C770-4EC4-8A5A-B4E22FBE207B}" dt="2020-02-28T22:35:45.421" v="8328" actId="12084"/>
          <ac:spMkLst>
            <pc:docMk/>
            <pc:sldMk cId="4158935505" sldId="689"/>
            <ac:spMk id="11" creationId="{68277FAC-D3E5-46A2-A215-DDCCEC0C8841}"/>
          </ac:spMkLst>
        </pc:spChg>
        <pc:grpChg chg="add mod">
          <ac:chgData name="Carlos Reyes García" userId="8f106461-3865-4cda-a443-ca56f71f97d2" providerId="ADAL" clId="{D3EFDC9E-C770-4EC4-8A5A-B4E22FBE207B}" dt="2020-02-28T22:39:18.298" v="8361" actId="1076"/>
          <ac:grpSpMkLst>
            <pc:docMk/>
            <pc:sldMk cId="4158935505" sldId="689"/>
            <ac:grpSpMk id="10" creationId="{0445B9B2-057A-43EC-BA9E-C0EA616E5BCD}"/>
          </ac:grpSpMkLst>
        </pc:grpChg>
        <pc:graphicFrameChg chg="add mod">
          <ac:chgData name="Carlos Reyes García" userId="8f106461-3865-4cda-a443-ca56f71f97d2" providerId="ADAL" clId="{D3EFDC9E-C770-4EC4-8A5A-B4E22FBE207B}" dt="2020-02-28T22:40:41.241" v="8366" actId="20577"/>
          <ac:graphicFrameMkLst>
            <pc:docMk/>
            <pc:sldMk cId="4158935505" sldId="689"/>
            <ac:graphicFrameMk id="12" creationId="{0705DED7-D743-4AFE-BC06-2CD31E9C9725}"/>
          </ac:graphicFrameMkLst>
        </pc:graphicFrameChg>
      </pc:sldChg>
      <pc:sldChg chg="addSp delSp modSp new mod">
        <pc:chgData name="Carlos Reyes García" userId="8f106461-3865-4cda-a443-ca56f71f97d2" providerId="ADAL" clId="{D3EFDC9E-C770-4EC4-8A5A-B4E22FBE207B}" dt="2020-02-28T22:42:12.631" v="8380" actId="1076"/>
        <pc:sldMkLst>
          <pc:docMk/>
          <pc:sldMk cId="1044664172" sldId="690"/>
        </pc:sldMkLst>
        <pc:spChg chg="mod">
          <ac:chgData name="Carlos Reyes García" userId="8f106461-3865-4cda-a443-ca56f71f97d2" providerId="ADAL" clId="{D3EFDC9E-C770-4EC4-8A5A-B4E22FBE207B}" dt="2020-02-27T22:32:22.566" v="6941"/>
          <ac:spMkLst>
            <pc:docMk/>
            <pc:sldMk cId="1044664172" sldId="690"/>
            <ac:spMk id="2" creationId="{FCFD9E7A-9528-492C-80D0-E4F6837C6A5D}"/>
          </ac:spMkLst>
        </pc:spChg>
        <pc:spChg chg="mod">
          <ac:chgData name="Carlos Reyes García" userId="8f106461-3865-4cda-a443-ca56f71f97d2" providerId="ADAL" clId="{D3EFDC9E-C770-4EC4-8A5A-B4E22FBE207B}" dt="2020-02-28T22:41:30.168" v="8367" actId="21"/>
          <ac:spMkLst>
            <pc:docMk/>
            <pc:sldMk cId="1044664172" sldId="690"/>
            <ac:spMk id="4" creationId="{7C861349-E29F-4611-9D83-CB6216027F30}"/>
          </ac:spMkLst>
        </pc:spChg>
        <pc:spChg chg="add del">
          <ac:chgData name="Carlos Reyes García" userId="8f106461-3865-4cda-a443-ca56f71f97d2" providerId="ADAL" clId="{D3EFDC9E-C770-4EC4-8A5A-B4E22FBE207B}" dt="2020-02-28T22:41:34.790" v="8369" actId="12084"/>
          <ac:spMkLst>
            <pc:docMk/>
            <pc:sldMk cId="1044664172" sldId="690"/>
            <ac:spMk id="5" creationId="{08B4E92E-0E49-4CBD-9855-ABA188BC1717}"/>
          </ac:spMkLst>
        </pc:spChg>
        <pc:graphicFrameChg chg="add mod">
          <ac:chgData name="Carlos Reyes García" userId="8f106461-3865-4cda-a443-ca56f71f97d2" providerId="ADAL" clId="{D3EFDC9E-C770-4EC4-8A5A-B4E22FBE207B}" dt="2020-02-28T22:42:12.631" v="8380" actId="1076"/>
          <ac:graphicFrameMkLst>
            <pc:docMk/>
            <pc:sldMk cId="1044664172" sldId="690"/>
            <ac:graphicFrameMk id="6" creationId="{9E782462-F17D-4951-B6ED-A231ABE35517}"/>
          </ac:graphicFrameMkLst>
        </pc:graphicFrameChg>
      </pc:sldChg>
      <pc:sldChg chg="addSp delSp modSp new mod modAnim">
        <pc:chgData name="Carlos Reyes García" userId="8f106461-3865-4cda-a443-ca56f71f97d2" providerId="ADAL" clId="{D3EFDC9E-C770-4EC4-8A5A-B4E22FBE207B}" dt="2020-02-27T22:33:18.429" v="6950" actId="208"/>
        <pc:sldMkLst>
          <pc:docMk/>
          <pc:sldMk cId="3445907994" sldId="691"/>
        </pc:sldMkLst>
        <pc:spChg chg="mod">
          <ac:chgData name="Carlos Reyes García" userId="8f106461-3865-4cda-a443-ca56f71f97d2" providerId="ADAL" clId="{D3EFDC9E-C770-4EC4-8A5A-B4E22FBE207B}" dt="2020-02-27T22:32:54.382" v="6946" actId="6549"/>
          <ac:spMkLst>
            <pc:docMk/>
            <pc:sldMk cId="3445907994" sldId="691"/>
            <ac:spMk id="2" creationId="{1CFA5191-CE52-4574-9BD8-F8E72C575508}"/>
          </ac:spMkLst>
        </pc:spChg>
        <pc:spChg chg="del">
          <ac:chgData name="Carlos Reyes García" userId="8f106461-3865-4cda-a443-ca56f71f97d2" providerId="ADAL" clId="{D3EFDC9E-C770-4EC4-8A5A-B4E22FBE207B}" dt="2020-02-27T22:33:04.208" v="6947" actId="478"/>
          <ac:spMkLst>
            <pc:docMk/>
            <pc:sldMk cId="3445907994" sldId="691"/>
            <ac:spMk id="4" creationId="{A5791D8E-C616-45F8-B778-A35BAFC89E29}"/>
          </ac:spMkLst>
        </pc:spChg>
        <pc:spChg chg="add">
          <ac:chgData name="Carlos Reyes García" userId="8f106461-3865-4cda-a443-ca56f71f97d2" providerId="ADAL" clId="{D3EFDC9E-C770-4EC4-8A5A-B4E22FBE207B}" dt="2020-02-27T22:33:04.845" v="6948"/>
          <ac:spMkLst>
            <pc:docMk/>
            <pc:sldMk cId="3445907994" sldId="691"/>
            <ac:spMk id="5" creationId="{21F2C19F-4A90-4CAE-A326-CCB80C3E4285}"/>
          </ac:spMkLst>
        </pc:spChg>
        <pc:spChg chg="add mod">
          <ac:chgData name="Carlos Reyes García" userId="8f106461-3865-4cda-a443-ca56f71f97d2" providerId="ADAL" clId="{D3EFDC9E-C770-4EC4-8A5A-B4E22FBE207B}" dt="2020-02-27T22:33:18.429" v="6950" actId="208"/>
          <ac:spMkLst>
            <pc:docMk/>
            <pc:sldMk cId="3445907994" sldId="691"/>
            <ac:spMk id="6" creationId="{01D56715-3616-4CEF-99F6-D205D9E24A6C}"/>
          </ac:spMkLst>
        </pc:spChg>
        <pc:spChg chg="add mod">
          <ac:chgData name="Carlos Reyes García" userId="8f106461-3865-4cda-a443-ca56f71f97d2" providerId="ADAL" clId="{D3EFDC9E-C770-4EC4-8A5A-B4E22FBE207B}" dt="2020-02-27T22:33:18.429" v="6950" actId="208"/>
          <ac:spMkLst>
            <pc:docMk/>
            <pc:sldMk cId="3445907994" sldId="691"/>
            <ac:spMk id="7" creationId="{444B5593-DABB-42A5-892F-7C0D6FCA172F}"/>
          </ac:spMkLst>
        </pc:spChg>
        <pc:spChg chg="add mod">
          <ac:chgData name="Carlos Reyes García" userId="8f106461-3865-4cda-a443-ca56f71f97d2" providerId="ADAL" clId="{D3EFDC9E-C770-4EC4-8A5A-B4E22FBE207B}" dt="2020-02-27T22:33:18.429" v="6950" actId="208"/>
          <ac:spMkLst>
            <pc:docMk/>
            <pc:sldMk cId="3445907994" sldId="691"/>
            <ac:spMk id="8" creationId="{AC1CE6AB-0CD9-4C10-BAEC-99A21AA0292B}"/>
          </ac:spMkLst>
        </pc:spChg>
        <pc:spChg chg="add mod">
          <ac:chgData name="Carlos Reyes García" userId="8f106461-3865-4cda-a443-ca56f71f97d2" providerId="ADAL" clId="{D3EFDC9E-C770-4EC4-8A5A-B4E22FBE207B}" dt="2020-02-27T22:33:18.429" v="6950" actId="208"/>
          <ac:spMkLst>
            <pc:docMk/>
            <pc:sldMk cId="3445907994" sldId="691"/>
            <ac:spMk id="9" creationId="{5DA13BCA-DA09-48C7-B14F-EF1BAED06EB8}"/>
          </ac:spMkLst>
        </pc:spChg>
        <pc:spChg chg="add mod">
          <ac:chgData name="Carlos Reyes García" userId="8f106461-3865-4cda-a443-ca56f71f97d2" providerId="ADAL" clId="{D3EFDC9E-C770-4EC4-8A5A-B4E22FBE207B}" dt="2020-02-27T22:33:18.429" v="6950" actId="208"/>
          <ac:spMkLst>
            <pc:docMk/>
            <pc:sldMk cId="3445907994" sldId="691"/>
            <ac:spMk id="10" creationId="{42E3ACC1-073A-4CC6-A465-B15C526025EE}"/>
          </ac:spMkLst>
        </pc:spChg>
        <pc:spChg chg="add mod">
          <ac:chgData name="Carlos Reyes García" userId="8f106461-3865-4cda-a443-ca56f71f97d2" providerId="ADAL" clId="{D3EFDC9E-C770-4EC4-8A5A-B4E22FBE207B}" dt="2020-02-27T22:33:18.429" v="6950" actId="208"/>
          <ac:spMkLst>
            <pc:docMk/>
            <pc:sldMk cId="3445907994" sldId="691"/>
            <ac:spMk id="11" creationId="{A3EF40FD-907F-4FAA-9973-978636E085EA}"/>
          </ac:spMkLst>
        </pc:spChg>
        <pc:spChg chg="add mod">
          <ac:chgData name="Carlos Reyes García" userId="8f106461-3865-4cda-a443-ca56f71f97d2" providerId="ADAL" clId="{D3EFDC9E-C770-4EC4-8A5A-B4E22FBE207B}" dt="2020-02-27T22:33:18.429" v="6950" actId="208"/>
          <ac:spMkLst>
            <pc:docMk/>
            <pc:sldMk cId="3445907994" sldId="691"/>
            <ac:spMk id="12" creationId="{73603219-C880-4546-BFA6-AA0C30EAB0B1}"/>
          </ac:spMkLst>
        </pc:spChg>
        <pc:cxnChg chg="add">
          <ac:chgData name="Carlos Reyes García" userId="8f106461-3865-4cda-a443-ca56f71f97d2" providerId="ADAL" clId="{D3EFDC9E-C770-4EC4-8A5A-B4E22FBE207B}" dt="2020-02-27T22:33:04.845" v="6948"/>
          <ac:cxnSpMkLst>
            <pc:docMk/>
            <pc:sldMk cId="3445907994" sldId="691"/>
            <ac:cxnSpMk id="13" creationId="{A0DD1D9C-3EB7-4031-912A-0C36ACDD3AE5}"/>
          </ac:cxnSpMkLst>
        </pc:cxnChg>
        <pc:cxnChg chg="add">
          <ac:chgData name="Carlos Reyes García" userId="8f106461-3865-4cda-a443-ca56f71f97d2" providerId="ADAL" clId="{D3EFDC9E-C770-4EC4-8A5A-B4E22FBE207B}" dt="2020-02-27T22:33:04.845" v="6948"/>
          <ac:cxnSpMkLst>
            <pc:docMk/>
            <pc:sldMk cId="3445907994" sldId="691"/>
            <ac:cxnSpMk id="14" creationId="{2EBE5964-FC5C-44F8-9705-6A98DF3E33CF}"/>
          </ac:cxnSpMkLst>
        </pc:cxnChg>
        <pc:cxnChg chg="add">
          <ac:chgData name="Carlos Reyes García" userId="8f106461-3865-4cda-a443-ca56f71f97d2" providerId="ADAL" clId="{D3EFDC9E-C770-4EC4-8A5A-B4E22FBE207B}" dt="2020-02-27T22:33:04.845" v="6948"/>
          <ac:cxnSpMkLst>
            <pc:docMk/>
            <pc:sldMk cId="3445907994" sldId="691"/>
            <ac:cxnSpMk id="15" creationId="{07155818-C14F-4D43-A770-93DAB9FD9CF7}"/>
          </ac:cxnSpMkLst>
        </pc:cxnChg>
        <pc:cxnChg chg="add">
          <ac:chgData name="Carlos Reyes García" userId="8f106461-3865-4cda-a443-ca56f71f97d2" providerId="ADAL" clId="{D3EFDC9E-C770-4EC4-8A5A-B4E22FBE207B}" dt="2020-02-27T22:33:04.845" v="6948"/>
          <ac:cxnSpMkLst>
            <pc:docMk/>
            <pc:sldMk cId="3445907994" sldId="691"/>
            <ac:cxnSpMk id="16" creationId="{7489E4DB-BC69-4CD4-8D10-4A912D4D829A}"/>
          </ac:cxnSpMkLst>
        </pc:cxnChg>
        <pc:cxnChg chg="add">
          <ac:chgData name="Carlos Reyes García" userId="8f106461-3865-4cda-a443-ca56f71f97d2" providerId="ADAL" clId="{D3EFDC9E-C770-4EC4-8A5A-B4E22FBE207B}" dt="2020-02-27T22:33:04.845" v="6948"/>
          <ac:cxnSpMkLst>
            <pc:docMk/>
            <pc:sldMk cId="3445907994" sldId="691"/>
            <ac:cxnSpMk id="17" creationId="{4AF7E07C-BCB9-4B7F-A58D-EF2C2536EE13}"/>
          </ac:cxnSpMkLst>
        </pc:cxnChg>
        <pc:cxnChg chg="add">
          <ac:chgData name="Carlos Reyes García" userId="8f106461-3865-4cda-a443-ca56f71f97d2" providerId="ADAL" clId="{D3EFDC9E-C770-4EC4-8A5A-B4E22FBE207B}" dt="2020-02-27T22:33:04.845" v="6948"/>
          <ac:cxnSpMkLst>
            <pc:docMk/>
            <pc:sldMk cId="3445907994" sldId="691"/>
            <ac:cxnSpMk id="18" creationId="{04D15636-A3B6-4EF9-B110-060BE2C38E76}"/>
          </ac:cxnSpMkLst>
        </pc:cxnChg>
      </pc:sldChg>
      <pc:sldChg chg="addSp delSp modSp new ord modNotesTx">
        <pc:chgData name="Carlos Reyes García" userId="8f106461-3865-4cda-a443-ca56f71f97d2" providerId="ADAL" clId="{D3EFDC9E-C770-4EC4-8A5A-B4E22FBE207B}" dt="2020-02-28T22:29:59.736" v="8211" actId="14100"/>
        <pc:sldMkLst>
          <pc:docMk/>
          <pc:sldMk cId="585167659" sldId="692"/>
        </pc:sldMkLst>
        <pc:spChg chg="mod">
          <ac:chgData name="Carlos Reyes García" userId="8f106461-3865-4cda-a443-ca56f71f97d2" providerId="ADAL" clId="{D3EFDC9E-C770-4EC4-8A5A-B4E22FBE207B}" dt="2020-02-27T22:44:25.517" v="6980"/>
          <ac:spMkLst>
            <pc:docMk/>
            <pc:sldMk cId="585167659" sldId="692"/>
            <ac:spMk id="2" creationId="{CB962EC3-1097-4746-975F-4FA1BB2FE1AC}"/>
          </ac:spMkLst>
        </pc:spChg>
        <pc:spChg chg="del mod">
          <ac:chgData name="Carlos Reyes García" userId="8f106461-3865-4cda-a443-ca56f71f97d2" providerId="ADAL" clId="{D3EFDC9E-C770-4EC4-8A5A-B4E22FBE207B}" dt="2020-02-28T22:28:09.350" v="8200" actId="12084"/>
          <ac:spMkLst>
            <pc:docMk/>
            <pc:sldMk cId="585167659" sldId="692"/>
            <ac:spMk id="4" creationId="{6B835601-A3C0-4256-B721-B7EA9FE9BAA2}"/>
          </ac:spMkLst>
        </pc:spChg>
        <pc:graphicFrameChg chg="add mod">
          <ac:chgData name="Carlos Reyes García" userId="8f106461-3865-4cda-a443-ca56f71f97d2" providerId="ADAL" clId="{D3EFDC9E-C770-4EC4-8A5A-B4E22FBE207B}" dt="2020-02-28T22:29:59.736" v="8211" actId="14100"/>
          <ac:graphicFrameMkLst>
            <pc:docMk/>
            <pc:sldMk cId="585167659" sldId="692"/>
            <ac:graphicFrameMk id="5" creationId="{EE1313F9-7B12-4D52-B0D3-4624768F7EEF}"/>
          </ac:graphicFrameMkLst>
        </pc:graphicFrameChg>
      </pc:sldChg>
      <pc:sldChg chg="new del">
        <pc:chgData name="Carlos Reyes García" userId="8f106461-3865-4cda-a443-ca56f71f97d2" providerId="ADAL" clId="{D3EFDC9E-C770-4EC4-8A5A-B4E22FBE207B}" dt="2020-02-27T22:35:20.087" v="6952" actId="47"/>
        <pc:sldMkLst>
          <pc:docMk/>
          <pc:sldMk cId="1136835460" sldId="692"/>
        </pc:sldMkLst>
      </pc:sldChg>
      <pc:sldChg chg="addSp delSp modSp new del mod ord">
        <pc:chgData name="Carlos Reyes García" userId="8f106461-3865-4cda-a443-ca56f71f97d2" providerId="ADAL" clId="{D3EFDC9E-C770-4EC4-8A5A-B4E22FBE207B}" dt="2020-02-27T22:38:59.746" v="6976" actId="47"/>
        <pc:sldMkLst>
          <pc:docMk/>
          <pc:sldMk cId="1512609180" sldId="692"/>
        </pc:sldMkLst>
        <pc:spChg chg="mod">
          <ac:chgData name="Carlos Reyes García" userId="8f106461-3865-4cda-a443-ca56f71f97d2" providerId="ADAL" clId="{D3EFDC9E-C770-4EC4-8A5A-B4E22FBE207B}" dt="2020-02-27T22:35:31.525" v="6956"/>
          <ac:spMkLst>
            <pc:docMk/>
            <pc:sldMk cId="1512609180" sldId="692"/>
            <ac:spMk id="2" creationId="{18C20BA5-F8EC-4A38-9FEC-35B9D672052F}"/>
          </ac:spMkLst>
        </pc:spChg>
        <pc:spChg chg="mod">
          <ac:chgData name="Carlos Reyes García" userId="8f106461-3865-4cda-a443-ca56f71f97d2" providerId="ADAL" clId="{D3EFDC9E-C770-4EC4-8A5A-B4E22FBE207B}" dt="2020-02-27T22:38:04.346" v="6969" actId="6549"/>
          <ac:spMkLst>
            <pc:docMk/>
            <pc:sldMk cId="1512609180" sldId="692"/>
            <ac:spMk id="4" creationId="{7B732790-DDA4-4F24-9C2C-3B67309B07F8}"/>
          </ac:spMkLst>
        </pc:spChg>
        <pc:spChg chg="add del">
          <ac:chgData name="Carlos Reyes García" userId="8f106461-3865-4cda-a443-ca56f71f97d2" providerId="ADAL" clId="{D3EFDC9E-C770-4EC4-8A5A-B4E22FBE207B}" dt="2020-02-27T22:37:19.218" v="6962" actId="12084"/>
          <ac:spMkLst>
            <pc:docMk/>
            <pc:sldMk cId="1512609180" sldId="692"/>
            <ac:spMk id="5" creationId="{5095EE6E-1D33-4379-9FB7-36DD745C58D4}"/>
          </ac:spMkLst>
        </pc:spChg>
        <pc:graphicFrameChg chg="add mod">
          <ac:chgData name="Carlos Reyes García" userId="8f106461-3865-4cda-a443-ca56f71f97d2" providerId="ADAL" clId="{D3EFDC9E-C770-4EC4-8A5A-B4E22FBE207B}" dt="2020-02-27T22:38:11.606" v="6971" actId="1076"/>
          <ac:graphicFrameMkLst>
            <pc:docMk/>
            <pc:sldMk cId="1512609180" sldId="692"/>
            <ac:graphicFrameMk id="6" creationId="{3C66F01C-EC0B-4A9C-A971-E4D1CEE54C0C}"/>
          </ac:graphicFrameMkLst>
        </pc:graphicFrameChg>
      </pc:sldChg>
      <pc:sldChg chg="modSp add mod ord">
        <pc:chgData name="Carlos Reyes García" userId="8f106461-3865-4cda-a443-ca56f71f97d2" providerId="ADAL" clId="{D3EFDC9E-C770-4EC4-8A5A-B4E22FBE207B}" dt="2020-02-28T05:40:23.686" v="7064" actId="15"/>
        <pc:sldMkLst>
          <pc:docMk/>
          <pc:sldMk cId="1222556954" sldId="693"/>
        </pc:sldMkLst>
        <pc:spChg chg="mod">
          <ac:chgData name="Carlos Reyes García" userId="8f106461-3865-4cda-a443-ca56f71f97d2" providerId="ADAL" clId="{D3EFDC9E-C770-4EC4-8A5A-B4E22FBE207B}" dt="2020-02-28T05:40:23.686" v="7064" actId="15"/>
          <ac:spMkLst>
            <pc:docMk/>
            <pc:sldMk cId="1222556954" sldId="693"/>
            <ac:spMk id="4" creationId="{EB8FEEE0-7D03-497F-99E3-2992983D127E}"/>
          </ac:spMkLst>
        </pc:spChg>
      </pc:sldChg>
      <pc:sldChg chg="addSp delSp modSp add mod">
        <pc:chgData name="Carlos Reyes García" userId="8f106461-3865-4cda-a443-ca56f71f97d2" providerId="ADAL" clId="{D3EFDC9E-C770-4EC4-8A5A-B4E22FBE207B}" dt="2020-02-28T05:51:04.293" v="7551" actId="478"/>
        <pc:sldMkLst>
          <pc:docMk/>
          <pc:sldMk cId="1931137737" sldId="694"/>
        </pc:sldMkLst>
        <pc:spChg chg="mod">
          <ac:chgData name="Carlos Reyes García" userId="8f106461-3865-4cda-a443-ca56f71f97d2" providerId="ADAL" clId="{D3EFDC9E-C770-4EC4-8A5A-B4E22FBE207B}" dt="2020-02-28T05:43:27.018" v="7066"/>
          <ac:spMkLst>
            <pc:docMk/>
            <pc:sldMk cId="1931137737" sldId="694"/>
            <ac:spMk id="2" creationId="{EB67312A-9819-43C6-8D84-D9136E6CFFCC}"/>
          </ac:spMkLst>
        </pc:spChg>
        <pc:spChg chg="mod">
          <ac:chgData name="Carlos Reyes García" userId="8f106461-3865-4cda-a443-ca56f71f97d2" providerId="ADAL" clId="{D3EFDC9E-C770-4EC4-8A5A-B4E22FBE207B}" dt="2020-02-28T05:49:28.265" v="7547" actId="20577"/>
          <ac:spMkLst>
            <pc:docMk/>
            <pc:sldMk cId="1931137737" sldId="694"/>
            <ac:spMk id="15" creationId="{211413AE-8D61-469A-A381-96558B10C230}"/>
          </ac:spMkLst>
        </pc:spChg>
        <pc:picChg chg="del">
          <ac:chgData name="Carlos Reyes García" userId="8f106461-3865-4cda-a443-ca56f71f97d2" providerId="ADAL" clId="{D3EFDC9E-C770-4EC4-8A5A-B4E22FBE207B}" dt="2020-02-28T05:44:51.986" v="7067" actId="478"/>
          <ac:picMkLst>
            <pc:docMk/>
            <pc:sldMk cId="1931137737" sldId="694"/>
            <ac:picMk id="4" creationId="{60E89AD2-297D-4B37-A2E9-45CE76DAEADB}"/>
          </ac:picMkLst>
        </pc:picChg>
        <pc:picChg chg="add del mod ord">
          <ac:chgData name="Carlos Reyes García" userId="8f106461-3865-4cda-a443-ca56f71f97d2" providerId="ADAL" clId="{D3EFDC9E-C770-4EC4-8A5A-B4E22FBE207B}" dt="2020-02-28T05:51:04.293" v="7551" actId="478"/>
          <ac:picMkLst>
            <pc:docMk/>
            <pc:sldMk cId="1931137737" sldId="694"/>
            <ac:picMk id="5" creationId="{CBA36C50-CEEE-4102-9CFE-5A1A8E2FF4F4}"/>
          </ac:picMkLst>
        </pc:picChg>
        <pc:picChg chg="add mod ord">
          <ac:chgData name="Carlos Reyes García" userId="8f106461-3865-4cda-a443-ca56f71f97d2" providerId="ADAL" clId="{D3EFDC9E-C770-4EC4-8A5A-B4E22FBE207B}" dt="2020-02-28T05:51:00.873" v="7550" actId="167"/>
          <ac:picMkLst>
            <pc:docMk/>
            <pc:sldMk cId="1931137737" sldId="694"/>
            <ac:picMk id="6" creationId="{7A5B8A7D-B897-4415-AB15-F339A3385AD3}"/>
          </ac:picMkLst>
        </pc:picChg>
        <pc:picChg chg="del">
          <ac:chgData name="Carlos Reyes García" userId="8f106461-3865-4cda-a443-ca56f71f97d2" providerId="ADAL" clId="{D3EFDC9E-C770-4EC4-8A5A-B4E22FBE207B}" dt="2020-02-28T05:44:54.908" v="7070" actId="478"/>
          <ac:picMkLst>
            <pc:docMk/>
            <pc:sldMk cId="1931137737" sldId="694"/>
            <ac:picMk id="13" creationId="{E5CB7015-BEDA-44A0-BCF3-4957F54980A8}"/>
          </ac:picMkLst>
        </pc:picChg>
        <pc:picChg chg="del">
          <ac:chgData name="Carlos Reyes García" userId="8f106461-3865-4cda-a443-ca56f71f97d2" providerId="ADAL" clId="{D3EFDC9E-C770-4EC4-8A5A-B4E22FBE207B}" dt="2020-02-28T05:44:52.903" v="7068" actId="478"/>
          <ac:picMkLst>
            <pc:docMk/>
            <pc:sldMk cId="1931137737" sldId="694"/>
            <ac:picMk id="1026" creationId="{C50DECDF-CD18-42CB-8AA9-32C7170BD887}"/>
          </ac:picMkLst>
        </pc:picChg>
        <pc:cxnChg chg="del mod">
          <ac:chgData name="Carlos Reyes García" userId="8f106461-3865-4cda-a443-ca56f71f97d2" providerId="ADAL" clId="{D3EFDC9E-C770-4EC4-8A5A-B4E22FBE207B}" dt="2020-02-28T05:45:03.307" v="7073" actId="478"/>
          <ac:cxnSpMkLst>
            <pc:docMk/>
            <pc:sldMk cId="1931137737" sldId="694"/>
            <ac:cxnSpMk id="16" creationId="{95F87E3D-4B35-4430-A3B4-3AB6F3414141}"/>
          </ac:cxnSpMkLst>
        </pc:cxnChg>
        <pc:cxnChg chg="del">
          <ac:chgData name="Carlos Reyes García" userId="8f106461-3865-4cda-a443-ca56f71f97d2" providerId="ADAL" clId="{D3EFDC9E-C770-4EC4-8A5A-B4E22FBE207B}" dt="2020-02-28T05:44:54.103" v="7069" actId="478"/>
          <ac:cxnSpMkLst>
            <pc:docMk/>
            <pc:sldMk cId="1931137737" sldId="694"/>
            <ac:cxnSpMk id="21" creationId="{460EA17A-3E41-4295-B15B-E1EE177E158C}"/>
          </ac:cxnSpMkLst>
        </pc:cxnChg>
      </pc:sldChg>
      <pc:sldChg chg="addSp delSp modSp add mod">
        <pc:chgData name="Carlos Reyes García" userId="8f106461-3865-4cda-a443-ca56f71f97d2" providerId="ADAL" clId="{D3EFDC9E-C770-4EC4-8A5A-B4E22FBE207B}" dt="2020-02-28T06:05:10.371" v="7652"/>
        <pc:sldMkLst>
          <pc:docMk/>
          <pc:sldMk cId="2827335886" sldId="695"/>
        </pc:sldMkLst>
        <pc:spChg chg="mod">
          <ac:chgData name="Carlos Reyes García" userId="8f106461-3865-4cda-a443-ca56f71f97d2" providerId="ADAL" clId="{D3EFDC9E-C770-4EC4-8A5A-B4E22FBE207B}" dt="2020-02-28T06:05:10.371" v="7652"/>
          <ac:spMkLst>
            <pc:docMk/>
            <pc:sldMk cId="2827335886" sldId="695"/>
            <ac:spMk id="15" creationId="{211413AE-8D61-469A-A381-96558B10C230}"/>
          </ac:spMkLst>
        </pc:spChg>
        <pc:picChg chg="add mod">
          <ac:chgData name="Carlos Reyes García" userId="8f106461-3865-4cda-a443-ca56f71f97d2" providerId="ADAL" clId="{D3EFDC9E-C770-4EC4-8A5A-B4E22FBE207B}" dt="2020-02-28T06:04:37.552" v="7645" actId="1038"/>
          <ac:picMkLst>
            <pc:docMk/>
            <pc:sldMk cId="2827335886" sldId="695"/>
            <ac:picMk id="4" creationId="{725988E3-7DC9-415B-9CE9-7801773EF0AB}"/>
          </ac:picMkLst>
        </pc:picChg>
        <pc:picChg chg="add mod">
          <ac:chgData name="Carlos Reyes García" userId="8f106461-3865-4cda-a443-ca56f71f97d2" providerId="ADAL" clId="{D3EFDC9E-C770-4EC4-8A5A-B4E22FBE207B}" dt="2020-02-28T06:04:58.171" v="7647" actId="1076"/>
          <ac:picMkLst>
            <pc:docMk/>
            <pc:sldMk cId="2827335886" sldId="695"/>
            <ac:picMk id="5" creationId="{6D1B6042-13BD-4AFC-BC93-B0A94179033F}"/>
          </ac:picMkLst>
        </pc:picChg>
        <pc:picChg chg="del">
          <ac:chgData name="Carlos Reyes García" userId="8f106461-3865-4cda-a443-ca56f71f97d2" providerId="ADAL" clId="{D3EFDC9E-C770-4EC4-8A5A-B4E22FBE207B}" dt="2020-02-28T05:57:39.915" v="7553" actId="478"/>
          <ac:picMkLst>
            <pc:docMk/>
            <pc:sldMk cId="2827335886" sldId="695"/>
            <ac:picMk id="6" creationId="{7A5B8A7D-B897-4415-AB15-F339A3385AD3}"/>
          </ac:picMkLst>
        </pc:picChg>
      </pc:sldChg>
      <pc:sldChg chg="addSp delSp modSp new mod modNotesTx">
        <pc:chgData name="Carlos Reyes García" userId="8f106461-3865-4cda-a443-ca56f71f97d2" providerId="ADAL" clId="{D3EFDC9E-C770-4EC4-8A5A-B4E22FBE207B}" dt="2020-03-03T02:53:10.260" v="11604" actId="20577"/>
        <pc:sldMkLst>
          <pc:docMk/>
          <pc:sldMk cId="3063153254" sldId="696"/>
        </pc:sldMkLst>
        <pc:spChg chg="mod">
          <ac:chgData name="Carlos Reyes García" userId="8f106461-3865-4cda-a443-ca56f71f97d2" providerId="ADAL" clId="{D3EFDC9E-C770-4EC4-8A5A-B4E22FBE207B}" dt="2020-02-28T21:27:06.454" v="7785" actId="20577"/>
          <ac:spMkLst>
            <pc:docMk/>
            <pc:sldMk cId="3063153254" sldId="696"/>
            <ac:spMk id="2" creationId="{93B8A72A-7AFE-4B76-9FFB-48312C3F9641}"/>
          </ac:spMkLst>
        </pc:spChg>
        <pc:spChg chg="del">
          <ac:chgData name="Carlos Reyes García" userId="8f106461-3865-4cda-a443-ca56f71f97d2" providerId="ADAL" clId="{D3EFDC9E-C770-4EC4-8A5A-B4E22FBE207B}" dt="2020-02-28T21:27:37.260" v="7786" actId="3680"/>
          <ac:spMkLst>
            <pc:docMk/>
            <pc:sldMk cId="3063153254" sldId="696"/>
            <ac:spMk id="4" creationId="{542B081D-EAD9-4CB2-BCEF-C692CE1D8F9A}"/>
          </ac:spMkLst>
        </pc:spChg>
        <pc:spChg chg="add del">
          <ac:chgData name="Carlos Reyes García" userId="8f106461-3865-4cda-a443-ca56f71f97d2" providerId="ADAL" clId="{D3EFDC9E-C770-4EC4-8A5A-B4E22FBE207B}" dt="2020-02-28T21:28:11.396" v="7790" actId="12084"/>
          <ac:spMkLst>
            <pc:docMk/>
            <pc:sldMk cId="3063153254" sldId="696"/>
            <ac:spMk id="7" creationId="{27C5F265-9E1D-407C-9FE6-7232A92818CA}"/>
          </ac:spMkLst>
        </pc:spChg>
        <pc:graphicFrameChg chg="add mod ord modGraphic">
          <ac:chgData name="Carlos Reyes García" userId="8f106461-3865-4cda-a443-ca56f71f97d2" providerId="ADAL" clId="{D3EFDC9E-C770-4EC4-8A5A-B4E22FBE207B}" dt="2020-02-28T21:27:43.084" v="7788" actId="12385"/>
          <ac:graphicFrameMkLst>
            <pc:docMk/>
            <pc:sldMk cId="3063153254" sldId="696"/>
            <ac:graphicFrameMk id="5" creationId="{EC86D27A-8B18-42B7-81D9-F0811600F100}"/>
          </ac:graphicFrameMkLst>
        </pc:graphicFrameChg>
        <pc:graphicFrameChg chg="add mod">
          <ac:chgData name="Carlos Reyes García" userId="8f106461-3865-4cda-a443-ca56f71f97d2" providerId="ADAL" clId="{D3EFDC9E-C770-4EC4-8A5A-B4E22FBE207B}" dt="2020-02-28T22:48:27.579" v="8430" actId="12100"/>
          <ac:graphicFrameMkLst>
            <pc:docMk/>
            <pc:sldMk cId="3063153254" sldId="696"/>
            <ac:graphicFrameMk id="8" creationId="{A7EE6CFF-945F-43A0-998B-B11DE045A313}"/>
          </ac:graphicFrameMkLst>
        </pc:graphicFrameChg>
      </pc:sldChg>
      <pc:sldChg chg="addSp delSp modSp new mod modNotesTx">
        <pc:chgData name="Carlos Reyes García" userId="8f106461-3865-4cda-a443-ca56f71f97d2" providerId="ADAL" clId="{D3EFDC9E-C770-4EC4-8A5A-B4E22FBE207B}" dt="2020-03-03T02:52:33.122" v="11602" actId="12"/>
        <pc:sldMkLst>
          <pc:docMk/>
          <pc:sldMk cId="2947359390" sldId="697"/>
        </pc:sldMkLst>
        <pc:spChg chg="mod">
          <ac:chgData name="Carlos Reyes García" userId="8f106461-3865-4cda-a443-ca56f71f97d2" providerId="ADAL" clId="{D3EFDC9E-C770-4EC4-8A5A-B4E22FBE207B}" dt="2020-02-28T21:36:16.732" v="7856"/>
          <ac:spMkLst>
            <pc:docMk/>
            <pc:sldMk cId="2947359390" sldId="697"/>
            <ac:spMk id="2" creationId="{A9F2BA8D-B686-4596-A141-0D96C54F1F26}"/>
          </ac:spMkLst>
        </pc:spChg>
        <pc:spChg chg="del mod">
          <ac:chgData name="Carlos Reyes García" userId="8f106461-3865-4cda-a443-ca56f71f97d2" providerId="ADAL" clId="{D3EFDC9E-C770-4EC4-8A5A-B4E22FBE207B}" dt="2020-02-28T21:58:22.400" v="8016" actId="12084"/>
          <ac:spMkLst>
            <pc:docMk/>
            <pc:sldMk cId="2947359390" sldId="697"/>
            <ac:spMk id="4" creationId="{95E1519C-7259-425C-99F1-24F3EA5ED36C}"/>
          </ac:spMkLst>
        </pc:spChg>
        <pc:graphicFrameChg chg="add mod">
          <ac:chgData name="Carlos Reyes García" userId="8f106461-3865-4cda-a443-ca56f71f97d2" providerId="ADAL" clId="{D3EFDC9E-C770-4EC4-8A5A-B4E22FBE207B}" dt="2020-02-28T22:48:46.736" v="8432" actId="404"/>
          <ac:graphicFrameMkLst>
            <pc:docMk/>
            <pc:sldMk cId="2947359390" sldId="697"/>
            <ac:graphicFrameMk id="5" creationId="{E2091831-A0CF-4E08-8116-37E2BBC99DB7}"/>
          </ac:graphicFrameMkLst>
        </pc:graphicFrameChg>
      </pc:sldChg>
      <pc:sldChg chg="modSp add del mod">
        <pc:chgData name="Carlos Reyes García" userId="8f106461-3865-4cda-a443-ca56f71f97d2" providerId="ADAL" clId="{D3EFDC9E-C770-4EC4-8A5A-B4E22FBE207B}" dt="2020-02-28T22:49:38.477" v="8436" actId="47"/>
        <pc:sldMkLst>
          <pc:docMk/>
          <pc:sldMk cId="1393924244" sldId="698"/>
        </pc:sldMkLst>
        <pc:spChg chg="mod">
          <ac:chgData name="Carlos Reyes García" userId="8f106461-3865-4cda-a443-ca56f71f97d2" providerId="ADAL" clId="{D3EFDC9E-C770-4EC4-8A5A-B4E22FBE207B}" dt="2020-02-28T21:54:20.384" v="7901" actId="21"/>
          <ac:spMkLst>
            <pc:docMk/>
            <pc:sldMk cId="1393924244" sldId="698"/>
            <ac:spMk id="4" creationId="{95E1519C-7259-425C-99F1-24F3EA5ED36C}"/>
          </ac:spMkLst>
        </pc:spChg>
      </pc:sldChg>
      <pc:sldChg chg="add">
        <pc:chgData name="Carlos Reyes García" userId="8f106461-3865-4cda-a443-ca56f71f97d2" providerId="ADAL" clId="{D3EFDC9E-C770-4EC4-8A5A-B4E22FBE207B}" dt="2020-02-28T22:08:50.716" v="8126"/>
        <pc:sldMkLst>
          <pc:docMk/>
          <pc:sldMk cId="2794789996" sldId="699"/>
        </pc:sldMkLst>
      </pc:sldChg>
      <pc:sldChg chg="addSp delSp modSp new mod modNotesTx">
        <pc:chgData name="Carlos Reyes García" userId="8f106461-3865-4cda-a443-ca56f71f97d2" providerId="ADAL" clId="{D3EFDC9E-C770-4EC4-8A5A-B4E22FBE207B}" dt="2020-03-03T02:51:44.349" v="11599" actId="5793"/>
        <pc:sldMkLst>
          <pc:docMk/>
          <pc:sldMk cId="2253491729" sldId="700"/>
        </pc:sldMkLst>
        <pc:spChg chg="mod">
          <ac:chgData name="Carlos Reyes García" userId="8f106461-3865-4cda-a443-ca56f71f97d2" providerId="ADAL" clId="{D3EFDC9E-C770-4EC4-8A5A-B4E22FBE207B}" dt="2020-02-28T23:06:02.332" v="8449"/>
          <ac:spMkLst>
            <pc:docMk/>
            <pc:sldMk cId="2253491729" sldId="700"/>
            <ac:spMk id="2" creationId="{F9611247-9F89-41BF-9833-A4CE5410B71D}"/>
          </ac:spMkLst>
        </pc:spChg>
        <pc:spChg chg="mod">
          <ac:chgData name="Carlos Reyes García" userId="8f106461-3865-4cda-a443-ca56f71f97d2" providerId="ADAL" clId="{D3EFDC9E-C770-4EC4-8A5A-B4E22FBE207B}" dt="2020-02-28T23:06:12.436" v="8450"/>
          <ac:spMkLst>
            <pc:docMk/>
            <pc:sldMk cId="2253491729" sldId="700"/>
            <ac:spMk id="3" creationId="{D36BB783-07B8-4AD0-A639-C2D9266F6456}"/>
          </ac:spMkLst>
        </pc:spChg>
        <pc:spChg chg="add del mod">
          <ac:chgData name="Carlos Reyes García" userId="8f106461-3865-4cda-a443-ca56f71f97d2" providerId="ADAL" clId="{D3EFDC9E-C770-4EC4-8A5A-B4E22FBE207B}" dt="2020-02-29T01:10:07.399" v="9240" actId="12084"/>
          <ac:spMkLst>
            <pc:docMk/>
            <pc:sldMk cId="2253491729" sldId="700"/>
            <ac:spMk id="4" creationId="{9213652A-EFDA-44E7-85B4-8893ADD74B3E}"/>
          </ac:spMkLst>
        </pc:spChg>
        <pc:graphicFrameChg chg="add del mod">
          <ac:chgData name="Carlos Reyes García" userId="8f106461-3865-4cda-a443-ca56f71f97d2" providerId="ADAL" clId="{D3EFDC9E-C770-4EC4-8A5A-B4E22FBE207B}" dt="2020-02-29T01:03:40.657" v="9223" actId="12084"/>
          <ac:graphicFrameMkLst>
            <pc:docMk/>
            <pc:sldMk cId="2253491729" sldId="700"/>
            <ac:graphicFrameMk id="5" creationId="{DA23576A-31F6-4C66-B43D-222D46996455}"/>
          </ac:graphicFrameMkLst>
        </pc:graphicFrameChg>
        <pc:graphicFrameChg chg="add del mod">
          <ac:chgData name="Carlos Reyes García" userId="8f106461-3865-4cda-a443-ca56f71f97d2" providerId="ADAL" clId="{D3EFDC9E-C770-4EC4-8A5A-B4E22FBE207B}" dt="2020-02-29T01:05:00.711" v="9229" actId="12084"/>
          <ac:graphicFrameMkLst>
            <pc:docMk/>
            <pc:sldMk cId="2253491729" sldId="700"/>
            <ac:graphicFrameMk id="6" creationId="{8855F761-9209-4D73-B4C0-B44D92C69B36}"/>
          </ac:graphicFrameMkLst>
        </pc:graphicFrameChg>
        <pc:graphicFrameChg chg="add del mod">
          <ac:chgData name="Carlos Reyes García" userId="8f106461-3865-4cda-a443-ca56f71f97d2" providerId="ADAL" clId="{D3EFDC9E-C770-4EC4-8A5A-B4E22FBE207B}" dt="2020-02-29T01:06:52.630" v="9231" actId="12084"/>
          <ac:graphicFrameMkLst>
            <pc:docMk/>
            <pc:sldMk cId="2253491729" sldId="700"/>
            <ac:graphicFrameMk id="7" creationId="{C049706A-D4B9-4DEE-BCD8-8EF70420AF9F}"/>
          </ac:graphicFrameMkLst>
        </pc:graphicFrameChg>
        <pc:graphicFrameChg chg="add mod">
          <ac:chgData name="Carlos Reyes García" userId="8f106461-3865-4cda-a443-ca56f71f97d2" providerId="ADAL" clId="{D3EFDC9E-C770-4EC4-8A5A-B4E22FBE207B}" dt="2020-02-29T01:11:10.241" v="9246" actId="20577"/>
          <ac:graphicFrameMkLst>
            <pc:docMk/>
            <pc:sldMk cId="2253491729" sldId="700"/>
            <ac:graphicFrameMk id="8" creationId="{CCC48916-0DD2-4211-871E-6E8C9B800B6E}"/>
          </ac:graphicFrameMkLst>
        </pc:graphicFrameChg>
      </pc:sldChg>
      <pc:sldChg chg="addSp delSp modSp new mod">
        <pc:chgData name="Carlos Reyes García" userId="8f106461-3865-4cda-a443-ca56f71f97d2" providerId="ADAL" clId="{D3EFDC9E-C770-4EC4-8A5A-B4E22FBE207B}" dt="2020-02-28T23:34:02.643" v="8600" actId="27636"/>
        <pc:sldMkLst>
          <pc:docMk/>
          <pc:sldMk cId="3967432046" sldId="701"/>
        </pc:sldMkLst>
        <pc:spChg chg="mod">
          <ac:chgData name="Carlos Reyes García" userId="8f106461-3865-4cda-a443-ca56f71f97d2" providerId="ADAL" clId="{D3EFDC9E-C770-4EC4-8A5A-B4E22FBE207B}" dt="2020-02-28T23:15:46.853" v="8518"/>
          <ac:spMkLst>
            <pc:docMk/>
            <pc:sldMk cId="3967432046" sldId="701"/>
            <ac:spMk id="2" creationId="{F41DF63D-FDEA-4537-9B4D-DBBC3291D3A4}"/>
          </ac:spMkLst>
        </pc:spChg>
        <pc:spChg chg="mod">
          <ac:chgData name="Carlos Reyes García" userId="8f106461-3865-4cda-a443-ca56f71f97d2" providerId="ADAL" clId="{D3EFDC9E-C770-4EC4-8A5A-B4E22FBE207B}" dt="2020-02-28T23:15:38.206" v="8516"/>
          <ac:spMkLst>
            <pc:docMk/>
            <pc:sldMk cId="3967432046" sldId="701"/>
            <ac:spMk id="3" creationId="{D5BFB836-1B09-42FB-B0DB-CD753E509C49}"/>
          </ac:spMkLst>
        </pc:spChg>
        <pc:spChg chg="mod">
          <ac:chgData name="Carlos Reyes García" userId="8f106461-3865-4cda-a443-ca56f71f97d2" providerId="ADAL" clId="{D3EFDC9E-C770-4EC4-8A5A-B4E22FBE207B}" dt="2020-02-28T23:34:02.643" v="8600" actId="27636"/>
          <ac:spMkLst>
            <pc:docMk/>
            <pc:sldMk cId="3967432046" sldId="701"/>
            <ac:spMk id="4" creationId="{04377342-784F-4985-84B3-67FB3795FB37}"/>
          </ac:spMkLst>
        </pc:spChg>
        <pc:spChg chg="add del">
          <ac:chgData name="Carlos Reyes García" userId="8f106461-3865-4cda-a443-ca56f71f97d2" providerId="ADAL" clId="{D3EFDC9E-C770-4EC4-8A5A-B4E22FBE207B}" dt="2020-02-28T23:32:48.846" v="8579"/>
          <ac:spMkLst>
            <pc:docMk/>
            <pc:sldMk cId="3967432046" sldId="701"/>
            <ac:spMk id="7" creationId="{7B0BB765-D28A-45C2-905A-39D6F60B59BD}"/>
          </ac:spMkLst>
        </pc:spChg>
        <pc:picChg chg="add mod">
          <ac:chgData name="Carlos Reyes García" userId="8f106461-3865-4cda-a443-ca56f71f97d2" providerId="ADAL" clId="{D3EFDC9E-C770-4EC4-8A5A-B4E22FBE207B}" dt="2020-02-28T23:33:58.982" v="8598" actId="1076"/>
          <ac:picMkLst>
            <pc:docMk/>
            <pc:sldMk cId="3967432046" sldId="701"/>
            <ac:picMk id="6" creationId="{1C9FB71D-4A80-4272-BD4C-C7FA4A461FC4}"/>
          </ac:picMkLst>
        </pc:picChg>
      </pc:sldChg>
      <pc:sldChg chg="add del">
        <pc:chgData name="Carlos Reyes García" userId="8f106461-3865-4cda-a443-ca56f71f97d2" providerId="ADAL" clId="{D3EFDC9E-C770-4EC4-8A5A-B4E22FBE207B}" dt="2020-02-28T23:51:41.101" v="8634" actId="47"/>
        <pc:sldMkLst>
          <pc:docMk/>
          <pc:sldMk cId="4229154635" sldId="702"/>
        </pc:sldMkLst>
      </pc:sldChg>
      <pc:sldChg chg="addSp delSp modSp add mod modNotesTx">
        <pc:chgData name="Carlos Reyes García" userId="8f106461-3865-4cda-a443-ca56f71f97d2" providerId="ADAL" clId="{D3EFDC9E-C770-4EC4-8A5A-B4E22FBE207B}" dt="2020-03-03T02:50:04.495" v="11596" actId="5793"/>
        <pc:sldMkLst>
          <pc:docMk/>
          <pc:sldMk cId="4197261083" sldId="703"/>
        </pc:sldMkLst>
        <pc:spChg chg="mod">
          <ac:chgData name="Carlos Reyes García" userId="8f106461-3865-4cda-a443-ca56f71f97d2" providerId="ADAL" clId="{D3EFDC9E-C770-4EC4-8A5A-B4E22FBE207B}" dt="2020-02-28T23:51:59.110" v="8635"/>
          <ac:spMkLst>
            <pc:docMk/>
            <pc:sldMk cId="4197261083" sldId="703"/>
            <ac:spMk id="3" creationId="{D36BB783-07B8-4AD0-A639-C2D9266F6456}"/>
          </ac:spMkLst>
        </pc:spChg>
        <pc:spChg chg="add del mod">
          <ac:chgData name="Carlos Reyes García" userId="8f106461-3865-4cda-a443-ca56f71f97d2" providerId="ADAL" clId="{D3EFDC9E-C770-4EC4-8A5A-B4E22FBE207B}" dt="2020-02-29T00:55:33.357" v="9191" actId="21"/>
          <ac:spMkLst>
            <pc:docMk/>
            <pc:sldMk cId="4197261083" sldId="703"/>
            <ac:spMk id="4" creationId="{9213652A-EFDA-44E7-85B4-8893ADD74B3E}"/>
          </ac:spMkLst>
        </pc:spChg>
        <pc:spChg chg="add del mod">
          <ac:chgData name="Carlos Reyes García" userId="8f106461-3865-4cda-a443-ca56f71f97d2" providerId="ADAL" clId="{D3EFDC9E-C770-4EC4-8A5A-B4E22FBE207B}" dt="2020-02-29T00:49:10.917" v="9178" actId="12084"/>
          <ac:spMkLst>
            <pc:docMk/>
            <pc:sldMk cId="4197261083" sldId="703"/>
            <ac:spMk id="5" creationId="{D14633EC-E8E9-4183-9805-9974C9CB673D}"/>
          </ac:spMkLst>
        </pc:spChg>
        <pc:graphicFrameChg chg="add mod">
          <ac:chgData name="Carlos Reyes García" userId="8f106461-3865-4cda-a443-ca56f71f97d2" providerId="ADAL" clId="{D3EFDC9E-C770-4EC4-8A5A-B4E22FBE207B}" dt="2020-02-29T01:07:19.914" v="9237" actId="14100"/>
          <ac:graphicFrameMkLst>
            <pc:docMk/>
            <pc:sldMk cId="4197261083" sldId="703"/>
            <ac:graphicFrameMk id="6" creationId="{301F672D-67ED-4604-BB6A-C9620676B49E}"/>
          </ac:graphicFrameMkLst>
        </pc:graphicFrameChg>
      </pc:sldChg>
      <pc:sldChg chg="addSp delSp modSp new mod modNotesTx">
        <pc:chgData name="Carlos Reyes García" userId="8f106461-3865-4cda-a443-ca56f71f97d2" providerId="ADAL" clId="{D3EFDC9E-C770-4EC4-8A5A-B4E22FBE207B}" dt="2020-03-03T02:55:37.250" v="11609" actId="20577"/>
        <pc:sldMkLst>
          <pc:docMk/>
          <pc:sldMk cId="241800346" sldId="704"/>
        </pc:sldMkLst>
        <pc:spChg chg="mod">
          <ac:chgData name="Carlos Reyes García" userId="8f106461-3865-4cda-a443-ca56f71f97d2" providerId="ADAL" clId="{D3EFDC9E-C770-4EC4-8A5A-B4E22FBE207B}" dt="2020-02-29T00:20:33.878" v="8816"/>
          <ac:spMkLst>
            <pc:docMk/>
            <pc:sldMk cId="241800346" sldId="704"/>
            <ac:spMk id="2" creationId="{D0655443-3A8B-474A-A0B6-27739179DE8F}"/>
          </ac:spMkLst>
        </pc:spChg>
        <pc:spChg chg="del mod">
          <ac:chgData name="Carlos Reyes García" userId="8f106461-3865-4cda-a443-ca56f71f97d2" providerId="ADAL" clId="{D3EFDC9E-C770-4EC4-8A5A-B4E22FBE207B}" dt="2020-02-29T00:22:13.025" v="8948" actId="12084"/>
          <ac:spMkLst>
            <pc:docMk/>
            <pc:sldMk cId="241800346" sldId="704"/>
            <ac:spMk id="4" creationId="{4BF6571F-C03A-430D-8B11-A8E0A42160FC}"/>
          </ac:spMkLst>
        </pc:spChg>
        <pc:graphicFrameChg chg="add mod">
          <ac:chgData name="Carlos Reyes García" userId="8f106461-3865-4cda-a443-ca56f71f97d2" providerId="ADAL" clId="{D3EFDC9E-C770-4EC4-8A5A-B4E22FBE207B}" dt="2020-02-29T00:29:53.354" v="8973" actId="14100"/>
          <ac:graphicFrameMkLst>
            <pc:docMk/>
            <pc:sldMk cId="241800346" sldId="704"/>
            <ac:graphicFrameMk id="5" creationId="{04CBBDA1-E1FB-4E16-BE17-7A07D75BC01B}"/>
          </ac:graphicFrameMkLst>
        </pc:graphicFrameChg>
      </pc:sldChg>
      <pc:sldChg chg="addSp delSp modSp new mod modNotesTx">
        <pc:chgData name="Carlos Reyes García" userId="8f106461-3865-4cda-a443-ca56f71f97d2" providerId="ADAL" clId="{D3EFDC9E-C770-4EC4-8A5A-B4E22FBE207B}" dt="2020-03-03T02:55:19.551" v="11606" actId="20577"/>
        <pc:sldMkLst>
          <pc:docMk/>
          <pc:sldMk cId="3631232456" sldId="705"/>
        </pc:sldMkLst>
        <pc:spChg chg="mod">
          <ac:chgData name="Carlos Reyes García" userId="8f106461-3865-4cda-a443-ca56f71f97d2" providerId="ADAL" clId="{D3EFDC9E-C770-4EC4-8A5A-B4E22FBE207B}" dt="2020-02-29T00:37:28.691" v="9075" actId="20577"/>
          <ac:spMkLst>
            <pc:docMk/>
            <pc:sldMk cId="3631232456" sldId="705"/>
            <ac:spMk id="2" creationId="{B64F1B8C-92DF-49A1-9556-51CAD9105FF9}"/>
          </ac:spMkLst>
        </pc:spChg>
        <pc:spChg chg="del mod">
          <ac:chgData name="Carlos Reyes García" userId="8f106461-3865-4cda-a443-ca56f71f97d2" providerId="ADAL" clId="{D3EFDC9E-C770-4EC4-8A5A-B4E22FBE207B}" dt="2020-02-29T00:34:30.830" v="9046" actId="12084"/>
          <ac:spMkLst>
            <pc:docMk/>
            <pc:sldMk cId="3631232456" sldId="705"/>
            <ac:spMk id="4" creationId="{64EAD3C6-604F-455D-B94D-D3EC17775330}"/>
          </ac:spMkLst>
        </pc:spChg>
        <pc:graphicFrameChg chg="add mod">
          <ac:chgData name="Carlos Reyes García" userId="8f106461-3865-4cda-a443-ca56f71f97d2" providerId="ADAL" clId="{D3EFDC9E-C770-4EC4-8A5A-B4E22FBE207B}" dt="2020-02-29T00:40:27.480" v="9087" actId="255"/>
          <ac:graphicFrameMkLst>
            <pc:docMk/>
            <pc:sldMk cId="3631232456" sldId="705"/>
            <ac:graphicFrameMk id="5" creationId="{E833510A-A091-4440-96D0-AFFAB6B3D994}"/>
          </ac:graphicFrameMkLst>
        </pc:graphicFrameChg>
      </pc:sldChg>
      <pc:sldChg chg="new del">
        <pc:chgData name="Carlos Reyes García" userId="8f106461-3865-4cda-a443-ca56f71f97d2" providerId="ADAL" clId="{D3EFDC9E-C770-4EC4-8A5A-B4E22FBE207B}" dt="2020-02-29T01:30:56.554" v="9390" actId="47"/>
        <pc:sldMkLst>
          <pc:docMk/>
          <pc:sldMk cId="1240153234" sldId="706"/>
        </pc:sldMkLst>
      </pc:sldChg>
      <pc:sldChg chg="addSp delSp modSp add mod">
        <pc:chgData name="Carlos Reyes García" userId="8f106461-3865-4cda-a443-ca56f71f97d2" providerId="ADAL" clId="{D3EFDC9E-C770-4EC4-8A5A-B4E22FBE207B}" dt="2020-02-29T05:41:11.954" v="10054" actId="113"/>
        <pc:sldMkLst>
          <pc:docMk/>
          <pc:sldMk cId="3206166708" sldId="706"/>
        </pc:sldMkLst>
        <pc:spChg chg="mod">
          <ac:chgData name="Carlos Reyes García" userId="8f106461-3865-4cda-a443-ca56f71f97d2" providerId="ADAL" clId="{D3EFDC9E-C770-4EC4-8A5A-B4E22FBE207B}" dt="2020-02-29T05:28:37.780" v="9424"/>
          <ac:spMkLst>
            <pc:docMk/>
            <pc:sldMk cId="3206166708" sldId="706"/>
            <ac:spMk id="2" creationId="{EB67312A-9819-43C6-8D84-D9136E6CFFCC}"/>
          </ac:spMkLst>
        </pc:spChg>
        <pc:spChg chg="add del mod">
          <ac:chgData name="Carlos Reyes García" userId="8f106461-3865-4cda-a443-ca56f71f97d2" providerId="ADAL" clId="{D3EFDC9E-C770-4EC4-8A5A-B4E22FBE207B}" dt="2020-02-29T05:40:23.460" v="10049"/>
          <ac:spMkLst>
            <pc:docMk/>
            <pc:sldMk cId="3206166708" sldId="706"/>
            <ac:spMk id="9" creationId="{A6DDB27C-C6DD-4515-A701-418633F2954A}"/>
          </ac:spMkLst>
        </pc:spChg>
        <pc:spChg chg="mod">
          <ac:chgData name="Carlos Reyes García" userId="8f106461-3865-4cda-a443-ca56f71f97d2" providerId="ADAL" clId="{D3EFDC9E-C770-4EC4-8A5A-B4E22FBE207B}" dt="2020-02-29T05:41:11.954" v="10054" actId="113"/>
          <ac:spMkLst>
            <pc:docMk/>
            <pc:sldMk cId="3206166708" sldId="706"/>
            <ac:spMk id="15" creationId="{211413AE-8D61-469A-A381-96558B10C230}"/>
          </ac:spMkLst>
        </pc:spChg>
        <pc:picChg chg="add mod">
          <ac:chgData name="Carlos Reyes García" userId="8f106461-3865-4cda-a443-ca56f71f97d2" providerId="ADAL" clId="{D3EFDC9E-C770-4EC4-8A5A-B4E22FBE207B}" dt="2020-02-29T05:34:50.143" v="9735" actId="14100"/>
          <ac:picMkLst>
            <pc:docMk/>
            <pc:sldMk cId="3206166708" sldId="706"/>
            <ac:picMk id="4" creationId="{3353FAFD-8413-433D-9C86-2627EDA8CC75}"/>
          </ac:picMkLst>
        </pc:picChg>
        <pc:picChg chg="del">
          <ac:chgData name="Carlos Reyes García" userId="8f106461-3865-4cda-a443-ca56f71f97d2" providerId="ADAL" clId="{D3EFDC9E-C770-4EC4-8A5A-B4E22FBE207B}" dt="2020-02-29T05:28:52.470" v="9427" actId="478"/>
          <ac:picMkLst>
            <pc:docMk/>
            <pc:sldMk cId="3206166708" sldId="706"/>
            <ac:picMk id="6" creationId="{7A5B8A7D-B897-4415-AB15-F339A3385AD3}"/>
          </ac:picMkLst>
        </pc:picChg>
        <pc:cxnChg chg="add del mod">
          <ac:chgData name="Carlos Reyes García" userId="8f106461-3865-4cda-a443-ca56f71f97d2" providerId="ADAL" clId="{D3EFDC9E-C770-4EC4-8A5A-B4E22FBE207B}" dt="2020-02-29T05:34:45.621" v="9734" actId="478"/>
          <ac:cxnSpMkLst>
            <pc:docMk/>
            <pc:sldMk cId="3206166708" sldId="706"/>
            <ac:cxnSpMk id="7" creationId="{E695C2FC-4E94-403F-A302-42BD18D6252B}"/>
          </ac:cxnSpMkLst>
        </pc:cxnChg>
        <pc:cxnChg chg="add del mod">
          <ac:chgData name="Carlos Reyes García" userId="8f106461-3865-4cda-a443-ca56f71f97d2" providerId="ADAL" clId="{D3EFDC9E-C770-4EC4-8A5A-B4E22FBE207B}" dt="2020-02-29T05:34:44.151" v="9733" actId="478"/>
          <ac:cxnSpMkLst>
            <pc:docMk/>
            <pc:sldMk cId="3206166708" sldId="706"/>
            <ac:cxnSpMk id="12" creationId="{47CE6730-27E2-40D3-BDFC-F53573ABA223}"/>
          </ac:cxnSpMkLst>
        </pc:cxnChg>
      </pc:sldChg>
      <pc:sldChg chg="addSp delSp modSp add mod">
        <pc:chgData name="Carlos Reyes García" userId="8f106461-3865-4cda-a443-ca56f71f97d2" providerId="ADAL" clId="{D3EFDC9E-C770-4EC4-8A5A-B4E22FBE207B}" dt="2020-02-29T05:49:17.591" v="10206" actId="1076"/>
        <pc:sldMkLst>
          <pc:docMk/>
          <pc:sldMk cId="1639553998" sldId="707"/>
        </pc:sldMkLst>
        <pc:spChg chg="mod">
          <ac:chgData name="Carlos Reyes García" userId="8f106461-3865-4cda-a443-ca56f71f97d2" providerId="ADAL" clId="{D3EFDC9E-C770-4EC4-8A5A-B4E22FBE207B}" dt="2020-02-29T05:42:35.059" v="10200" actId="20577"/>
          <ac:spMkLst>
            <pc:docMk/>
            <pc:sldMk cId="1639553998" sldId="707"/>
            <ac:spMk id="15" creationId="{211413AE-8D61-469A-A381-96558B10C230}"/>
          </ac:spMkLst>
        </pc:spChg>
        <pc:picChg chg="del">
          <ac:chgData name="Carlos Reyes García" userId="8f106461-3865-4cda-a443-ca56f71f97d2" providerId="ADAL" clId="{D3EFDC9E-C770-4EC4-8A5A-B4E22FBE207B}" dt="2020-02-29T05:41:03.177" v="10051" actId="478"/>
          <ac:picMkLst>
            <pc:docMk/>
            <pc:sldMk cId="1639553998" sldId="707"/>
            <ac:picMk id="4" creationId="{3353FAFD-8413-433D-9C86-2627EDA8CC75}"/>
          </ac:picMkLst>
        </pc:picChg>
        <pc:picChg chg="add mod">
          <ac:chgData name="Carlos Reyes García" userId="8f106461-3865-4cda-a443-ca56f71f97d2" providerId="ADAL" clId="{D3EFDC9E-C770-4EC4-8A5A-B4E22FBE207B}" dt="2020-02-29T05:42:00.330" v="10145" actId="1076"/>
          <ac:picMkLst>
            <pc:docMk/>
            <pc:sldMk cId="1639553998" sldId="707"/>
            <ac:picMk id="5" creationId="{810BC8C4-357B-4F14-A4FF-673B61C48667}"/>
          </ac:picMkLst>
        </pc:picChg>
        <pc:picChg chg="add del mod">
          <ac:chgData name="Carlos Reyes García" userId="8f106461-3865-4cda-a443-ca56f71f97d2" providerId="ADAL" clId="{D3EFDC9E-C770-4EC4-8A5A-B4E22FBE207B}" dt="2020-02-29T05:43:53.065" v="10201" actId="478"/>
          <ac:picMkLst>
            <pc:docMk/>
            <pc:sldMk cId="1639553998" sldId="707"/>
            <ac:picMk id="6" creationId="{70D13BDB-1EEA-4F00-902A-F5464401470A}"/>
          </ac:picMkLst>
        </pc:picChg>
        <pc:picChg chg="add del mod">
          <ac:chgData name="Carlos Reyes García" userId="8f106461-3865-4cda-a443-ca56f71f97d2" providerId="ADAL" clId="{D3EFDC9E-C770-4EC4-8A5A-B4E22FBE207B}" dt="2020-02-29T05:48:17.821" v="10204" actId="478"/>
          <ac:picMkLst>
            <pc:docMk/>
            <pc:sldMk cId="1639553998" sldId="707"/>
            <ac:picMk id="7" creationId="{D969E205-8962-4499-A019-2FBD28E2B90C}"/>
          </ac:picMkLst>
        </pc:picChg>
        <pc:picChg chg="add mod">
          <ac:chgData name="Carlos Reyes García" userId="8f106461-3865-4cda-a443-ca56f71f97d2" providerId="ADAL" clId="{D3EFDC9E-C770-4EC4-8A5A-B4E22FBE207B}" dt="2020-02-29T05:49:17.591" v="10206" actId="1076"/>
          <ac:picMkLst>
            <pc:docMk/>
            <pc:sldMk cId="1639553998" sldId="707"/>
            <ac:picMk id="8" creationId="{2AB54C4A-2948-435E-B317-6BABCC577CB3}"/>
          </ac:picMkLst>
        </pc:picChg>
      </pc:sldChg>
      <pc:sldChg chg="modSp add mod ord">
        <pc:chgData name="Carlos Reyes García" userId="8f106461-3865-4cda-a443-ca56f71f97d2" providerId="ADAL" clId="{D3EFDC9E-C770-4EC4-8A5A-B4E22FBE207B}" dt="2020-03-03T02:49:33.807" v="11589"/>
        <pc:sldMkLst>
          <pc:docMk/>
          <pc:sldMk cId="3151371567" sldId="708"/>
        </pc:sldMkLst>
        <pc:spChg chg="mod">
          <ac:chgData name="Carlos Reyes García" userId="8f106461-3865-4cda-a443-ca56f71f97d2" providerId="ADAL" clId="{D3EFDC9E-C770-4EC4-8A5A-B4E22FBE207B}" dt="2020-03-03T00:45:28.938" v="10718" actId="15"/>
          <ac:spMkLst>
            <pc:docMk/>
            <pc:sldMk cId="3151371567" sldId="708"/>
            <ac:spMk id="4" creationId="{EB8FEEE0-7D03-497F-99E3-2992983D127E}"/>
          </ac:spMkLst>
        </pc:spChg>
      </pc:sldChg>
      <pc:sldChg chg="addSp delSp modSp new mod ord modNotesTx">
        <pc:chgData name="Carlos Reyes García" userId="8f106461-3865-4cda-a443-ca56f71f97d2" providerId="ADAL" clId="{D3EFDC9E-C770-4EC4-8A5A-B4E22FBE207B}" dt="2020-03-03T02:42:01.108" v="11402" actId="20577"/>
        <pc:sldMkLst>
          <pc:docMk/>
          <pc:sldMk cId="3460419959" sldId="709"/>
        </pc:sldMkLst>
        <pc:spChg chg="mod">
          <ac:chgData name="Carlos Reyes García" userId="8f106461-3865-4cda-a443-ca56f71f97d2" providerId="ADAL" clId="{D3EFDC9E-C770-4EC4-8A5A-B4E22FBE207B}" dt="2020-03-03T01:00:56.496" v="10812"/>
          <ac:spMkLst>
            <pc:docMk/>
            <pc:sldMk cId="3460419959" sldId="709"/>
            <ac:spMk id="2" creationId="{6054E23D-C7A6-4B2E-BDDC-D187CA2EFA49}"/>
          </ac:spMkLst>
        </pc:spChg>
        <pc:spChg chg="mod">
          <ac:chgData name="Carlos Reyes García" userId="8f106461-3865-4cda-a443-ca56f71f97d2" providerId="ADAL" clId="{D3EFDC9E-C770-4EC4-8A5A-B4E22FBE207B}" dt="2020-03-03T01:21:14.481" v="10967" actId="20577"/>
          <ac:spMkLst>
            <pc:docMk/>
            <pc:sldMk cId="3460419959" sldId="709"/>
            <ac:spMk id="4" creationId="{7799828A-259B-4897-B224-1AE166C0BAF0}"/>
          </ac:spMkLst>
        </pc:spChg>
        <pc:spChg chg="add del">
          <ac:chgData name="Carlos Reyes García" userId="8f106461-3865-4cda-a443-ca56f71f97d2" providerId="ADAL" clId="{D3EFDC9E-C770-4EC4-8A5A-B4E22FBE207B}" dt="2020-03-03T00:19:37.401" v="10448" actId="12084"/>
          <ac:spMkLst>
            <pc:docMk/>
            <pc:sldMk cId="3460419959" sldId="709"/>
            <ac:spMk id="5" creationId="{9DE1182C-B797-42D9-9461-01F62BCD1BB0}"/>
          </ac:spMkLst>
        </pc:spChg>
        <pc:graphicFrameChg chg="add mod">
          <ac:chgData name="Carlos Reyes García" userId="8f106461-3865-4cda-a443-ca56f71f97d2" providerId="ADAL" clId="{D3EFDC9E-C770-4EC4-8A5A-B4E22FBE207B}" dt="2020-03-03T01:27:01.006" v="11034" actId="1076"/>
          <ac:graphicFrameMkLst>
            <pc:docMk/>
            <pc:sldMk cId="3460419959" sldId="709"/>
            <ac:graphicFrameMk id="6" creationId="{ADC9AEDF-93CE-4415-9255-60492C95CE82}"/>
          </ac:graphicFrameMkLst>
        </pc:graphicFrameChg>
      </pc:sldChg>
      <pc:sldChg chg="modSp new mod ord">
        <pc:chgData name="Carlos Reyes García" userId="8f106461-3865-4cda-a443-ca56f71f97d2" providerId="ADAL" clId="{D3EFDC9E-C770-4EC4-8A5A-B4E22FBE207B}" dt="2020-03-03T01:28:25.676" v="11067" actId="20577"/>
        <pc:sldMkLst>
          <pc:docMk/>
          <pc:sldMk cId="4186570228" sldId="710"/>
        </pc:sldMkLst>
        <pc:spChg chg="mod">
          <ac:chgData name="Carlos Reyes García" userId="8f106461-3865-4cda-a443-ca56f71f97d2" providerId="ADAL" clId="{D3EFDC9E-C770-4EC4-8A5A-B4E22FBE207B}" dt="2020-03-03T01:28:25.676" v="11067" actId="20577"/>
          <ac:spMkLst>
            <pc:docMk/>
            <pc:sldMk cId="4186570228" sldId="710"/>
            <ac:spMk id="2" creationId="{5026DE96-820F-4F35-9342-3050C7F29E7D}"/>
          </ac:spMkLst>
        </pc:spChg>
        <pc:spChg chg="mod">
          <ac:chgData name="Carlos Reyes García" userId="8f106461-3865-4cda-a443-ca56f71f97d2" providerId="ADAL" clId="{D3EFDC9E-C770-4EC4-8A5A-B4E22FBE207B}" dt="2020-03-03T01:27:52.444" v="11064" actId="20577"/>
          <ac:spMkLst>
            <pc:docMk/>
            <pc:sldMk cId="4186570228" sldId="710"/>
            <ac:spMk id="4" creationId="{8E1D3464-C351-4191-9114-E0C129CE4CA1}"/>
          </ac:spMkLst>
        </pc:spChg>
      </pc:sldChg>
      <pc:sldChg chg="addSp delSp modSp new mod ord modNotesTx">
        <pc:chgData name="Carlos Reyes García" userId="8f106461-3865-4cda-a443-ca56f71f97d2" providerId="ADAL" clId="{D3EFDC9E-C770-4EC4-8A5A-B4E22FBE207B}" dt="2020-03-03T02:38:17.915" v="11300" actId="20577"/>
        <pc:sldMkLst>
          <pc:docMk/>
          <pc:sldMk cId="1735595973" sldId="711"/>
        </pc:sldMkLst>
        <pc:spChg chg="mod">
          <ac:chgData name="Carlos Reyes García" userId="8f106461-3865-4cda-a443-ca56f71f97d2" providerId="ADAL" clId="{D3EFDC9E-C770-4EC4-8A5A-B4E22FBE207B}" dt="2020-03-03T01:24:18.844" v="11007" actId="20577"/>
          <ac:spMkLst>
            <pc:docMk/>
            <pc:sldMk cId="1735595973" sldId="711"/>
            <ac:spMk id="2" creationId="{D5DF6BC5-DC9D-41C8-80A3-5936F2FE6389}"/>
          </ac:spMkLst>
        </pc:spChg>
        <pc:spChg chg="add del mod">
          <ac:chgData name="Carlos Reyes García" userId="8f106461-3865-4cda-a443-ca56f71f97d2" providerId="ADAL" clId="{D3EFDC9E-C770-4EC4-8A5A-B4E22FBE207B}" dt="2020-03-03T01:24:59.503" v="11016" actId="478"/>
          <ac:spMkLst>
            <pc:docMk/>
            <pc:sldMk cId="1735595973" sldId="711"/>
            <ac:spMk id="4" creationId="{494379C6-D051-45E7-8378-0810ABB55724}"/>
          </ac:spMkLst>
        </pc:spChg>
        <pc:spChg chg="add del">
          <ac:chgData name="Carlos Reyes García" userId="8f106461-3865-4cda-a443-ca56f71f97d2" providerId="ADAL" clId="{D3EFDC9E-C770-4EC4-8A5A-B4E22FBE207B}" dt="2020-03-03T01:22:43.979" v="10970" actId="12084"/>
          <ac:spMkLst>
            <pc:docMk/>
            <pc:sldMk cId="1735595973" sldId="711"/>
            <ac:spMk id="5" creationId="{6DC17C13-E9C7-4140-9B1E-A0BF17FAEED9}"/>
          </ac:spMkLst>
        </pc:spChg>
        <pc:graphicFrameChg chg="add mod">
          <ac:chgData name="Carlos Reyes García" userId="8f106461-3865-4cda-a443-ca56f71f97d2" providerId="ADAL" clId="{D3EFDC9E-C770-4EC4-8A5A-B4E22FBE207B}" dt="2020-03-03T01:24:56.959" v="11015" actId="1076"/>
          <ac:graphicFrameMkLst>
            <pc:docMk/>
            <pc:sldMk cId="1735595973" sldId="711"/>
            <ac:graphicFrameMk id="6" creationId="{E6CFACA9-C357-4871-9875-85364DAD9FC1}"/>
          </ac:graphicFrameMkLst>
        </pc:graphicFrameChg>
      </pc:sldChg>
      <pc:sldChg chg="modSp new del">
        <pc:chgData name="Carlos Reyes García" userId="8f106461-3865-4cda-a443-ca56f71f97d2" providerId="ADAL" clId="{D3EFDC9E-C770-4EC4-8A5A-B4E22FBE207B}" dt="2020-03-03T00:54:51.634" v="10792" actId="47"/>
        <pc:sldMkLst>
          <pc:docMk/>
          <pc:sldMk cId="2656356620" sldId="712"/>
        </pc:sldMkLst>
        <pc:spChg chg="mod">
          <ac:chgData name="Carlos Reyes García" userId="8f106461-3865-4cda-a443-ca56f71f97d2" providerId="ADAL" clId="{D3EFDC9E-C770-4EC4-8A5A-B4E22FBE207B}" dt="2020-03-03T00:53:20.822" v="10773"/>
          <ac:spMkLst>
            <pc:docMk/>
            <pc:sldMk cId="2656356620" sldId="712"/>
            <ac:spMk id="4" creationId="{F781BC61-A8E9-4994-B3D2-567247F581E8}"/>
          </ac:spMkLst>
        </pc:spChg>
      </pc:sldChg>
      <pc:sldChg chg="addSp delSp modSp new mod">
        <pc:chgData name="Carlos Reyes García" userId="8f106461-3865-4cda-a443-ca56f71f97d2" providerId="ADAL" clId="{D3EFDC9E-C770-4EC4-8A5A-B4E22FBE207B}" dt="2020-03-03T00:52:09.317" v="10770" actId="404"/>
        <pc:sldMkLst>
          <pc:docMk/>
          <pc:sldMk cId="2581647386" sldId="713"/>
        </pc:sldMkLst>
        <pc:spChg chg="mod">
          <ac:chgData name="Carlos Reyes García" userId="8f106461-3865-4cda-a443-ca56f71f97d2" providerId="ADAL" clId="{D3EFDC9E-C770-4EC4-8A5A-B4E22FBE207B}" dt="2020-03-03T00:49:39.828" v="10744" actId="20577"/>
          <ac:spMkLst>
            <pc:docMk/>
            <pc:sldMk cId="2581647386" sldId="713"/>
            <ac:spMk id="2" creationId="{3974CB06-DDD8-4C3F-B072-B3B39C56D6AB}"/>
          </ac:spMkLst>
        </pc:spChg>
        <pc:spChg chg="del">
          <ac:chgData name="Carlos Reyes García" userId="8f106461-3865-4cda-a443-ca56f71f97d2" providerId="ADAL" clId="{D3EFDC9E-C770-4EC4-8A5A-B4E22FBE207B}" dt="2020-03-03T00:50:01.071" v="10745" actId="1032"/>
          <ac:spMkLst>
            <pc:docMk/>
            <pc:sldMk cId="2581647386" sldId="713"/>
            <ac:spMk id="4" creationId="{809B790E-248B-4D0D-98DD-18622CB7DCEC}"/>
          </ac:spMkLst>
        </pc:spChg>
        <pc:graphicFrameChg chg="add mod modGraphic">
          <ac:chgData name="Carlos Reyes García" userId="8f106461-3865-4cda-a443-ca56f71f97d2" providerId="ADAL" clId="{D3EFDC9E-C770-4EC4-8A5A-B4E22FBE207B}" dt="2020-03-03T00:52:09.317" v="10770" actId="404"/>
          <ac:graphicFrameMkLst>
            <pc:docMk/>
            <pc:sldMk cId="2581647386" sldId="713"/>
            <ac:graphicFrameMk id="5" creationId="{F509B256-D149-4EDB-9E8C-FA0A3C489D2E}"/>
          </ac:graphicFrameMkLst>
        </pc:graphicFrameChg>
      </pc:sldChg>
      <pc:sldChg chg="addSp modSp new mod modNotesTx">
        <pc:chgData name="Carlos Reyes García" userId="8f106461-3865-4cda-a443-ca56f71f97d2" providerId="ADAL" clId="{D3EFDC9E-C770-4EC4-8A5A-B4E22FBE207B}" dt="2020-03-03T02:39:20.033" v="11395" actId="20577"/>
        <pc:sldMkLst>
          <pc:docMk/>
          <pc:sldMk cId="1860325513" sldId="714"/>
        </pc:sldMkLst>
        <pc:spChg chg="mod">
          <ac:chgData name="Carlos Reyes García" userId="8f106461-3865-4cda-a443-ca56f71f97d2" providerId="ADAL" clId="{D3EFDC9E-C770-4EC4-8A5A-B4E22FBE207B}" dt="2020-03-03T01:04:37.293" v="10822" actId="20577"/>
          <ac:spMkLst>
            <pc:docMk/>
            <pc:sldMk cId="1860325513" sldId="714"/>
            <ac:spMk id="2" creationId="{118660B5-4C56-474E-AA9F-1881C6D84728}"/>
          </ac:spMkLst>
        </pc:spChg>
        <pc:spChg chg="mod">
          <ac:chgData name="Carlos Reyes García" userId="8f106461-3865-4cda-a443-ca56f71f97d2" providerId="ADAL" clId="{D3EFDC9E-C770-4EC4-8A5A-B4E22FBE207B}" dt="2020-03-03T01:13:18.377" v="10853" actId="27636"/>
          <ac:spMkLst>
            <pc:docMk/>
            <pc:sldMk cId="1860325513" sldId="714"/>
            <ac:spMk id="4" creationId="{1CE9DF03-627E-4FC2-ADDA-F2C4085E1ECC}"/>
          </ac:spMkLst>
        </pc:spChg>
        <pc:picChg chg="add mod">
          <ac:chgData name="Carlos Reyes García" userId="8f106461-3865-4cda-a443-ca56f71f97d2" providerId="ADAL" clId="{D3EFDC9E-C770-4EC4-8A5A-B4E22FBE207B}" dt="2020-03-03T01:15:07.905" v="10869" actId="1076"/>
          <ac:picMkLst>
            <pc:docMk/>
            <pc:sldMk cId="1860325513" sldId="714"/>
            <ac:picMk id="6" creationId="{C4C5F89B-B940-41E6-8758-5BD426196A6F}"/>
          </ac:picMkLst>
        </pc:picChg>
      </pc:sldChg>
      <pc:sldChg chg="addSp delSp modSp add mod">
        <pc:chgData name="Carlos Reyes García" userId="8f106461-3865-4cda-a443-ca56f71f97d2" providerId="ADAL" clId="{D3EFDC9E-C770-4EC4-8A5A-B4E22FBE207B}" dt="2020-03-03T01:25:23.149" v="11017" actId="6549"/>
        <pc:sldMkLst>
          <pc:docMk/>
          <pc:sldMk cId="3224995500" sldId="715"/>
        </pc:sldMkLst>
        <pc:spChg chg="mod">
          <ac:chgData name="Carlos Reyes García" userId="8f106461-3865-4cda-a443-ca56f71f97d2" providerId="ADAL" clId="{D3EFDC9E-C770-4EC4-8A5A-B4E22FBE207B}" dt="2020-03-03T01:25:23.149" v="11017" actId="6549"/>
          <ac:spMkLst>
            <pc:docMk/>
            <pc:sldMk cId="3224995500" sldId="715"/>
            <ac:spMk id="4" creationId="{1CE9DF03-627E-4FC2-ADDA-F2C4085E1ECC}"/>
          </ac:spMkLst>
        </pc:spChg>
        <pc:picChg chg="add del mod">
          <ac:chgData name="Carlos Reyes García" userId="8f106461-3865-4cda-a443-ca56f71f97d2" providerId="ADAL" clId="{D3EFDC9E-C770-4EC4-8A5A-B4E22FBE207B}" dt="2020-03-03T01:14:59.957" v="10868" actId="22"/>
          <ac:picMkLst>
            <pc:docMk/>
            <pc:sldMk cId="3224995500" sldId="715"/>
            <ac:picMk id="6" creationId="{7938C7CA-A524-4683-8E9C-B28595D8C426}"/>
          </ac:picMkLst>
        </pc:picChg>
        <pc:picChg chg="add">
          <ac:chgData name="Carlos Reyes García" userId="8f106461-3865-4cda-a443-ca56f71f97d2" providerId="ADAL" clId="{D3EFDC9E-C770-4EC4-8A5A-B4E22FBE207B}" dt="2020-03-03T01:15:14.689" v="10870" actId="22"/>
          <ac:picMkLst>
            <pc:docMk/>
            <pc:sldMk cId="3224995500" sldId="715"/>
            <ac:picMk id="8" creationId="{C3F500EF-15FC-42E3-B104-C50B70183DB5}"/>
          </ac:picMkLst>
        </pc:picChg>
      </pc:sldChg>
      <pc:sldChg chg="addSp modSp add mod modNotesTx">
        <pc:chgData name="Carlos Reyes García" userId="8f106461-3865-4cda-a443-ca56f71f97d2" providerId="ADAL" clId="{D3EFDC9E-C770-4EC4-8A5A-B4E22FBE207B}" dt="2020-03-03T02:40:07.297" v="11399" actId="6549"/>
        <pc:sldMkLst>
          <pc:docMk/>
          <pc:sldMk cId="4205441629" sldId="716"/>
        </pc:sldMkLst>
        <pc:spChg chg="mod">
          <ac:chgData name="Carlos Reyes García" userId="8f106461-3865-4cda-a443-ca56f71f97d2" providerId="ADAL" clId="{D3EFDC9E-C770-4EC4-8A5A-B4E22FBE207B}" dt="2020-03-03T01:25:27.657" v="11018" actId="6549"/>
          <ac:spMkLst>
            <pc:docMk/>
            <pc:sldMk cId="4205441629" sldId="716"/>
            <ac:spMk id="4" creationId="{1CE9DF03-627E-4FC2-ADDA-F2C4085E1ECC}"/>
          </ac:spMkLst>
        </pc:spChg>
        <pc:spChg chg="add mod">
          <ac:chgData name="Carlos Reyes García" userId="8f106461-3865-4cda-a443-ca56f71f97d2" providerId="ADAL" clId="{D3EFDC9E-C770-4EC4-8A5A-B4E22FBE207B}" dt="2020-03-03T01:27:04.666" v="11036" actId="1036"/>
          <ac:spMkLst>
            <pc:docMk/>
            <pc:sldMk cId="4205441629" sldId="716"/>
            <ac:spMk id="6" creationId="{50A6C54E-61B3-40E2-8EDD-5EC8F48131B7}"/>
          </ac:spMkLst>
        </pc:spChg>
      </pc:sldChg>
      <pc:sldChg chg="new del">
        <pc:chgData name="Carlos Reyes García" userId="8f106461-3865-4cda-a443-ca56f71f97d2" providerId="ADAL" clId="{D3EFDC9E-C770-4EC4-8A5A-B4E22FBE207B}" dt="2020-03-03T02:43:30.954" v="11406" actId="680"/>
        <pc:sldMkLst>
          <pc:docMk/>
          <pc:sldMk cId="256772504" sldId="717"/>
        </pc:sldMkLst>
      </pc:sldChg>
      <pc:sldChg chg="addSp delSp modSp new mod">
        <pc:chgData name="Carlos Reyes García" userId="8f106461-3865-4cda-a443-ca56f71f97d2" providerId="ADAL" clId="{D3EFDC9E-C770-4EC4-8A5A-B4E22FBE207B}" dt="2020-03-03T06:53:30.215" v="13171" actId="20577"/>
        <pc:sldMkLst>
          <pc:docMk/>
          <pc:sldMk cId="1727005961" sldId="717"/>
        </pc:sldMkLst>
        <pc:spChg chg="mod">
          <ac:chgData name="Carlos Reyes García" userId="8f106461-3865-4cda-a443-ca56f71f97d2" providerId="ADAL" clId="{D3EFDC9E-C770-4EC4-8A5A-B4E22FBE207B}" dt="2020-03-03T03:31:26.634" v="11900" actId="20577"/>
          <ac:spMkLst>
            <pc:docMk/>
            <pc:sldMk cId="1727005961" sldId="717"/>
            <ac:spMk id="2" creationId="{FEC773F6-10C9-4F70-8259-7971F33D9BE8}"/>
          </ac:spMkLst>
        </pc:spChg>
        <pc:spChg chg="add del mod">
          <ac:chgData name="Carlos Reyes García" userId="8f106461-3865-4cda-a443-ca56f71f97d2" providerId="ADAL" clId="{D3EFDC9E-C770-4EC4-8A5A-B4E22FBE207B}" dt="2020-03-03T03:47:33.164" v="11976" actId="3680"/>
          <ac:spMkLst>
            <pc:docMk/>
            <pc:sldMk cId="1727005961" sldId="717"/>
            <ac:spMk id="4" creationId="{B734AD76-08B6-45A2-86E2-9762443C00C4}"/>
          </ac:spMkLst>
        </pc:spChg>
        <pc:spChg chg="add del">
          <ac:chgData name="Carlos Reyes García" userId="8f106461-3865-4cda-a443-ca56f71f97d2" providerId="ADAL" clId="{D3EFDC9E-C770-4EC4-8A5A-B4E22FBE207B}" dt="2020-03-03T03:34:48.751" v="11913"/>
          <ac:spMkLst>
            <pc:docMk/>
            <pc:sldMk cId="1727005961" sldId="717"/>
            <ac:spMk id="5" creationId="{65206DAD-0644-455F-9EA9-1E916445343A}"/>
          </ac:spMkLst>
        </pc:spChg>
        <pc:spChg chg="add del">
          <ac:chgData name="Carlos Reyes García" userId="8f106461-3865-4cda-a443-ca56f71f97d2" providerId="ADAL" clId="{D3EFDC9E-C770-4EC4-8A5A-B4E22FBE207B}" dt="2020-03-03T03:34:50.879" v="11915"/>
          <ac:spMkLst>
            <pc:docMk/>
            <pc:sldMk cId="1727005961" sldId="717"/>
            <ac:spMk id="6" creationId="{C3844EC5-98D8-4C0D-B6F5-47BBE8D62A79}"/>
          </ac:spMkLst>
        </pc:spChg>
        <pc:spChg chg="add del">
          <ac:chgData name="Carlos Reyes García" userId="8f106461-3865-4cda-a443-ca56f71f97d2" providerId="ADAL" clId="{D3EFDC9E-C770-4EC4-8A5A-B4E22FBE207B}" dt="2020-03-03T03:36:02.859" v="11923"/>
          <ac:spMkLst>
            <pc:docMk/>
            <pc:sldMk cId="1727005961" sldId="717"/>
            <ac:spMk id="7" creationId="{238E2494-3864-4D02-A464-0967375BAC6B}"/>
          </ac:spMkLst>
        </pc:spChg>
        <pc:graphicFrameChg chg="add del mod ord modGraphic">
          <ac:chgData name="Carlos Reyes García" userId="8f106461-3865-4cda-a443-ca56f71f97d2" providerId="ADAL" clId="{D3EFDC9E-C770-4EC4-8A5A-B4E22FBE207B}" dt="2020-03-03T03:45:20.646" v="11975" actId="3680"/>
          <ac:graphicFrameMkLst>
            <pc:docMk/>
            <pc:sldMk cId="1727005961" sldId="717"/>
            <ac:graphicFrameMk id="8" creationId="{3DB902A3-7A6A-4EFB-A296-F3827D97CF02}"/>
          </ac:graphicFrameMkLst>
        </pc:graphicFrameChg>
        <pc:graphicFrameChg chg="add mod ord modGraphic">
          <ac:chgData name="Carlos Reyes García" userId="8f106461-3865-4cda-a443-ca56f71f97d2" providerId="ADAL" clId="{D3EFDC9E-C770-4EC4-8A5A-B4E22FBE207B}" dt="2020-03-03T06:53:30.215" v="13171" actId="20577"/>
          <ac:graphicFrameMkLst>
            <pc:docMk/>
            <pc:sldMk cId="1727005961" sldId="717"/>
            <ac:graphicFrameMk id="10" creationId="{891AE6D3-BB51-4D16-92C5-56B5093D2FCD}"/>
          </ac:graphicFrameMkLst>
        </pc:graphicFrameChg>
      </pc:sldChg>
      <pc:sldChg chg="add del">
        <pc:chgData name="Carlos Reyes García" userId="8f106461-3865-4cda-a443-ca56f71f97d2" providerId="ADAL" clId="{D3EFDC9E-C770-4EC4-8A5A-B4E22FBE207B}" dt="2020-03-03T03:11:57.712" v="11738"/>
        <pc:sldMkLst>
          <pc:docMk/>
          <pc:sldMk cId="1775685347" sldId="717"/>
        </pc:sldMkLst>
      </pc:sldChg>
      <pc:sldChg chg="add del">
        <pc:chgData name="Carlos Reyes García" userId="8f106461-3865-4cda-a443-ca56f71f97d2" providerId="ADAL" clId="{D3EFDC9E-C770-4EC4-8A5A-B4E22FBE207B}" dt="2020-03-03T01:19:49.014" v="10945" actId="47"/>
        <pc:sldMkLst>
          <pc:docMk/>
          <pc:sldMk cId="2488309949" sldId="717"/>
        </pc:sldMkLst>
      </pc:sldChg>
      <pc:sldChg chg="new del">
        <pc:chgData name="Carlos Reyes García" userId="8f106461-3865-4cda-a443-ca56f71f97d2" providerId="ADAL" clId="{D3EFDC9E-C770-4EC4-8A5A-B4E22FBE207B}" dt="2020-03-03T02:36:46.846" v="11295" actId="680"/>
        <pc:sldMkLst>
          <pc:docMk/>
          <pc:sldMk cId="4244747660" sldId="717"/>
        </pc:sldMkLst>
      </pc:sldChg>
      <pc:sldChg chg="addSp delSp modSp new mod">
        <pc:chgData name="Carlos Reyes García" userId="8f106461-3865-4cda-a443-ca56f71f97d2" providerId="ADAL" clId="{D3EFDC9E-C770-4EC4-8A5A-B4E22FBE207B}" dt="2020-03-03T03:29:30.303" v="11865" actId="14100"/>
        <pc:sldMkLst>
          <pc:docMk/>
          <pc:sldMk cId="306519833" sldId="718"/>
        </pc:sldMkLst>
        <pc:spChg chg="mod">
          <ac:chgData name="Carlos Reyes García" userId="8f106461-3865-4cda-a443-ca56f71f97d2" providerId="ADAL" clId="{D3EFDC9E-C770-4EC4-8A5A-B4E22FBE207B}" dt="2020-03-03T03:23:23.237" v="11810" actId="20577"/>
          <ac:spMkLst>
            <pc:docMk/>
            <pc:sldMk cId="306519833" sldId="718"/>
            <ac:spMk id="2" creationId="{A8F2B25F-8997-43C5-963E-06A68867F71A}"/>
          </ac:spMkLst>
        </pc:spChg>
        <pc:spChg chg="del">
          <ac:chgData name="Carlos Reyes García" userId="8f106461-3865-4cda-a443-ca56f71f97d2" providerId="ADAL" clId="{D3EFDC9E-C770-4EC4-8A5A-B4E22FBE207B}" dt="2020-03-03T03:24:00.802" v="11811" actId="3680"/>
          <ac:spMkLst>
            <pc:docMk/>
            <pc:sldMk cId="306519833" sldId="718"/>
            <ac:spMk id="4" creationId="{0F6BD237-2972-4343-973F-6A69F6693CF8}"/>
          </ac:spMkLst>
        </pc:spChg>
        <pc:spChg chg="add del mod">
          <ac:chgData name="Carlos Reyes García" userId="8f106461-3865-4cda-a443-ca56f71f97d2" providerId="ADAL" clId="{D3EFDC9E-C770-4EC4-8A5A-B4E22FBE207B}" dt="2020-03-03T03:26:52.887" v="11821" actId="478"/>
          <ac:spMkLst>
            <pc:docMk/>
            <pc:sldMk cId="306519833" sldId="718"/>
            <ac:spMk id="8" creationId="{4CD9275F-4068-42DF-AD23-1B684E35D1DF}"/>
          </ac:spMkLst>
        </pc:spChg>
        <pc:graphicFrameChg chg="add del mod ord modGraphic">
          <ac:chgData name="Carlos Reyes García" userId="8f106461-3865-4cda-a443-ca56f71f97d2" providerId="ADAL" clId="{D3EFDC9E-C770-4EC4-8A5A-B4E22FBE207B}" dt="2020-03-03T03:29:30.303" v="11865" actId="14100"/>
          <ac:graphicFrameMkLst>
            <pc:docMk/>
            <pc:sldMk cId="306519833" sldId="718"/>
            <ac:graphicFrameMk id="5" creationId="{C2B48973-B27E-4DF3-961A-ADF391476DBF}"/>
          </ac:graphicFrameMkLst>
        </pc:graphicFrameChg>
        <pc:graphicFrameChg chg="add del mod">
          <ac:chgData name="Carlos Reyes García" userId="8f106461-3865-4cda-a443-ca56f71f97d2" providerId="ADAL" clId="{D3EFDC9E-C770-4EC4-8A5A-B4E22FBE207B}" dt="2020-03-03T03:26:52.327" v="11820"/>
          <ac:graphicFrameMkLst>
            <pc:docMk/>
            <pc:sldMk cId="306519833" sldId="718"/>
            <ac:graphicFrameMk id="9" creationId="{65D13214-B6B2-46C9-9269-D9C828333B94}"/>
          </ac:graphicFrameMkLst>
        </pc:graphicFrameChg>
      </pc:sldChg>
      <pc:sldChg chg="new del">
        <pc:chgData name="Carlos Reyes García" userId="8f106461-3865-4cda-a443-ca56f71f97d2" providerId="ADAL" clId="{D3EFDC9E-C770-4EC4-8A5A-B4E22FBE207B}" dt="2020-03-03T02:43:30.735" v="11405" actId="680"/>
        <pc:sldMkLst>
          <pc:docMk/>
          <pc:sldMk cId="640939133" sldId="718"/>
        </pc:sldMkLst>
      </pc:sldChg>
      <pc:sldChg chg="new del">
        <pc:chgData name="Carlos Reyes García" userId="8f106461-3865-4cda-a443-ca56f71f97d2" providerId="ADAL" clId="{D3EFDC9E-C770-4EC4-8A5A-B4E22FBE207B}" dt="2020-03-03T02:36:45.657" v="11294" actId="680"/>
        <pc:sldMkLst>
          <pc:docMk/>
          <pc:sldMk cId="4260294287" sldId="718"/>
        </pc:sldMkLst>
      </pc:sldChg>
      <pc:sldChg chg="modSp new mod">
        <pc:chgData name="Carlos Reyes García" userId="8f106461-3865-4cda-a443-ca56f71f97d2" providerId="ADAL" clId="{D3EFDC9E-C770-4EC4-8A5A-B4E22FBE207B}" dt="2020-03-03T06:39:55.974" v="13017" actId="6549"/>
        <pc:sldMkLst>
          <pc:docMk/>
          <pc:sldMk cId="3892410228" sldId="719"/>
        </pc:sldMkLst>
        <pc:spChg chg="mod">
          <ac:chgData name="Carlos Reyes García" userId="8f106461-3865-4cda-a443-ca56f71f97d2" providerId="ADAL" clId="{D3EFDC9E-C770-4EC4-8A5A-B4E22FBE207B}" dt="2020-03-03T04:00:43.180" v="12080"/>
          <ac:spMkLst>
            <pc:docMk/>
            <pc:sldMk cId="3892410228" sldId="719"/>
            <ac:spMk id="2" creationId="{140D24A9-8DE5-4FEC-9A9D-5973A091ED5B}"/>
          </ac:spMkLst>
        </pc:spChg>
        <pc:spChg chg="mod">
          <ac:chgData name="Carlos Reyes García" userId="8f106461-3865-4cda-a443-ca56f71f97d2" providerId="ADAL" clId="{D3EFDC9E-C770-4EC4-8A5A-B4E22FBE207B}" dt="2020-03-03T06:39:55.974" v="13017" actId="6549"/>
          <ac:spMkLst>
            <pc:docMk/>
            <pc:sldMk cId="3892410228" sldId="719"/>
            <ac:spMk id="4" creationId="{AE562723-D984-4287-BF40-D0D24F6ECDF5}"/>
          </ac:spMkLst>
        </pc:spChg>
      </pc:sldChg>
      <pc:sldChg chg="addSp modSp new mod modNotesTx">
        <pc:chgData name="Carlos Reyes García" userId="8f106461-3865-4cda-a443-ca56f71f97d2" providerId="ADAL" clId="{D3EFDC9E-C770-4EC4-8A5A-B4E22FBE207B}" dt="2020-03-03T05:36:58.402" v="12639" actId="20577"/>
        <pc:sldMkLst>
          <pc:docMk/>
          <pc:sldMk cId="1531234105" sldId="720"/>
        </pc:sldMkLst>
        <pc:spChg chg="mod">
          <ac:chgData name="Carlos Reyes García" userId="8f106461-3865-4cda-a443-ca56f71f97d2" providerId="ADAL" clId="{D3EFDC9E-C770-4EC4-8A5A-B4E22FBE207B}" dt="2020-03-03T04:02:01.611" v="12084"/>
          <ac:spMkLst>
            <pc:docMk/>
            <pc:sldMk cId="1531234105" sldId="720"/>
            <ac:spMk id="2" creationId="{3997BF31-07E7-47B0-BCAE-F8CA3067FF8A}"/>
          </ac:spMkLst>
        </pc:spChg>
        <pc:spChg chg="mod">
          <ac:chgData name="Carlos Reyes García" userId="8f106461-3865-4cda-a443-ca56f71f97d2" providerId="ADAL" clId="{D3EFDC9E-C770-4EC4-8A5A-B4E22FBE207B}" dt="2020-03-03T04:04:48.155" v="12171" actId="1076"/>
          <ac:spMkLst>
            <pc:docMk/>
            <pc:sldMk cId="1531234105" sldId="720"/>
            <ac:spMk id="4" creationId="{1FAEEDEF-2E89-4B83-A97C-A810601474EF}"/>
          </ac:spMkLst>
        </pc:spChg>
        <pc:graphicFrameChg chg="add mod modGraphic">
          <ac:chgData name="Carlos Reyes García" userId="8f106461-3865-4cda-a443-ca56f71f97d2" providerId="ADAL" clId="{D3EFDC9E-C770-4EC4-8A5A-B4E22FBE207B}" dt="2020-03-03T04:03:37.654" v="12118" actId="1076"/>
          <ac:graphicFrameMkLst>
            <pc:docMk/>
            <pc:sldMk cId="1531234105" sldId="720"/>
            <ac:graphicFrameMk id="5" creationId="{F2BEC36A-D6B1-419A-B3EB-B740D912717E}"/>
          </ac:graphicFrameMkLst>
        </pc:graphicFrameChg>
        <pc:graphicFrameChg chg="add mod">
          <ac:chgData name="Carlos Reyes García" userId="8f106461-3865-4cda-a443-ca56f71f97d2" providerId="ADAL" clId="{D3EFDC9E-C770-4EC4-8A5A-B4E22FBE207B}" dt="2020-03-03T04:05:01.908" v="12173" actId="1076"/>
          <ac:graphicFrameMkLst>
            <pc:docMk/>
            <pc:sldMk cId="1531234105" sldId="720"/>
            <ac:graphicFrameMk id="7" creationId="{52D216F9-4AEA-48B4-8FA9-18E396F41C0D}"/>
          </ac:graphicFrameMkLst>
        </pc:graphicFrameChg>
      </pc:sldChg>
      <pc:sldChg chg="new del">
        <pc:chgData name="Carlos Reyes García" userId="8f106461-3865-4cda-a443-ca56f71f97d2" providerId="ADAL" clId="{D3EFDC9E-C770-4EC4-8A5A-B4E22FBE207B}" dt="2020-03-03T04:08:22.269" v="12319" actId="47"/>
        <pc:sldMkLst>
          <pc:docMk/>
          <pc:sldMk cId="587655542" sldId="721"/>
        </pc:sldMkLst>
      </pc:sldChg>
      <pc:sldChg chg="new del">
        <pc:chgData name="Carlos Reyes García" userId="8f106461-3865-4cda-a443-ca56f71f97d2" providerId="ADAL" clId="{D3EFDC9E-C770-4EC4-8A5A-B4E22FBE207B}" dt="2020-03-03T05:14:49.982" v="12321" actId="680"/>
        <pc:sldMkLst>
          <pc:docMk/>
          <pc:sldMk cId="904781406" sldId="721"/>
        </pc:sldMkLst>
      </pc:sldChg>
      <pc:sldChg chg="new del">
        <pc:chgData name="Carlos Reyes García" userId="8f106461-3865-4cda-a443-ca56f71f97d2" providerId="ADAL" clId="{D3EFDC9E-C770-4EC4-8A5A-B4E22FBE207B}" dt="2020-03-03T04:06:16.450" v="12176" actId="47"/>
        <pc:sldMkLst>
          <pc:docMk/>
          <pc:sldMk cId="2517831577" sldId="721"/>
        </pc:sldMkLst>
      </pc:sldChg>
      <pc:sldChg chg="addSp delSp modSp add mod modNotesTx">
        <pc:chgData name="Carlos Reyes García" userId="8f106461-3865-4cda-a443-ca56f71f97d2" providerId="ADAL" clId="{D3EFDC9E-C770-4EC4-8A5A-B4E22FBE207B}" dt="2020-03-03T05:39:20.138" v="12643" actId="20577"/>
        <pc:sldMkLst>
          <pc:docMk/>
          <pc:sldMk cId="3141979589" sldId="721"/>
        </pc:sldMkLst>
        <pc:spChg chg="mod">
          <ac:chgData name="Carlos Reyes García" userId="8f106461-3865-4cda-a443-ca56f71f97d2" providerId="ADAL" clId="{D3EFDC9E-C770-4EC4-8A5A-B4E22FBE207B}" dt="2020-03-03T05:15:19.989" v="12337" actId="20577"/>
          <ac:spMkLst>
            <pc:docMk/>
            <pc:sldMk cId="3141979589" sldId="721"/>
            <ac:spMk id="2" creationId="{3997BF31-07E7-47B0-BCAE-F8CA3067FF8A}"/>
          </ac:spMkLst>
        </pc:spChg>
        <pc:spChg chg="mod">
          <ac:chgData name="Carlos Reyes García" userId="8f106461-3865-4cda-a443-ca56f71f97d2" providerId="ADAL" clId="{D3EFDC9E-C770-4EC4-8A5A-B4E22FBE207B}" dt="2020-03-03T05:18:13.335" v="12397" actId="20577"/>
          <ac:spMkLst>
            <pc:docMk/>
            <pc:sldMk cId="3141979589" sldId="721"/>
            <ac:spMk id="4" creationId="{1FAEEDEF-2E89-4B83-A97C-A810601474EF}"/>
          </ac:spMkLst>
        </pc:spChg>
        <pc:spChg chg="add del">
          <ac:chgData name="Carlos Reyes García" userId="8f106461-3865-4cda-a443-ca56f71f97d2" providerId="ADAL" clId="{D3EFDC9E-C770-4EC4-8A5A-B4E22FBE207B}" dt="2020-03-03T05:16:58.546" v="12365" actId="12084"/>
          <ac:spMkLst>
            <pc:docMk/>
            <pc:sldMk cId="3141979589" sldId="721"/>
            <ac:spMk id="6" creationId="{2329A3B1-AE37-429F-B1F7-65C239A1EEA7}"/>
          </ac:spMkLst>
        </pc:spChg>
        <pc:graphicFrameChg chg="del">
          <ac:chgData name="Carlos Reyes García" userId="8f106461-3865-4cda-a443-ca56f71f97d2" providerId="ADAL" clId="{D3EFDC9E-C770-4EC4-8A5A-B4E22FBE207B}" dt="2020-03-03T05:15:23.386" v="12338" actId="478"/>
          <ac:graphicFrameMkLst>
            <pc:docMk/>
            <pc:sldMk cId="3141979589" sldId="721"/>
            <ac:graphicFrameMk id="5" creationId="{F2BEC36A-D6B1-419A-B3EB-B740D912717E}"/>
          </ac:graphicFrameMkLst>
        </pc:graphicFrameChg>
        <pc:graphicFrameChg chg="del">
          <ac:chgData name="Carlos Reyes García" userId="8f106461-3865-4cda-a443-ca56f71f97d2" providerId="ADAL" clId="{D3EFDC9E-C770-4EC4-8A5A-B4E22FBE207B}" dt="2020-03-03T05:15:26.754" v="12339" actId="478"/>
          <ac:graphicFrameMkLst>
            <pc:docMk/>
            <pc:sldMk cId="3141979589" sldId="721"/>
            <ac:graphicFrameMk id="7" creationId="{52D216F9-4AEA-48B4-8FA9-18E396F41C0D}"/>
          </ac:graphicFrameMkLst>
        </pc:graphicFrameChg>
        <pc:graphicFrameChg chg="add mod">
          <ac:chgData name="Carlos Reyes García" userId="8f106461-3865-4cda-a443-ca56f71f97d2" providerId="ADAL" clId="{D3EFDC9E-C770-4EC4-8A5A-B4E22FBE207B}" dt="2020-03-03T05:20:01.742" v="12402" actId="1076"/>
          <ac:graphicFrameMkLst>
            <pc:docMk/>
            <pc:sldMk cId="3141979589" sldId="721"/>
            <ac:graphicFrameMk id="8" creationId="{ED54D26F-4334-404E-9D78-F724007CDE90}"/>
          </ac:graphicFrameMkLst>
        </pc:graphicFrameChg>
      </pc:sldChg>
      <pc:sldChg chg="addSp modSp new mod">
        <pc:chgData name="Carlos Reyes García" userId="8f106461-3865-4cda-a443-ca56f71f97d2" providerId="ADAL" clId="{D3EFDC9E-C770-4EC4-8A5A-B4E22FBE207B}" dt="2020-03-03T05:27:25.173" v="12490" actId="20577"/>
        <pc:sldMkLst>
          <pc:docMk/>
          <pc:sldMk cId="3112427032" sldId="722"/>
        </pc:sldMkLst>
        <pc:spChg chg="mod">
          <ac:chgData name="Carlos Reyes García" userId="8f106461-3865-4cda-a443-ca56f71f97d2" providerId="ADAL" clId="{D3EFDC9E-C770-4EC4-8A5A-B4E22FBE207B}" dt="2020-03-03T05:25:58.130" v="12406"/>
          <ac:spMkLst>
            <pc:docMk/>
            <pc:sldMk cId="3112427032" sldId="722"/>
            <ac:spMk id="2" creationId="{12875C81-F600-4B0E-91CA-BE473A8C47DF}"/>
          </ac:spMkLst>
        </pc:spChg>
        <pc:spChg chg="mod">
          <ac:chgData name="Carlos Reyes García" userId="8f106461-3865-4cda-a443-ca56f71f97d2" providerId="ADAL" clId="{D3EFDC9E-C770-4EC4-8A5A-B4E22FBE207B}" dt="2020-03-03T05:27:25.173" v="12490" actId="20577"/>
          <ac:spMkLst>
            <pc:docMk/>
            <pc:sldMk cId="3112427032" sldId="722"/>
            <ac:spMk id="4" creationId="{B93BA1DA-6489-4FFC-AF2A-B70913655403}"/>
          </ac:spMkLst>
        </pc:spChg>
        <pc:picChg chg="add mod">
          <ac:chgData name="Carlos Reyes García" userId="8f106461-3865-4cda-a443-ca56f71f97d2" providerId="ADAL" clId="{D3EFDC9E-C770-4EC4-8A5A-B4E22FBE207B}" dt="2020-03-03T05:25:51.800" v="12405" actId="1076"/>
          <ac:picMkLst>
            <pc:docMk/>
            <pc:sldMk cId="3112427032" sldId="722"/>
            <ac:picMk id="5" creationId="{E1BDEB98-4958-4134-8800-796FD4F3D2C4}"/>
          </ac:picMkLst>
        </pc:picChg>
      </pc:sldChg>
      <pc:sldChg chg="modSp add mod modNotesTx">
        <pc:chgData name="Carlos Reyes García" userId="8f106461-3865-4cda-a443-ca56f71f97d2" providerId="ADAL" clId="{D3EFDC9E-C770-4EC4-8A5A-B4E22FBE207B}" dt="2020-03-03T07:22:53.881" v="13888" actId="20577"/>
        <pc:sldMkLst>
          <pc:docMk/>
          <pc:sldMk cId="1589491491" sldId="723"/>
        </pc:sldMkLst>
        <pc:spChg chg="mod">
          <ac:chgData name="Carlos Reyes García" userId="8f106461-3865-4cda-a443-ca56f71f97d2" providerId="ADAL" clId="{D3EFDC9E-C770-4EC4-8A5A-B4E22FBE207B}" dt="2020-03-03T05:28:32.244" v="12500" actId="20577"/>
          <ac:spMkLst>
            <pc:docMk/>
            <pc:sldMk cId="1589491491" sldId="723"/>
            <ac:spMk id="6" creationId="{637E159C-9ACF-48AE-927A-D5FB13695C7F}"/>
          </ac:spMkLst>
        </pc:spChg>
      </pc:sldChg>
      <pc:sldChg chg="modSp new del">
        <pc:chgData name="Carlos Reyes García" userId="8f106461-3865-4cda-a443-ca56f71f97d2" providerId="ADAL" clId="{D3EFDC9E-C770-4EC4-8A5A-B4E22FBE207B}" dt="2020-03-03T05:48:40.212" v="12648" actId="2696"/>
        <pc:sldMkLst>
          <pc:docMk/>
          <pc:sldMk cId="1809161128" sldId="724"/>
        </pc:sldMkLst>
        <pc:spChg chg="mod">
          <ac:chgData name="Carlos Reyes García" userId="8f106461-3865-4cda-a443-ca56f71f97d2" providerId="ADAL" clId="{D3EFDC9E-C770-4EC4-8A5A-B4E22FBE207B}" dt="2020-03-03T05:48:26.607" v="12647"/>
          <ac:spMkLst>
            <pc:docMk/>
            <pc:sldMk cId="1809161128" sldId="724"/>
            <ac:spMk id="2" creationId="{840C36D3-A394-47C0-B9C4-01C6A7160087}"/>
          </ac:spMkLst>
        </pc:spChg>
      </pc:sldChg>
      <pc:sldChg chg="addSp modSp add mod modNotesTx">
        <pc:chgData name="Carlos Reyes García" userId="8f106461-3865-4cda-a443-ca56f71f97d2" providerId="ADAL" clId="{D3EFDC9E-C770-4EC4-8A5A-B4E22FBE207B}" dt="2020-03-03T05:52:25.972" v="12695" actId="20577"/>
        <pc:sldMkLst>
          <pc:docMk/>
          <pc:sldMk cId="4218964462" sldId="724"/>
        </pc:sldMkLst>
        <pc:spChg chg="mod">
          <ac:chgData name="Carlos Reyes García" userId="8f106461-3865-4cda-a443-ca56f71f97d2" providerId="ADAL" clId="{D3EFDC9E-C770-4EC4-8A5A-B4E22FBE207B}" dt="2020-03-03T05:50:08.690" v="12660" actId="20577"/>
          <ac:spMkLst>
            <pc:docMk/>
            <pc:sldMk cId="4218964462" sldId="724"/>
            <ac:spMk id="3" creationId="{B9A5ABA0-0A95-4736-876E-E3E1F85B156E}"/>
          </ac:spMkLst>
        </pc:spChg>
        <pc:spChg chg="mod">
          <ac:chgData name="Carlos Reyes García" userId="8f106461-3865-4cda-a443-ca56f71f97d2" providerId="ADAL" clId="{D3EFDC9E-C770-4EC4-8A5A-B4E22FBE207B}" dt="2020-03-03T05:51:59.611" v="12693" actId="14100"/>
          <ac:spMkLst>
            <pc:docMk/>
            <pc:sldMk cId="4218964462" sldId="724"/>
            <ac:spMk id="4" creationId="{DE5845F6-B68B-429D-B0C2-353CF2015E97}"/>
          </ac:spMkLst>
        </pc:spChg>
        <pc:picChg chg="add mod">
          <ac:chgData name="Carlos Reyes García" userId="8f106461-3865-4cda-a443-ca56f71f97d2" providerId="ADAL" clId="{D3EFDC9E-C770-4EC4-8A5A-B4E22FBE207B}" dt="2020-03-03T05:51:53.835" v="12692" actId="1076"/>
          <ac:picMkLst>
            <pc:docMk/>
            <pc:sldMk cId="4218964462" sldId="724"/>
            <ac:picMk id="3074" creationId="{08942DD5-B42D-40A5-B37D-D4872B562AFD}"/>
          </ac:picMkLst>
        </pc:picChg>
      </pc:sldChg>
      <pc:sldChg chg="add del">
        <pc:chgData name="Carlos Reyes García" userId="8f106461-3865-4cda-a443-ca56f71f97d2" providerId="ADAL" clId="{D3EFDC9E-C770-4EC4-8A5A-B4E22FBE207B}" dt="2020-03-03T05:55:42.518" v="12718" actId="47"/>
        <pc:sldMkLst>
          <pc:docMk/>
          <pc:sldMk cId="1125095422" sldId="725"/>
        </pc:sldMkLst>
      </pc:sldChg>
      <pc:sldChg chg="modSp add del">
        <pc:chgData name="Carlos Reyes García" userId="8f106461-3865-4cda-a443-ca56f71f97d2" providerId="ADAL" clId="{D3EFDC9E-C770-4EC4-8A5A-B4E22FBE207B}" dt="2020-03-03T05:58:20.704" v="12745" actId="14100"/>
        <pc:sldMkLst>
          <pc:docMk/>
          <pc:sldMk cId="3040929960" sldId="726"/>
        </pc:sldMkLst>
        <pc:graphicFrameChg chg="mod">
          <ac:chgData name="Carlos Reyes García" userId="8f106461-3865-4cda-a443-ca56f71f97d2" providerId="ADAL" clId="{D3EFDC9E-C770-4EC4-8A5A-B4E22FBE207B}" dt="2020-03-03T05:58:20.704" v="12745" actId="14100"/>
          <ac:graphicFrameMkLst>
            <pc:docMk/>
            <pc:sldMk cId="3040929960" sldId="726"/>
            <ac:graphicFrameMk id="5" creationId="{D48D6338-D593-460A-874C-4611E69E7AF0}"/>
          </ac:graphicFrameMkLst>
        </pc:graphicFrameChg>
      </pc:sldChg>
      <pc:sldChg chg="addSp delSp modSp add mod">
        <pc:chgData name="Carlos Reyes García" userId="8f106461-3865-4cda-a443-ca56f71f97d2" providerId="ADAL" clId="{D3EFDC9E-C770-4EC4-8A5A-B4E22FBE207B}" dt="2020-03-03T07:49:44.831" v="14171"/>
        <pc:sldMkLst>
          <pc:docMk/>
          <pc:sldMk cId="1894719125" sldId="727"/>
        </pc:sldMkLst>
        <pc:spChg chg="mod">
          <ac:chgData name="Carlos Reyes García" userId="8f106461-3865-4cda-a443-ca56f71f97d2" providerId="ADAL" clId="{D3EFDC9E-C770-4EC4-8A5A-B4E22FBE207B}" dt="2020-03-03T07:49:33.041" v="14168"/>
          <ac:spMkLst>
            <pc:docMk/>
            <pc:sldMk cId="1894719125" sldId="727"/>
            <ac:spMk id="2" creationId="{EB67312A-9819-43C6-8D84-D9136E6CFFCC}"/>
          </ac:spMkLst>
        </pc:spChg>
        <pc:spChg chg="mod">
          <ac:chgData name="Carlos Reyes García" userId="8f106461-3865-4cda-a443-ca56f71f97d2" providerId="ADAL" clId="{D3EFDC9E-C770-4EC4-8A5A-B4E22FBE207B}" dt="2020-03-03T07:49:44.831" v="14171"/>
          <ac:spMkLst>
            <pc:docMk/>
            <pc:sldMk cId="1894719125" sldId="727"/>
            <ac:spMk id="3" creationId="{F35E8CBB-5A7D-4DEF-BAF7-8DD5D042F9E0}"/>
          </ac:spMkLst>
        </pc:spChg>
        <pc:spChg chg="mod">
          <ac:chgData name="Carlos Reyes García" userId="8f106461-3865-4cda-a443-ca56f71f97d2" providerId="ADAL" clId="{D3EFDC9E-C770-4EC4-8A5A-B4E22FBE207B}" dt="2020-03-03T07:00:21.090" v="13255" actId="20577"/>
          <ac:spMkLst>
            <pc:docMk/>
            <pc:sldMk cId="1894719125" sldId="727"/>
            <ac:spMk id="15" creationId="{211413AE-8D61-469A-A381-96558B10C230}"/>
          </ac:spMkLst>
        </pc:spChg>
        <pc:picChg chg="del">
          <ac:chgData name="Carlos Reyes García" userId="8f106461-3865-4cda-a443-ca56f71f97d2" providerId="ADAL" clId="{D3EFDC9E-C770-4EC4-8A5A-B4E22FBE207B}" dt="2020-03-03T06:58:21.335" v="13175" actId="478"/>
          <ac:picMkLst>
            <pc:docMk/>
            <pc:sldMk cId="1894719125" sldId="727"/>
            <ac:picMk id="4" creationId="{60E89AD2-297D-4B37-A2E9-45CE76DAEADB}"/>
          </ac:picMkLst>
        </pc:picChg>
        <pc:picChg chg="add mod">
          <ac:chgData name="Carlos Reyes García" userId="8f106461-3865-4cda-a443-ca56f71f97d2" providerId="ADAL" clId="{D3EFDC9E-C770-4EC4-8A5A-B4E22FBE207B}" dt="2020-03-03T06:59:32.129" v="13183" actId="1076"/>
          <ac:picMkLst>
            <pc:docMk/>
            <pc:sldMk cId="1894719125" sldId="727"/>
            <ac:picMk id="5" creationId="{F54CF329-1ACE-4498-9DA2-B2B616356E08}"/>
          </ac:picMkLst>
        </pc:picChg>
        <pc:picChg chg="del">
          <ac:chgData name="Carlos Reyes García" userId="8f106461-3865-4cda-a443-ca56f71f97d2" providerId="ADAL" clId="{D3EFDC9E-C770-4EC4-8A5A-B4E22FBE207B}" dt="2020-03-03T06:58:19.526" v="13174" actId="478"/>
          <ac:picMkLst>
            <pc:docMk/>
            <pc:sldMk cId="1894719125" sldId="727"/>
            <ac:picMk id="13" creationId="{E5CB7015-BEDA-44A0-BCF3-4957F54980A8}"/>
          </ac:picMkLst>
        </pc:picChg>
        <pc:picChg chg="del">
          <ac:chgData name="Carlos Reyes García" userId="8f106461-3865-4cda-a443-ca56f71f97d2" providerId="ADAL" clId="{D3EFDC9E-C770-4EC4-8A5A-B4E22FBE207B}" dt="2020-03-03T06:58:23.640" v="13176" actId="478"/>
          <ac:picMkLst>
            <pc:docMk/>
            <pc:sldMk cId="1894719125" sldId="727"/>
            <ac:picMk id="1026" creationId="{C50DECDF-CD18-42CB-8AA9-32C7170BD887}"/>
          </ac:picMkLst>
        </pc:picChg>
        <pc:cxnChg chg="mod">
          <ac:chgData name="Carlos Reyes García" userId="8f106461-3865-4cda-a443-ca56f71f97d2" providerId="ADAL" clId="{D3EFDC9E-C770-4EC4-8A5A-B4E22FBE207B}" dt="2020-03-03T07:18:22.076" v="13760" actId="1582"/>
          <ac:cxnSpMkLst>
            <pc:docMk/>
            <pc:sldMk cId="1894719125" sldId="727"/>
            <ac:cxnSpMk id="16" creationId="{95F87E3D-4B35-4430-A3B4-3AB6F3414141}"/>
          </ac:cxnSpMkLst>
        </pc:cxnChg>
        <pc:cxnChg chg="del">
          <ac:chgData name="Carlos Reyes García" userId="8f106461-3865-4cda-a443-ca56f71f97d2" providerId="ADAL" clId="{D3EFDC9E-C770-4EC4-8A5A-B4E22FBE207B}" dt="2020-03-03T06:58:26.226" v="13177" actId="478"/>
          <ac:cxnSpMkLst>
            <pc:docMk/>
            <pc:sldMk cId="1894719125" sldId="727"/>
            <ac:cxnSpMk id="21" creationId="{460EA17A-3E41-4295-B15B-E1EE177E158C}"/>
          </ac:cxnSpMkLst>
        </pc:cxnChg>
      </pc:sldChg>
      <pc:sldChg chg="add del">
        <pc:chgData name="Carlos Reyes García" userId="8f106461-3865-4cda-a443-ca56f71f97d2" providerId="ADAL" clId="{D3EFDC9E-C770-4EC4-8A5A-B4E22FBE207B}" dt="2020-03-03T07:00:32.701" v="13258" actId="47"/>
        <pc:sldMkLst>
          <pc:docMk/>
          <pc:sldMk cId="190587474" sldId="728"/>
        </pc:sldMkLst>
      </pc:sldChg>
      <pc:sldChg chg="add del">
        <pc:chgData name="Carlos Reyes García" userId="8f106461-3865-4cda-a443-ca56f71f97d2" providerId="ADAL" clId="{D3EFDC9E-C770-4EC4-8A5A-B4E22FBE207B}" dt="2020-03-03T07:00:33.290" v="13259" actId="47"/>
        <pc:sldMkLst>
          <pc:docMk/>
          <pc:sldMk cId="4232658200" sldId="729"/>
        </pc:sldMkLst>
      </pc:sldChg>
      <pc:sldChg chg="addSp delSp modSp add mod">
        <pc:chgData name="Carlos Reyes García" userId="8f106461-3865-4cda-a443-ca56f71f97d2" providerId="ADAL" clId="{D3EFDC9E-C770-4EC4-8A5A-B4E22FBE207B}" dt="2020-03-03T07:49:50.027" v="14173"/>
        <pc:sldMkLst>
          <pc:docMk/>
          <pc:sldMk cId="3695741266" sldId="730"/>
        </pc:sldMkLst>
        <pc:spChg chg="mod">
          <ac:chgData name="Carlos Reyes García" userId="8f106461-3865-4cda-a443-ca56f71f97d2" providerId="ADAL" clId="{D3EFDC9E-C770-4EC4-8A5A-B4E22FBE207B}" dt="2020-03-03T07:49:39.069" v="14170"/>
          <ac:spMkLst>
            <pc:docMk/>
            <pc:sldMk cId="3695741266" sldId="730"/>
            <ac:spMk id="2" creationId="{EB67312A-9819-43C6-8D84-D9136E6CFFCC}"/>
          </ac:spMkLst>
        </pc:spChg>
        <pc:spChg chg="mod">
          <ac:chgData name="Carlos Reyes García" userId="8f106461-3865-4cda-a443-ca56f71f97d2" providerId="ADAL" clId="{D3EFDC9E-C770-4EC4-8A5A-B4E22FBE207B}" dt="2020-03-03T07:49:50.027" v="14173"/>
          <ac:spMkLst>
            <pc:docMk/>
            <pc:sldMk cId="3695741266" sldId="730"/>
            <ac:spMk id="3" creationId="{F35E8CBB-5A7D-4DEF-BAF7-8DD5D042F9E0}"/>
          </ac:spMkLst>
        </pc:spChg>
        <pc:spChg chg="add mod">
          <ac:chgData name="Carlos Reyes García" userId="8f106461-3865-4cda-a443-ca56f71f97d2" providerId="ADAL" clId="{D3EFDC9E-C770-4EC4-8A5A-B4E22FBE207B}" dt="2020-03-03T07:16:43.206" v="13749" actId="14100"/>
          <ac:spMkLst>
            <pc:docMk/>
            <pc:sldMk cId="3695741266" sldId="730"/>
            <ac:spMk id="7" creationId="{42AD262A-C9F5-4411-8C8A-F10CECCC9201}"/>
          </ac:spMkLst>
        </pc:spChg>
        <pc:spChg chg="add mod">
          <ac:chgData name="Carlos Reyes García" userId="8f106461-3865-4cda-a443-ca56f71f97d2" providerId="ADAL" clId="{D3EFDC9E-C770-4EC4-8A5A-B4E22FBE207B}" dt="2020-03-03T07:17:03.846" v="13755" actId="14100"/>
          <ac:spMkLst>
            <pc:docMk/>
            <pc:sldMk cId="3695741266" sldId="730"/>
            <ac:spMk id="8" creationId="{DBEBF242-CEC2-4622-8581-A7A11A495CCE}"/>
          </ac:spMkLst>
        </pc:spChg>
        <pc:spChg chg="mod">
          <ac:chgData name="Carlos Reyes García" userId="8f106461-3865-4cda-a443-ca56f71f97d2" providerId="ADAL" clId="{D3EFDC9E-C770-4EC4-8A5A-B4E22FBE207B}" dt="2020-03-03T07:16:24.195" v="13743" actId="20577"/>
          <ac:spMkLst>
            <pc:docMk/>
            <pc:sldMk cId="3695741266" sldId="730"/>
            <ac:spMk id="15" creationId="{211413AE-8D61-469A-A381-96558B10C230}"/>
          </ac:spMkLst>
        </pc:spChg>
        <pc:picChg chg="add del mod">
          <ac:chgData name="Carlos Reyes García" userId="8f106461-3865-4cda-a443-ca56f71f97d2" providerId="ADAL" clId="{D3EFDC9E-C770-4EC4-8A5A-B4E22FBE207B}" dt="2020-03-03T07:07:09.587" v="13582"/>
          <ac:picMkLst>
            <pc:docMk/>
            <pc:sldMk cId="3695741266" sldId="730"/>
            <ac:picMk id="4" creationId="{F17EDBCA-D9A4-448D-A542-2DB5F072A135}"/>
          </ac:picMkLst>
        </pc:picChg>
        <pc:picChg chg="add del">
          <ac:chgData name="Carlos Reyes García" userId="8f106461-3865-4cda-a443-ca56f71f97d2" providerId="ADAL" clId="{D3EFDC9E-C770-4EC4-8A5A-B4E22FBE207B}" dt="2020-03-03T07:07:22.512" v="13588" actId="478"/>
          <ac:picMkLst>
            <pc:docMk/>
            <pc:sldMk cId="3695741266" sldId="730"/>
            <ac:picMk id="5" creationId="{F54CF329-1ACE-4498-9DA2-B2B616356E08}"/>
          </ac:picMkLst>
        </pc:picChg>
        <pc:picChg chg="add mod">
          <ac:chgData name="Carlos Reyes García" userId="8f106461-3865-4cda-a443-ca56f71f97d2" providerId="ADAL" clId="{D3EFDC9E-C770-4EC4-8A5A-B4E22FBE207B}" dt="2020-03-03T07:16:36.028" v="13747" actId="1076"/>
          <ac:picMkLst>
            <pc:docMk/>
            <pc:sldMk cId="3695741266" sldId="730"/>
            <ac:picMk id="6" creationId="{F533BCE8-2908-4EB6-81C9-D32AA0571BF0}"/>
          </ac:picMkLst>
        </pc:picChg>
        <pc:cxnChg chg="add mod">
          <ac:chgData name="Carlos Reyes García" userId="8f106461-3865-4cda-a443-ca56f71f97d2" providerId="ADAL" clId="{D3EFDC9E-C770-4EC4-8A5A-B4E22FBE207B}" dt="2020-03-03T07:16:27.823" v="13744" actId="1076"/>
          <ac:cxnSpMkLst>
            <pc:docMk/>
            <pc:sldMk cId="3695741266" sldId="730"/>
            <ac:cxnSpMk id="9" creationId="{0F93E96A-638A-4E42-B3DE-95E1861C3E69}"/>
          </ac:cxnSpMkLst>
        </pc:cxnChg>
        <pc:cxnChg chg="del">
          <ac:chgData name="Carlos Reyes García" userId="8f106461-3865-4cda-a443-ca56f71f97d2" providerId="ADAL" clId="{D3EFDC9E-C770-4EC4-8A5A-B4E22FBE207B}" dt="2020-03-03T07:06:53.461" v="13577" actId="478"/>
          <ac:cxnSpMkLst>
            <pc:docMk/>
            <pc:sldMk cId="3695741266" sldId="730"/>
            <ac:cxnSpMk id="16" creationId="{95F87E3D-4B35-4430-A3B4-3AB6F3414141}"/>
          </ac:cxnSpMkLst>
        </pc:cxnChg>
      </pc:sldChg>
      <pc:sldChg chg="addSp delSp modSp add mod">
        <pc:chgData name="Carlos Reyes García" userId="8f106461-3865-4cda-a443-ca56f71f97d2" providerId="ADAL" clId="{D3EFDC9E-C770-4EC4-8A5A-B4E22FBE207B}" dt="2020-03-03T07:49:47.079" v="14172"/>
        <pc:sldMkLst>
          <pc:docMk/>
          <pc:sldMk cId="3654359917" sldId="731"/>
        </pc:sldMkLst>
        <pc:spChg chg="mod">
          <ac:chgData name="Carlos Reyes García" userId="8f106461-3865-4cda-a443-ca56f71f97d2" providerId="ADAL" clId="{D3EFDC9E-C770-4EC4-8A5A-B4E22FBE207B}" dt="2020-03-03T07:49:36.244" v="14169"/>
          <ac:spMkLst>
            <pc:docMk/>
            <pc:sldMk cId="3654359917" sldId="731"/>
            <ac:spMk id="2" creationId="{EB67312A-9819-43C6-8D84-D9136E6CFFCC}"/>
          </ac:spMkLst>
        </pc:spChg>
        <pc:spChg chg="mod">
          <ac:chgData name="Carlos Reyes García" userId="8f106461-3865-4cda-a443-ca56f71f97d2" providerId="ADAL" clId="{D3EFDC9E-C770-4EC4-8A5A-B4E22FBE207B}" dt="2020-03-03T07:49:47.079" v="14172"/>
          <ac:spMkLst>
            <pc:docMk/>
            <pc:sldMk cId="3654359917" sldId="731"/>
            <ac:spMk id="3" creationId="{F35E8CBB-5A7D-4DEF-BAF7-8DD5D042F9E0}"/>
          </ac:spMkLst>
        </pc:spChg>
        <pc:spChg chg="add mod">
          <ac:chgData name="Carlos Reyes García" userId="8f106461-3865-4cda-a443-ca56f71f97d2" providerId="ADAL" clId="{D3EFDC9E-C770-4EC4-8A5A-B4E22FBE207B}" dt="2020-03-03T07:06:42.356" v="13576" actId="1582"/>
          <ac:spMkLst>
            <pc:docMk/>
            <pc:sldMk cId="3654359917" sldId="731"/>
            <ac:spMk id="13" creationId="{E2C06438-D52C-44D3-BB4E-A2A7E19343C9}"/>
          </ac:spMkLst>
        </pc:spChg>
        <pc:spChg chg="mod">
          <ac:chgData name="Carlos Reyes García" userId="8f106461-3865-4cda-a443-ca56f71f97d2" providerId="ADAL" clId="{D3EFDC9E-C770-4EC4-8A5A-B4E22FBE207B}" dt="2020-03-03T07:06:05.045" v="13568"/>
          <ac:spMkLst>
            <pc:docMk/>
            <pc:sldMk cId="3654359917" sldId="731"/>
            <ac:spMk id="15" creationId="{211413AE-8D61-469A-A381-96558B10C230}"/>
          </ac:spMkLst>
        </pc:spChg>
        <pc:picChg chg="add mod">
          <ac:chgData name="Carlos Reyes García" userId="8f106461-3865-4cda-a443-ca56f71f97d2" providerId="ADAL" clId="{D3EFDC9E-C770-4EC4-8A5A-B4E22FBE207B}" dt="2020-03-03T07:17:53.497" v="13756" actId="1076"/>
          <ac:picMkLst>
            <pc:docMk/>
            <pc:sldMk cId="3654359917" sldId="731"/>
            <ac:picMk id="4" creationId="{894AB62A-96B8-403C-9B51-8E333CABDD0B}"/>
          </ac:picMkLst>
        </pc:picChg>
        <pc:picChg chg="del">
          <ac:chgData name="Carlos Reyes García" userId="8f106461-3865-4cda-a443-ca56f71f97d2" providerId="ADAL" clId="{D3EFDC9E-C770-4EC4-8A5A-B4E22FBE207B}" dt="2020-03-03T07:01:00.644" v="13260" actId="478"/>
          <ac:picMkLst>
            <pc:docMk/>
            <pc:sldMk cId="3654359917" sldId="731"/>
            <ac:picMk id="5" creationId="{F54CF329-1ACE-4498-9DA2-B2B616356E08}"/>
          </ac:picMkLst>
        </pc:picChg>
        <pc:cxnChg chg="add del">
          <ac:chgData name="Carlos Reyes García" userId="8f106461-3865-4cda-a443-ca56f71f97d2" providerId="ADAL" clId="{D3EFDC9E-C770-4EC4-8A5A-B4E22FBE207B}" dt="2020-03-03T07:06:23.199" v="13573" actId="21"/>
          <ac:cxnSpMkLst>
            <pc:docMk/>
            <pc:sldMk cId="3654359917" sldId="731"/>
            <ac:cxnSpMk id="11" creationId="{0BF6917E-8C08-46E0-A8A5-71F8C17E8099}"/>
          </ac:cxnSpMkLst>
        </pc:cxnChg>
        <pc:cxnChg chg="add del mod">
          <ac:chgData name="Carlos Reyes García" userId="8f106461-3865-4cda-a443-ca56f71f97d2" providerId="ADAL" clId="{D3EFDC9E-C770-4EC4-8A5A-B4E22FBE207B}" dt="2020-03-03T07:06:13.645" v="13571" actId="478"/>
          <ac:cxnSpMkLst>
            <pc:docMk/>
            <pc:sldMk cId="3654359917" sldId="731"/>
            <ac:cxnSpMk id="12" creationId="{2D356107-F64F-4403-B2F5-B11C8A8D32F2}"/>
          </ac:cxnSpMkLst>
        </pc:cxnChg>
        <pc:cxnChg chg="mod">
          <ac:chgData name="Carlos Reyes García" userId="8f106461-3865-4cda-a443-ca56f71f97d2" providerId="ADAL" clId="{D3EFDC9E-C770-4EC4-8A5A-B4E22FBE207B}" dt="2020-03-03T07:18:09.127" v="13758" actId="1582"/>
          <ac:cxnSpMkLst>
            <pc:docMk/>
            <pc:sldMk cId="3654359917" sldId="731"/>
            <ac:cxnSpMk id="16" creationId="{95F87E3D-4B35-4430-A3B4-3AB6F3414141}"/>
          </ac:cxnSpMkLst>
        </pc:cxnChg>
      </pc:sldChg>
      <pc:sldChg chg="addSp delSp modSp add mod ord">
        <pc:chgData name="Carlos Reyes García" userId="8f106461-3865-4cda-a443-ca56f71f97d2" providerId="ADAL" clId="{D3EFDC9E-C770-4EC4-8A5A-B4E22FBE207B}" dt="2020-03-03T07:50:05.355" v="14177"/>
        <pc:sldMkLst>
          <pc:docMk/>
          <pc:sldMk cId="587609394" sldId="732"/>
        </pc:sldMkLst>
        <pc:spChg chg="mod">
          <ac:chgData name="Carlos Reyes García" userId="8f106461-3865-4cda-a443-ca56f71f97d2" providerId="ADAL" clId="{D3EFDC9E-C770-4EC4-8A5A-B4E22FBE207B}" dt="2020-03-03T07:50:00.483" v="14176"/>
          <ac:spMkLst>
            <pc:docMk/>
            <pc:sldMk cId="587609394" sldId="732"/>
            <ac:spMk id="2" creationId="{EB67312A-9819-43C6-8D84-D9136E6CFFCC}"/>
          </ac:spMkLst>
        </pc:spChg>
        <pc:spChg chg="mod">
          <ac:chgData name="Carlos Reyes García" userId="8f106461-3865-4cda-a443-ca56f71f97d2" providerId="ADAL" clId="{D3EFDC9E-C770-4EC4-8A5A-B4E22FBE207B}" dt="2020-03-03T07:50:05.355" v="14177"/>
          <ac:spMkLst>
            <pc:docMk/>
            <pc:sldMk cId="587609394" sldId="732"/>
            <ac:spMk id="3" creationId="{F35E8CBB-5A7D-4DEF-BAF7-8DD5D042F9E0}"/>
          </ac:spMkLst>
        </pc:spChg>
        <pc:spChg chg="mod">
          <ac:chgData name="Carlos Reyes García" userId="8f106461-3865-4cda-a443-ca56f71f97d2" providerId="ADAL" clId="{D3EFDC9E-C770-4EC4-8A5A-B4E22FBE207B}" dt="2020-03-03T07:39:03.498" v="14110" actId="20577"/>
          <ac:spMkLst>
            <pc:docMk/>
            <pc:sldMk cId="587609394" sldId="732"/>
            <ac:spMk id="15" creationId="{211413AE-8D61-469A-A381-96558B10C230}"/>
          </ac:spMkLst>
        </pc:spChg>
        <pc:picChg chg="add del mod">
          <ac:chgData name="Carlos Reyes García" userId="8f106461-3865-4cda-a443-ca56f71f97d2" providerId="ADAL" clId="{D3EFDC9E-C770-4EC4-8A5A-B4E22FBE207B}" dt="2020-03-03T07:37:34.501" v="14041" actId="478"/>
          <ac:picMkLst>
            <pc:docMk/>
            <pc:sldMk cId="587609394" sldId="732"/>
            <ac:picMk id="4" creationId="{23EA1172-4B72-46BE-9B39-8286DC9F6700}"/>
          </ac:picMkLst>
        </pc:picChg>
        <pc:picChg chg="del">
          <ac:chgData name="Carlos Reyes García" userId="8f106461-3865-4cda-a443-ca56f71f97d2" providerId="ADAL" clId="{D3EFDC9E-C770-4EC4-8A5A-B4E22FBE207B}" dt="2020-03-03T07:36:07.313" v="13915" actId="478"/>
          <ac:picMkLst>
            <pc:docMk/>
            <pc:sldMk cId="587609394" sldId="732"/>
            <ac:picMk id="5" creationId="{F54CF329-1ACE-4498-9DA2-B2B616356E08}"/>
          </ac:picMkLst>
        </pc:picChg>
        <pc:picChg chg="add mod">
          <ac:chgData name="Carlos Reyes García" userId="8f106461-3865-4cda-a443-ca56f71f97d2" providerId="ADAL" clId="{D3EFDC9E-C770-4EC4-8A5A-B4E22FBE207B}" dt="2020-03-03T07:38:03.658" v="14046" actId="1076"/>
          <ac:picMkLst>
            <pc:docMk/>
            <pc:sldMk cId="587609394" sldId="732"/>
            <ac:picMk id="6" creationId="{14270DA2-8142-4EC0-AFB7-1ED3EA554BDB}"/>
          </ac:picMkLst>
        </pc:picChg>
        <pc:picChg chg="add mod">
          <ac:chgData name="Carlos Reyes García" userId="8f106461-3865-4cda-a443-ca56f71f97d2" providerId="ADAL" clId="{D3EFDC9E-C770-4EC4-8A5A-B4E22FBE207B}" dt="2020-03-03T07:39:08.411" v="14111" actId="1076"/>
          <ac:picMkLst>
            <pc:docMk/>
            <pc:sldMk cId="587609394" sldId="732"/>
            <ac:picMk id="9" creationId="{E5BA76CB-E3B8-4498-8997-C15700AFBB33}"/>
          </ac:picMkLst>
        </pc:picChg>
        <pc:cxnChg chg="add del mod">
          <ac:chgData name="Carlos Reyes García" userId="8f106461-3865-4cda-a443-ca56f71f97d2" providerId="ADAL" clId="{D3EFDC9E-C770-4EC4-8A5A-B4E22FBE207B}" dt="2020-03-03T07:38:06.853" v="14047" actId="14100"/>
          <ac:cxnSpMkLst>
            <pc:docMk/>
            <pc:sldMk cId="587609394" sldId="732"/>
            <ac:cxnSpMk id="16" creationId="{95F87E3D-4B35-4430-A3B4-3AB6F3414141}"/>
          </ac:cxnSpMkLst>
        </pc:cxnChg>
      </pc:sldChg>
      <pc:sldChg chg="addSp delSp modSp add mod modNotesTx">
        <pc:chgData name="Carlos Reyes García" userId="8f106461-3865-4cda-a443-ca56f71f97d2" providerId="ADAL" clId="{D3EFDC9E-C770-4EC4-8A5A-B4E22FBE207B}" dt="2020-03-03T08:04:26.505" v="14254" actId="1076"/>
        <pc:sldMkLst>
          <pc:docMk/>
          <pc:sldMk cId="3040064638" sldId="733"/>
        </pc:sldMkLst>
        <pc:spChg chg="mod">
          <ac:chgData name="Carlos Reyes García" userId="8f106461-3865-4cda-a443-ca56f71f97d2" providerId="ADAL" clId="{D3EFDC9E-C770-4EC4-8A5A-B4E22FBE207B}" dt="2020-03-03T07:50:10.239" v="14178"/>
          <ac:spMkLst>
            <pc:docMk/>
            <pc:sldMk cId="3040064638" sldId="733"/>
            <ac:spMk id="2" creationId="{EB67312A-9819-43C6-8D84-D9136E6CFFCC}"/>
          </ac:spMkLst>
        </pc:spChg>
        <pc:spChg chg="mod">
          <ac:chgData name="Carlos Reyes García" userId="8f106461-3865-4cda-a443-ca56f71f97d2" providerId="ADAL" clId="{D3EFDC9E-C770-4EC4-8A5A-B4E22FBE207B}" dt="2020-03-03T07:50:17.189" v="14179"/>
          <ac:spMkLst>
            <pc:docMk/>
            <pc:sldMk cId="3040064638" sldId="733"/>
            <ac:spMk id="3" creationId="{F35E8CBB-5A7D-4DEF-BAF7-8DD5D042F9E0}"/>
          </ac:spMkLst>
        </pc:spChg>
        <pc:spChg chg="mod">
          <ac:chgData name="Carlos Reyes García" userId="8f106461-3865-4cda-a443-ca56f71f97d2" providerId="ADAL" clId="{D3EFDC9E-C770-4EC4-8A5A-B4E22FBE207B}" dt="2020-03-03T08:03:56.030" v="14252" actId="20577"/>
          <ac:spMkLst>
            <pc:docMk/>
            <pc:sldMk cId="3040064638" sldId="733"/>
            <ac:spMk id="15" creationId="{211413AE-8D61-469A-A381-96558B10C230}"/>
          </ac:spMkLst>
        </pc:spChg>
        <pc:picChg chg="add del mod">
          <ac:chgData name="Carlos Reyes García" userId="8f106461-3865-4cda-a443-ca56f71f97d2" providerId="ADAL" clId="{D3EFDC9E-C770-4EC4-8A5A-B4E22FBE207B}" dt="2020-03-03T07:51:35.614" v="14186" actId="478"/>
          <ac:picMkLst>
            <pc:docMk/>
            <pc:sldMk cId="3040064638" sldId="733"/>
            <ac:picMk id="4" creationId="{FAF6B609-90D2-4D83-878D-6F7B76A0C587}"/>
          </ac:picMkLst>
        </pc:picChg>
        <pc:picChg chg="del">
          <ac:chgData name="Carlos Reyes García" userId="8f106461-3865-4cda-a443-ca56f71f97d2" providerId="ADAL" clId="{D3EFDC9E-C770-4EC4-8A5A-B4E22FBE207B}" dt="2020-03-03T07:39:15.031" v="14113" actId="478"/>
          <ac:picMkLst>
            <pc:docMk/>
            <pc:sldMk cId="3040064638" sldId="733"/>
            <ac:picMk id="6" creationId="{14270DA2-8142-4EC0-AFB7-1ED3EA554BDB}"/>
          </ac:picMkLst>
        </pc:picChg>
        <pc:picChg chg="del">
          <ac:chgData name="Carlos Reyes García" userId="8f106461-3865-4cda-a443-ca56f71f97d2" providerId="ADAL" clId="{D3EFDC9E-C770-4EC4-8A5A-B4E22FBE207B}" dt="2020-03-03T07:42:35.386" v="14117" actId="478"/>
          <ac:picMkLst>
            <pc:docMk/>
            <pc:sldMk cId="3040064638" sldId="733"/>
            <ac:picMk id="9" creationId="{E5BA76CB-E3B8-4498-8997-C15700AFBB33}"/>
          </ac:picMkLst>
        </pc:picChg>
        <pc:picChg chg="add mod">
          <ac:chgData name="Carlos Reyes García" userId="8f106461-3865-4cda-a443-ca56f71f97d2" providerId="ADAL" clId="{D3EFDC9E-C770-4EC4-8A5A-B4E22FBE207B}" dt="2020-03-03T08:04:26.505" v="14254" actId="1076"/>
          <ac:picMkLst>
            <pc:docMk/>
            <pc:sldMk cId="3040064638" sldId="733"/>
            <ac:picMk id="21" creationId="{493EDBFC-F356-41BB-95A2-C7C12A13EF19}"/>
          </ac:picMkLst>
        </pc:picChg>
        <pc:cxnChg chg="add del mod">
          <ac:chgData name="Carlos Reyes García" userId="8f106461-3865-4cda-a443-ca56f71f97d2" providerId="ADAL" clId="{D3EFDC9E-C770-4EC4-8A5A-B4E22FBE207B}" dt="2020-03-03T07:48:28.380" v="14158" actId="478"/>
          <ac:cxnSpMkLst>
            <pc:docMk/>
            <pc:sldMk cId="3040064638" sldId="733"/>
            <ac:cxnSpMk id="10" creationId="{050B07AF-25C8-4679-97CB-B6F0867C8B44}"/>
          </ac:cxnSpMkLst>
        </pc:cxnChg>
        <pc:cxnChg chg="add del mod">
          <ac:chgData name="Carlos Reyes García" userId="8f106461-3865-4cda-a443-ca56f71f97d2" providerId="ADAL" clId="{D3EFDC9E-C770-4EC4-8A5A-B4E22FBE207B}" dt="2020-03-03T07:48:25.744" v="14157" actId="478"/>
          <ac:cxnSpMkLst>
            <pc:docMk/>
            <pc:sldMk cId="3040064638" sldId="733"/>
            <ac:cxnSpMk id="11" creationId="{751BA420-5ED8-4FAE-8C6A-ECB52D79E108}"/>
          </ac:cxnSpMkLst>
        </pc:cxnChg>
        <pc:cxnChg chg="del">
          <ac:chgData name="Carlos Reyes García" userId="8f106461-3865-4cda-a443-ca56f71f97d2" providerId="ADAL" clId="{D3EFDC9E-C770-4EC4-8A5A-B4E22FBE207B}" dt="2020-03-03T07:39:16.952" v="14114" actId="478"/>
          <ac:cxnSpMkLst>
            <pc:docMk/>
            <pc:sldMk cId="3040064638" sldId="733"/>
            <ac:cxnSpMk id="16" creationId="{95F87E3D-4B35-4430-A3B4-3AB6F3414141}"/>
          </ac:cxnSpMkLst>
        </pc:cxnChg>
      </pc:sldChg>
      <pc:sldChg chg="addSp delSp modSp add mod">
        <pc:chgData name="Carlos Reyes García" userId="8f106461-3865-4cda-a443-ca56f71f97d2" providerId="ADAL" clId="{D3EFDC9E-C770-4EC4-8A5A-B4E22FBE207B}" dt="2020-03-03T08:47:21.449" v="14546" actId="20577"/>
        <pc:sldMkLst>
          <pc:docMk/>
          <pc:sldMk cId="484351792" sldId="734"/>
        </pc:sldMkLst>
        <pc:spChg chg="mod">
          <ac:chgData name="Carlos Reyes García" userId="8f106461-3865-4cda-a443-ca56f71f97d2" providerId="ADAL" clId="{D3EFDC9E-C770-4EC4-8A5A-B4E22FBE207B}" dt="2020-03-03T08:43:42.386" v="14303"/>
          <ac:spMkLst>
            <pc:docMk/>
            <pc:sldMk cId="484351792" sldId="734"/>
            <ac:spMk id="2" creationId="{EB67312A-9819-43C6-8D84-D9136E6CFFCC}"/>
          </ac:spMkLst>
        </pc:spChg>
        <pc:spChg chg="mod">
          <ac:chgData name="Carlos Reyes García" userId="8f106461-3865-4cda-a443-ca56f71f97d2" providerId="ADAL" clId="{D3EFDC9E-C770-4EC4-8A5A-B4E22FBE207B}" dt="2020-03-03T08:47:21.449" v="14546" actId="20577"/>
          <ac:spMkLst>
            <pc:docMk/>
            <pc:sldMk cId="484351792" sldId="734"/>
            <ac:spMk id="15" creationId="{211413AE-8D61-469A-A381-96558B10C230}"/>
          </ac:spMkLst>
        </pc:spChg>
        <pc:picChg chg="del">
          <ac:chgData name="Carlos Reyes García" userId="8f106461-3865-4cda-a443-ca56f71f97d2" providerId="ADAL" clId="{D3EFDC9E-C770-4EC4-8A5A-B4E22FBE207B}" dt="2020-03-03T08:44:38.858" v="14304" actId="478"/>
          <ac:picMkLst>
            <pc:docMk/>
            <pc:sldMk cId="484351792" sldId="734"/>
            <ac:picMk id="4" creationId="{60E89AD2-297D-4B37-A2E9-45CE76DAEADB}"/>
          </ac:picMkLst>
        </pc:picChg>
        <pc:picChg chg="add mod">
          <ac:chgData name="Carlos Reyes García" userId="8f106461-3865-4cda-a443-ca56f71f97d2" providerId="ADAL" clId="{D3EFDC9E-C770-4EC4-8A5A-B4E22FBE207B}" dt="2020-03-03T08:45:25.357" v="14394" actId="1076"/>
          <ac:picMkLst>
            <pc:docMk/>
            <pc:sldMk cId="484351792" sldId="734"/>
            <ac:picMk id="5" creationId="{D15956E0-4C82-45FB-A498-177D047E6959}"/>
          </ac:picMkLst>
        </pc:picChg>
        <pc:picChg chg="add mod">
          <ac:chgData name="Carlos Reyes García" userId="8f106461-3865-4cda-a443-ca56f71f97d2" providerId="ADAL" clId="{D3EFDC9E-C770-4EC4-8A5A-B4E22FBE207B}" dt="2020-03-03T08:46:28.782" v="14490" actId="14100"/>
          <ac:picMkLst>
            <pc:docMk/>
            <pc:sldMk cId="484351792" sldId="734"/>
            <ac:picMk id="6" creationId="{9C17DE47-5657-4713-BE7A-77C364985B92}"/>
          </ac:picMkLst>
        </pc:picChg>
        <pc:picChg chg="add mod">
          <ac:chgData name="Carlos Reyes García" userId="8f106461-3865-4cda-a443-ca56f71f97d2" providerId="ADAL" clId="{D3EFDC9E-C770-4EC4-8A5A-B4E22FBE207B}" dt="2020-03-03T08:47:14.880" v="14541" actId="14100"/>
          <ac:picMkLst>
            <pc:docMk/>
            <pc:sldMk cId="484351792" sldId="734"/>
            <ac:picMk id="7" creationId="{209F93E1-2AC4-4E68-BD35-716EA8982841}"/>
          </ac:picMkLst>
        </pc:picChg>
        <pc:picChg chg="del">
          <ac:chgData name="Carlos Reyes García" userId="8f106461-3865-4cda-a443-ca56f71f97d2" providerId="ADAL" clId="{D3EFDC9E-C770-4EC4-8A5A-B4E22FBE207B}" dt="2020-03-03T08:44:44.093" v="14307" actId="478"/>
          <ac:picMkLst>
            <pc:docMk/>
            <pc:sldMk cId="484351792" sldId="734"/>
            <ac:picMk id="13" creationId="{E5CB7015-BEDA-44A0-BCF3-4957F54980A8}"/>
          </ac:picMkLst>
        </pc:picChg>
        <pc:picChg chg="del">
          <ac:chgData name="Carlos Reyes García" userId="8f106461-3865-4cda-a443-ca56f71f97d2" providerId="ADAL" clId="{D3EFDC9E-C770-4EC4-8A5A-B4E22FBE207B}" dt="2020-03-03T08:44:41.747" v="14305" actId="478"/>
          <ac:picMkLst>
            <pc:docMk/>
            <pc:sldMk cId="484351792" sldId="734"/>
            <ac:picMk id="1026" creationId="{C50DECDF-CD18-42CB-8AA9-32C7170BD887}"/>
          </ac:picMkLst>
        </pc:picChg>
        <pc:cxnChg chg="del">
          <ac:chgData name="Carlos Reyes García" userId="8f106461-3865-4cda-a443-ca56f71f97d2" providerId="ADAL" clId="{D3EFDC9E-C770-4EC4-8A5A-B4E22FBE207B}" dt="2020-03-03T08:44:45.899" v="14308" actId="478"/>
          <ac:cxnSpMkLst>
            <pc:docMk/>
            <pc:sldMk cId="484351792" sldId="734"/>
            <ac:cxnSpMk id="16" creationId="{95F87E3D-4B35-4430-A3B4-3AB6F3414141}"/>
          </ac:cxnSpMkLst>
        </pc:cxnChg>
        <pc:cxnChg chg="del">
          <ac:chgData name="Carlos Reyes García" userId="8f106461-3865-4cda-a443-ca56f71f97d2" providerId="ADAL" clId="{D3EFDC9E-C770-4EC4-8A5A-B4E22FBE207B}" dt="2020-03-03T08:44:42.684" v="14306" actId="478"/>
          <ac:cxnSpMkLst>
            <pc:docMk/>
            <pc:sldMk cId="484351792" sldId="734"/>
            <ac:cxnSpMk id="21" creationId="{460EA17A-3E41-4295-B15B-E1EE177E158C}"/>
          </ac:cxnSpMkLst>
        </pc:cxnChg>
      </pc:sldChg>
      <pc:sldChg chg="addSp delSp modSp add mod">
        <pc:chgData name="Carlos Reyes García" userId="8f106461-3865-4cda-a443-ca56f71f97d2" providerId="ADAL" clId="{D3EFDC9E-C770-4EC4-8A5A-B4E22FBE207B}" dt="2020-03-03T08:53:12.719" v="14857" actId="20577"/>
        <pc:sldMkLst>
          <pc:docMk/>
          <pc:sldMk cId="2752950038" sldId="735"/>
        </pc:sldMkLst>
        <pc:spChg chg="mod">
          <ac:chgData name="Carlos Reyes García" userId="8f106461-3865-4cda-a443-ca56f71f97d2" providerId="ADAL" clId="{D3EFDC9E-C770-4EC4-8A5A-B4E22FBE207B}" dt="2020-03-03T08:53:12.719" v="14857" actId="20577"/>
          <ac:spMkLst>
            <pc:docMk/>
            <pc:sldMk cId="2752950038" sldId="735"/>
            <ac:spMk id="15" creationId="{211413AE-8D61-469A-A381-96558B10C230}"/>
          </ac:spMkLst>
        </pc:spChg>
        <pc:picChg chg="add del mod">
          <ac:chgData name="Carlos Reyes García" userId="8f106461-3865-4cda-a443-ca56f71f97d2" providerId="ADAL" clId="{D3EFDC9E-C770-4EC4-8A5A-B4E22FBE207B}" dt="2020-03-03T08:53:12.142" v="14856" actId="478"/>
          <ac:picMkLst>
            <pc:docMk/>
            <pc:sldMk cId="2752950038" sldId="735"/>
            <ac:picMk id="4" creationId="{5F8A52F7-5122-43EB-8DF8-AF453E3C54E2}"/>
          </ac:picMkLst>
        </pc:picChg>
        <pc:picChg chg="del">
          <ac:chgData name="Carlos Reyes García" userId="8f106461-3865-4cda-a443-ca56f71f97d2" providerId="ADAL" clId="{D3EFDC9E-C770-4EC4-8A5A-B4E22FBE207B}" dt="2020-03-03T08:48:13.431" v="14548" actId="478"/>
          <ac:picMkLst>
            <pc:docMk/>
            <pc:sldMk cId="2752950038" sldId="735"/>
            <ac:picMk id="5" creationId="{D15956E0-4C82-45FB-A498-177D047E6959}"/>
          </ac:picMkLst>
        </pc:picChg>
        <pc:picChg chg="del">
          <ac:chgData name="Carlos Reyes García" userId="8f106461-3865-4cda-a443-ca56f71f97d2" providerId="ADAL" clId="{D3EFDC9E-C770-4EC4-8A5A-B4E22FBE207B}" dt="2020-03-03T08:48:17.022" v="14550" actId="478"/>
          <ac:picMkLst>
            <pc:docMk/>
            <pc:sldMk cId="2752950038" sldId="735"/>
            <ac:picMk id="6" creationId="{9C17DE47-5657-4713-BE7A-77C364985B92}"/>
          </ac:picMkLst>
        </pc:picChg>
        <pc:picChg chg="del">
          <ac:chgData name="Carlos Reyes García" userId="8f106461-3865-4cda-a443-ca56f71f97d2" providerId="ADAL" clId="{D3EFDC9E-C770-4EC4-8A5A-B4E22FBE207B}" dt="2020-03-03T08:48:17.601" v="14551" actId="478"/>
          <ac:picMkLst>
            <pc:docMk/>
            <pc:sldMk cId="2752950038" sldId="735"/>
            <ac:picMk id="7" creationId="{209F93E1-2AC4-4E68-BD35-716EA8982841}"/>
          </ac:picMkLst>
        </pc:picChg>
      </pc:sldChg>
      <pc:sldChg chg="addSp delSp modSp add mod ord">
        <pc:chgData name="Carlos Reyes García" userId="8f106461-3865-4cda-a443-ca56f71f97d2" providerId="ADAL" clId="{D3EFDC9E-C770-4EC4-8A5A-B4E22FBE207B}" dt="2020-03-03T08:55:10.102" v="14906" actId="20577"/>
        <pc:sldMkLst>
          <pc:docMk/>
          <pc:sldMk cId="73926818" sldId="736"/>
        </pc:sldMkLst>
        <pc:spChg chg="mod">
          <ac:chgData name="Carlos Reyes García" userId="8f106461-3865-4cda-a443-ca56f71f97d2" providerId="ADAL" clId="{D3EFDC9E-C770-4EC4-8A5A-B4E22FBE207B}" dt="2020-03-03T08:55:10.102" v="14906" actId="20577"/>
          <ac:spMkLst>
            <pc:docMk/>
            <pc:sldMk cId="73926818" sldId="736"/>
            <ac:spMk id="15" creationId="{211413AE-8D61-469A-A381-96558B10C230}"/>
          </ac:spMkLst>
        </pc:spChg>
        <pc:graphicFrameChg chg="add del">
          <ac:chgData name="Carlos Reyes García" userId="8f106461-3865-4cda-a443-ca56f71f97d2" providerId="ADAL" clId="{D3EFDC9E-C770-4EC4-8A5A-B4E22FBE207B}" dt="2020-03-03T08:51:50.285" v="14843"/>
          <ac:graphicFrameMkLst>
            <pc:docMk/>
            <pc:sldMk cId="73926818" sldId="736"/>
            <ac:graphicFrameMk id="5" creationId="{4C5585EF-6BDA-4CE8-9694-02116E84EA84}"/>
          </ac:graphicFrameMkLst>
        </pc:graphicFrameChg>
        <pc:graphicFrameChg chg="add del">
          <ac:chgData name="Carlos Reyes García" userId="8f106461-3865-4cda-a443-ca56f71f97d2" providerId="ADAL" clId="{D3EFDC9E-C770-4EC4-8A5A-B4E22FBE207B}" dt="2020-03-03T08:55:07.922" v="14904"/>
          <ac:graphicFrameMkLst>
            <pc:docMk/>
            <pc:sldMk cId="73926818" sldId="736"/>
            <ac:graphicFrameMk id="8" creationId="{79CEE647-DC26-4F53-A793-E63DB5991847}"/>
          </ac:graphicFrameMkLst>
        </pc:graphicFrameChg>
        <pc:picChg chg="del">
          <ac:chgData name="Carlos Reyes García" userId="8f106461-3865-4cda-a443-ca56f71f97d2" providerId="ADAL" clId="{D3EFDC9E-C770-4EC4-8A5A-B4E22FBE207B}" dt="2020-03-03T08:50:13.138" v="14783" actId="478"/>
          <ac:picMkLst>
            <pc:docMk/>
            <pc:sldMk cId="73926818" sldId="736"/>
            <ac:picMk id="4" creationId="{5F8A52F7-5122-43EB-8DF8-AF453E3C54E2}"/>
          </ac:picMkLst>
        </pc:picChg>
        <pc:picChg chg="add del mod">
          <ac:chgData name="Carlos Reyes García" userId="8f106461-3865-4cda-a443-ca56f71f97d2" providerId="ADAL" clId="{D3EFDC9E-C770-4EC4-8A5A-B4E22FBE207B}" dt="2020-03-03T08:53:47.132" v="14901" actId="478"/>
          <ac:picMkLst>
            <pc:docMk/>
            <pc:sldMk cId="73926818" sldId="736"/>
            <ac:picMk id="6" creationId="{94259591-F82D-48B6-9AA1-CC5116B66770}"/>
          </ac:picMkLst>
        </pc:picChg>
        <pc:picChg chg="add">
          <ac:chgData name="Carlos Reyes García" userId="8f106461-3865-4cda-a443-ca56f71f97d2" providerId="ADAL" clId="{D3EFDC9E-C770-4EC4-8A5A-B4E22FBE207B}" dt="2020-03-03T08:54:46.430" v="14902"/>
          <ac:picMkLst>
            <pc:docMk/>
            <pc:sldMk cId="73926818" sldId="736"/>
            <ac:picMk id="7" creationId="{FA91ECED-784D-4AD7-9F75-828DDF9D5F7B}"/>
          </ac:picMkLst>
        </pc:picChg>
      </pc:sldChg>
      <pc:sldChg chg="addSp delSp modSp add mod ord">
        <pc:chgData name="Carlos Reyes García" userId="8f106461-3865-4cda-a443-ca56f71f97d2" providerId="ADAL" clId="{D3EFDC9E-C770-4EC4-8A5A-B4E22FBE207B}" dt="2020-03-03T08:53:41.275" v="14899" actId="6549"/>
        <pc:sldMkLst>
          <pc:docMk/>
          <pc:sldMk cId="731385699" sldId="737"/>
        </pc:sldMkLst>
        <pc:spChg chg="mod">
          <ac:chgData name="Carlos Reyes García" userId="8f106461-3865-4cda-a443-ca56f71f97d2" providerId="ADAL" clId="{D3EFDC9E-C770-4EC4-8A5A-B4E22FBE207B}" dt="2020-03-03T08:53:41.275" v="14899" actId="6549"/>
          <ac:spMkLst>
            <pc:docMk/>
            <pc:sldMk cId="731385699" sldId="737"/>
            <ac:spMk id="15" creationId="{211413AE-8D61-469A-A381-96558B10C230}"/>
          </ac:spMkLst>
        </pc:spChg>
        <pc:picChg chg="add del">
          <ac:chgData name="Carlos Reyes García" userId="8f106461-3865-4cda-a443-ca56f71f97d2" providerId="ADAL" clId="{D3EFDC9E-C770-4EC4-8A5A-B4E22FBE207B}" dt="2020-03-03T08:53:40.791" v="14898" actId="478"/>
          <ac:picMkLst>
            <pc:docMk/>
            <pc:sldMk cId="731385699" sldId="737"/>
            <ac:picMk id="6" creationId="{94259591-F82D-48B6-9AA1-CC5116B66770}"/>
          </ac:picMkLst>
        </pc:picChg>
      </pc:sldChg>
      <pc:sldChg chg="modSp add mod">
        <pc:chgData name="Carlos Reyes García" userId="8f106461-3865-4cda-a443-ca56f71f97d2" providerId="ADAL" clId="{D3EFDC9E-C770-4EC4-8A5A-B4E22FBE207B}" dt="2020-03-03T09:02:20.163" v="15152" actId="20577"/>
        <pc:sldMkLst>
          <pc:docMk/>
          <pc:sldMk cId="1651361552" sldId="738"/>
        </pc:sldMkLst>
        <pc:spChg chg="mod">
          <ac:chgData name="Carlos Reyes García" userId="8f106461-3865-4cda-a443-ca56f71f97d2" providerId="ADAL" clId="{D3EFDC9E-C770-4EC4-8A5A-B4E22FBE207B}" dt="2020-03-03T09:02:20.163" v="15152" actId="20577"/>
          <ac:spMkLst>
            <pc:docMk/>
            <pc:sldMk cId="1651361552" sldId="738"/>
            <ac:spMk id="4" creationId="{EB8FEEE0-7D03-497F-99E3-2992983D127E}"/>
          </ac:spMkLst>
        </pc:spChg>
      </pc:sldChg>
      <pc:sldChg chg="add del">
        <pc:chgData name="Carlos Reyes García" userId="8f106461-3865-4cda-a443-ca56f71f97d2" providerId="ADAL" clId="{D3EFDC9E-C770-4EC4-8A5A-B4E22FBE207B}" dt="2020-02-27T21:08:27.791" v="6734" actId="47"/>
        <pc:sldMkLst>
          <pc:docMk/>
          <pc:sldMk cId="3614835687" sldId="1609"/>
        </pc:sldMkLst>
      </pc:sldChg>
      <pc:sldMasterChg chg="delSldLayout">
        <pc:chgData name="Carlos Reyes García" userId="8f106461-3865-4cda-a443-ca56f71f97d2" providerId="ADAL" clId="{D3EFDC9E-C770-4EC4-8A5A-B4E22FBE207B}" dt="2020-02-27T21:08:27.791" v="6734" actId="47"/>
        <pc:sldMasterMkLst>
          <pc:docMk/>
          <pc:sldMasterMk cId="1044402230" sldId="2147483706"/>
        </pc:sldMasterMkLst>
        <pc:sldLayoutChg chg="del">
          <pc:chgData name="Carlos Reyes García" userId="8f106461-3865-4cda-a443-ca56f71f97d2" providerId="ADAL" clId="{D3EFDC9E-C770-4EC4-8A5A-B4E22FBE207B}" dt="2020-02-27T21:08:27.791" v="6734" actId="47"/>
          <pc:sldLayoutMkLst>
            <pc:docMk/>
            <pc:sldMasterMk cId="1044402230" sldId="2147483706"/>
            <pc:sldLayoutMk cId="844916879" sldId="2147483754"/>
          </pc:sldLayoutMkLst>
        </pc:sldLayoutChg>
      </pc:sldMasterChg>
    </pc:docChg>
  </pc:docChgLst>
  <pc:docChgLst>
    <pc:chgData name="Carlos Reyes García" userId="8f106461-3865-4cda-a443-ca56f71f97d2" providerId="ADAL" clId="{4F9F5C40-161E-4B16-ADFD-098F32ACAEF0}"/>
    <pc:docChg chg="undo redo custSel addSld delSld modSld modSection">
      <pc:chgData name="Carlos Reyes García" userId="8f106461-3865-4cda-a443-ca56f71f97d2" providerId="ADAL" clId="{4F9F5C40-161E-4B16-ADFD-098F32ACAEF0}" dt="2020-03-11T19:18:05.540" v="856" actId="1076"/>
      <pc:docMkLst>
        <pc:docMk/>
      </pc:docMkLst>
      <pc:sldChg chg="modSp">
        <pc:chgData name="Carlos Reyes García" userId="8f106461-3865-4cda-a443-ca56f71f97d2" providerId="ADAL" clId="{4F9F5C40-161E-4B16-ADFD-098F32ACAEF0}" dt="2020-03-11T18:05:14.587" v="321" actId="20577"/>
        <pc:sldMkLst>
          <pc:docMk/>
          <pc:sldMk cId="4206133277" sldId="577"/>
        </pc:sldMkLst>
        <pc:graphicFrameChg chg="mod">
          <ac:chgData name="Carlos Reyes García" userId="8f106461-3865-4cda-a443-ca56f71f97d2" providerId="ADAL" clId="{4F9F5C40-161E-4B16-ADFD-098F32ACAEF0}" dt="2020-03-11T18:05:14.587" v="321" actId="20577"/>
          <ac:graphicFrameMkLst>
            <pc:docMk/>
            <pc:sldMk cId="4206133277" sldId="577"/>
            <ac:graphicFrameMk id="3" creationId="{9484E1FE-7534-495E-863C-657A46F5E628}"/>
          </ac:graphicFrameMkLst>
        </pc:graphicFrameChg>
      </pc:sldChg>
      <pc:sldChg chg="modSp">
        <pc:chgData name="Carlos Reyes García" userId="8f106461-3865-4cda-a443-ca56f71f97d2" providerId="ADAL" clId="{4F9F5C40-161E-4B16-ADFD-098F32ACAEF0}" dt="2020-03-11T05:08:51.200" v="149" actId="14100"/>
        <pc:sldMkLst>
          <pc:docMk/>
          <pc:sldMk cId="1737290916" sldId="591"/>
        </pc:sldMkLst>
        <pc:graphicFrameChg chg="mod">
          <ac:chgData name="Carlos Reyes García" userId="8f106461-3865-4cda-a443-ca56f71f97d2" providerId="ADAL" clId="{4F9F5C40-161E-4B16-ADFD-098F32ACAEF0}" dt="2020-03-11T05:08:51.200" v="149" actId="14100"/>
          <ac:graphicFrameMkLst>
            <pc:docMk/>
            <pc:sldMk cId="1737290916" sldId="591"/>
            <ac:graphicFrameMk id="3" creationId="{9484E1FE-7534-495E-863C-657A46F5E628}"/>
          </ac:graphicFrameMkLst>
        </pc:graphicFrameChg>
      </pc:sldChg>
      <pc:sldChg chg="addSp delSp modSp mod modAnim">
        <pc:chgData name="Carlos Reyes García" userId="8f106461-3865-4cda-a443-ca56f71f97d2" providerId="ADAL" clId="{4F9F5C40-161E-4B16-ADFD-098F32ACAEF0}" dt="2020-03-11T19:14:12.132" v="782"/>
        <pc:sldMkLst>
          <pc:docMk/>
          <pc:sldMk cId="2513964796" sldId="620"/>
        </pc:sldMkLst>
        <pc:spChg chg="add del mod">
          <ac:chgData name="Carlos Reyes García" userId="8f106461-3865-4cda-a443-ca56f71f97d2" providerId="ADAL" clId="{4F9F5C40-161E-4B16-ADFD-098F32ACAEF0}" dt="2020-03-11T18:49:17.403" v="545" actId="478"/>
          <ac:spMkLst>
            <pc:docMk/>
            <pc:sldMk cId="2513964796" sldId="620"/>
            <ac:spMk id="6" creationId="{7E1392B8-57D3-48FA-979D-A65A81616527}"/>
          </ac:spMkLst>
        </pc:spChg>
        <pc:spChg chg="mod">
          <ac:chgData name="Carlos Reyes García" userId="8f106461-3865-4cda-a443-ca56f71f97d2" providerId="ADAL" clId="{4F9F5C40-161E-4B16-ADFD-098F32ACAEF0}" dt="2020-03-11T18:50:37.406" v="566" actId="404"/>
          <ac:spMkLst>
            <pc:docMk/>
            <pc:sldMk cId="2513964796" sldId="620"/>
            <ac:spMk id="7" creationId="{45E30E19-0D35-495C-B19B-7D0FC44C82C2}"/>
          </ac:spMkLst>
        </pc:spChg>
        <pc:spChg chg="add">
          <ac:chgData name="Carlos Reyes García" userId="8f106461-3865-4cda-a443-ca56f71f97d2" providerId="ADAL" clId="{4F9F5C40-161E-4B16-ADFD-098F32ACAEF0}" dt="2020-03-11T18:49:19.928" v="546"/>
          <ac:spMkLst>
            <pc:docMk/>
            <pc:sldMk cId="2513964796" sldId="620"/>
            <ac:spMk id="13" creationId="{59C50D60-3D2A-4E3A-BC05-CC30F18E756D}"/>
          </ac:spMkLst>
        </pc:spChg>
        <pc:spChg chg="add">
          <ac:chgData name="Carlos Reyes García" userId="8f106461-3865-4cda-a443-ca56f71f97d2" providerId="ADAL" clId="{4F9F5C40-161E-4B16-ADFD-098F32ACAEF0}" dt="2020-03-11T18:49:19.928" v="546"/>
          <ac:spMkLst>
            <pc:docMk/>
            <pc:sldMk cId="2513964796" sldId="620"/>
            <ac:spMk id="14" creationId="{860FA11F-5DEC-4469-A7C4-44FECB3830CD}"/>
          </ac:spMkLst>
        </pc:spChg>
        <pc:spChg chg="add">
          <ac:chgData name="Carlos Reyes García" userId="8f106461-3865-4cda-a443-ca56f71f97d2" providerId="ADAL" clId="{4F9F5C40-161E-4B16-ADFD-098F32ACAEF0}" dt="2020-03-11T18:49:19.928" v="546"/>
          <ac:spMkLst>
            <pc:docMk/>
            <pc:sldMk cId="2513964796" sldId="620"/>
            <ac:spMk id="15" creationId="{B20640B6-1D95-411B-BCFA-72AF89129422}"/>
          </ac:spMkLst>
        </pc:spChg>
        <pc:spChg chg="add">
          <ac:chgData name="Carlos Reyes García" userId="8f106461-3865-4cda-a443-ca56f71f97d2" providerId="ADAL" clId="{4F9F5C40-161E-4B16-ADFD-098F32ACAEF0}" dt="2020-03-11T18:49:19.928" v="546"/>
          <ac:spMkLst>
            <pc:docMk/>
            <pc:sldMk cId="2513964796" sldId="620"/>
            <ac:spMk id="16" creationId="{C6AB2F83-783B-46B6-9E30-C83BB99D09AB}"/>
          </ac:spMkLst>
        </pc:spChg>
        <pc:spChg chg="add">
          <ac:chgData name="Carlos Reyes García" userId="8f106461-3865-4cda-a443-ca56f71f97d2" providerId="ADAL" clId="{4F9F5C40-161E-4B16-ADFD-098F32ACAEF0}" dt="2020-03-11T18:49:19.928" v="546"/>
          <ac:spMkLst>
            <pc:docMk/>
            <pc:sldMk cId="2513964796" sldId="620"/>
            <ac:spMk id="17" creationId="{5F9AA87D-8C79-40F3-9F76-5F396B4D28E6}"/>
          </ac:spMkLst>
        </pc:spChg>
        <pc:spChg chg="add">
          <ac:chgData name="Carlos Reyes García" userId="8f106461-3865-4cda-a443-ca56f71f97d2" providerId="ADAL" clId="{4F9F5C40-161E-4B16-ADFD-098F32ACAEF0}" dt="2020-03-11T18:49:19.928" v="546"/>
          <ac:spMkLst>
            <pc:docMk/>
            <pc:sldMk cId="2513964796" sldId="620"/>
            <ac:spMk id="18" creationId="{3D3CE098-3471-49E1-AC47-18306F216BE8}"/>
          </ac:spMkLst>
        </pc:spChg>
        <pc:spChg chg="add">
          <ac:chgData name="Carlos Reyes García" userId="8f106461-3865-4cda-a443-ca56f71f97d2" providerId="ADAL" clId="{4F9F5C40-161E-4B16-ADFD-098F32ACAEF0}" dt="2020-03-11T18:49:19.928" v="546"/>
          <ac:spMkLst>
            <pc:docMk/>
            <pc:sldMk cId="2513964796" sldId="620"/>
            <ac:spMk id="19" creationId="{FCE86615-A82A-45B0-BE71-B3EF76E84084}"/>
          </ac:spMkLst>
        </pc:spChg>
        <pc:spChg chg="add">
          <ac:chgData name="Carlos Reyes García" userId="8f106461-3865-4cda-a443-ca56f71f97d2" providerId="ADAL" clId="{4F9F5C40-161E-4B16-ADFD-098F32ACAEF0}" dt="2020-03-11T18:49:19.928" v="546"/>
          <ac:spMkLst>
            <pc:docMk/>
            <pc:sldMk cId="2513964796" sldId="620"/>
            <ac:spMk id="20" creationId="{06220582-7201-4FAE-BFE7-797DA7B26667}"/>
          </ac:spMkLst>
        </pc:spChg>
        <pc:spChg chg="add">
          <ac:chgData name="Carlos Reyes García" userId="8f106461-3865-4cda-a443-ca56f71f97d2" providerId="ADAL" clId="{4F9F5C40-161E-4B16-ADFD-098F32ACAEF0}" dt="2020-03-11T18:49:19.928" v="546"/>
          <ac:spMkLst>
            <pc:docMk/>
            <pc:sldMk cId="2513964796" sldId="620"/>
            <ac:spMk id="21" creationId="{7C1C516F-FE4E-46A0-83FB-E0C7F1E39705}"/>
          </ac:spMkLst>
        </pc:spChg>
        <pc:spChg chg="add">
          <ac:chgData name="Carlos Reyes García" userId="8f106461-3865-4cda-a443-ca56f71f97d2" providerId="ADAL" clId="{4F9F5C40-161E-4B16-ADFD-098F32ACAEF0}" dt="2020-03-11T18:49:19.928" v="546"/>
          <ac:spMkLst>
            <pc:docMk/>
            <pc:sldMk cId="2513964796" sldId="620"/>
            <ac:spMk id="22" creationId="{0D59BC5D-A227-4E5F-B146-50F5F2A97042}"/>
          </ac:spMkLst>
        </pc:spChg>
        <pc:spChg chg="add">
          <ac:chgData name="Carlos Reyes García" userId="8f106461-3865-4cda-a443-ca56f71f97d2" providerId="ADAL" clId="{4F9F5C40-161E-4B16-ADFD-098F32ACAEF0}" dt="2020-03-11T18:49:34.696" v="548"/>
          <ac:spMkLst>
            <pc:docMk/>
            <pc:sldMk cId="2513964796" sldId="620"/>
            <ac:spMk id="28" creationId="{70145D1B-5393-452E-97C5-122EAB56E8FA}"/>
          </ac:spMkLst>
        </pc:spChg>
        <pc:spChg chg="add">
          <ac:chgData name="Carlos Reyes García" userId="8f106461-3865-4cda-a443-ca56f71f97d2" providerId="ADAL" clId="{4F9F5C40-161E-4B16-ADFD-098F32ACAEF0}" dt="2020-03-11T18:49:34.696" v="548"/>
          <ac:spMkLst>
            <pc:docMk/>
            <pc:sldMk cId="2513964796" sldId="620"/>
            <ac:spMk id="29" creationId="{09668CAA-47AD-468A-BB99-8AD7C58AC98F}"/>
          </ac:spMkLst>
        </pc:spChg>
        <pc:spChg chg="add">
          <ac:chgData name="Carlos Reyes García" userId="8f106461-3865-4cda-a443-ca56f71f97d2" providerId="ADAL" clId="{4F9F5C40-161E-4B16-ADFD-098F32ACAEF0}" dt="2020-03-11T18:49:34.696" v="548"/>
          <ac:spMkLst>
            <pc:docMk/>
            <pc:sldMk cId="2513964796" sldId="620"/>
            <ac:spMk id="30" creationId="{D71F8C3B-BF4C-411E-AD65-49ECDAA22B6F}"/>
          </ac:spMkLst>
        </pc:spChg>
        <pc:spChg chg="add">
          <ac:chgData name="Carlos Reyes García" userId="8f106461-3865-4cda-a443-ca56f71f97d2" providerId="ADAL" clId="{4F9F5C40-161E-4B16-ADFD-098F32ACAEF0}" dt="2020-03-11T18:49:34.696" v="548"/>
          <ac:spMkLst>
            <pc:docMk/>
            <pc:sldMk cId="2513964796" sldId="620"/>
            <ac:spMk id="31" creationId="{17491F5D-05AF-42D4-A189-B04195CE940F}"/>
          </ac:spMkLst>
        </pc:spChg>
        <pc:spChg chg="add">
          <ac:chgData name="Carlos Reyes García" userId="8f106461-3865-4cda-a443-ca56f71f97d2" providerId="ADAL" clId="{4F9F5C40-161E-4B16-ADFD-098F32ACAEF0}" dt="2020-03-11T18:49:34.696" v="548"/>
          <ac:spMkLst>
            <pc:docMk/>
            <pc:sldMk cId="2513964796" sldId="620"/>
            <ac:spMk id="32" creationId="{11B6B10C-7967-4684-9CB6-5750FD2B88C4}"/>
          </ac:spMkLst>
        </pc:spChg>
        <pc:spChg chg="add">
          <ac:chgData name="Carlos Reyes García" userId="8f106461-3865-4cda-a443-ca56f71f97d2" providerId="ADAL" clId="{4F9F5C40-161E-4B16-ADFD-098F32ACAEF0}" dt="2020-03-11T18:49:34.696" v="548"/>
          <ac:spMkLst>
            <pc:docMk/>
            <pc:sldMk cId="2513964796" sldId="620"/>
            <ac:spMk id="33" creationId="{03D65014-A552-460D-A578-0C5EED177482}"/>
          </ac:spMkLst>
        </pc:spChg>
        <pc:spChg chg="add">
          <ac:chgData name="Carlos Reyes García" userId="8f106461-3865-4cda-a443-ca56f71f97d2" providerId="ADAL" clId="{4F9F5C40-161E-4B16-ADFD-098F32ACAEF0}" dt="2020-03-11T18:49:34.696" v="548"/>
          <ac:spMkLst>
            <pc:docMk/>
            <pc:sldMk cId="2513964796" sldId="620"/>
            <ac:spMk id="34" creationId="{842CA5AB-3986-4C72-8B2F-D89016880C0D}"/>
          </ac:spMkLst>
        </pc:spChg>
        <pc:spChg chg="add">
          <ac:chgData name="Carlos Reyes García" userId="8f106461-3865-4cda-a443-ca56f71f97d2" providerId="ADAL" clId="{4F9F5C40-161E-4B16-ADFD-098F32ACAEF0}" dt="2020-03-11T18:49:34.696" v="548"/>
          <ac:spMkLst>
            <pc:docMk/>
            <pc:sldMk cId="2513964796" sldId="620"/>
            <ac:spMk id="35" creationId="{B790E07A-2821-45D1-9C19-6D2BD7AF88F9}"/>
          </ac:spMkLst>
        </pc:spChg>
        <pc:spChg chg="add">
          <ac:chgData name="Carlos Reyes García" userId="8f106461-3865-4cda-a443-ca56f71f97d2" providerId="ADAL" clId="{4F9F5C40-161E-4B16-ADFD-098F32ACAEF0}" dt="2020-03-11T18:49:34.696" v="548"/>
          <ac:spMkLst>
            <pc:docMk/>
            <pc:sldMk cId="2513964796" sldId="620"/>
            <ac:spMk id="36" creationId="{6FC19DA3-E216-4C40-B6CF-08CCC37B4D1E}"/>
          </ac:spMkLst>
        </pc:spChg>
        <pc:spChg chg="add">
          <ac:chgData name="Carlos Reyes García" userId="8f106461-3865-4cda-a443-ca56f71f97d2" providerId="ADAL" clId="{4F9F5C40-161E-4B16-ADFD-098F32ACAEF0}" dt="2020-03-11T18:49:34.696" v="548"/>
          <ac:spMkLst>
            <pc:docMk/>
            <pc:sldMk cId="2513964796" sldId="620"/>
            <ac:spMk id="37" creationId="{EAA64922-C2C1-410A-B9A8-DEEAA25DDDCF}"/>
          </ac:spMkLst>
        </pc:spChg>
        <pc:spChg chg="add del">
          <ac:chgData name="Carlos Reyes García" userId="8f106461-3865-4cda-a443-ca56f71f97d2" providerId="ADAL" clId="{4F9F5C40-161E-4B16-ADFD-098F32ACAEF0}" dt="2020-03-11T18:49:55.019" v="553" actId="12084"/>
          <ac:spMkLst>
            <pc:docMk/>
            <pc:sldMk cId="2513964796" sldId="620"/>
            <ac:spMk id="38" creationId="{3E8A95EF-10C0-446A-83F3-E035FBED1679}"/>
          </ac:spMkLst>
        </pc:spChg>
        <pc:spChg chg="add mod">
          <ac:chgData name="Carlos Reyes García" userId="8f106461-3865-4cda-a443-ca56f71f97d2" providerId="ADAL" clId="{4F9F5C40-161E-4B16-ADFD-098F32ACAEF0}" dt="2020-03-11T19:12:57.460" v="773" actId="164"/>
          <ac:spMkLst>
            <pc:docMk/>
            <pc:sldMk cId="2513964796" sldId="620"/>
            <ac:spMk id="70" creationId="{44D96B85-3C08-4AC6-BC2F-6BB7A0A78F47}"/>
          </ac:spMkLst>
        </pc:spChg>
        <pc:spChg chg="add mod">
          <ac:chgData name="Carlos Reyes García" userId="8f106461-3865-4cda-a443-ca56f71f97d2" providerId="ADAL" clId="{4F9F5C40-161E-4B16-ADFD-098F32ACAEF0}" dt="2020-03-11T19:12:57.460" v="773" actId="164"/>
          <ac:spMkLst>
            <pc:docMk/>
            <pc:sldMk cId="2513964796" sldId="620"/>
            <ac:spMk id="72" creationId="{57272D30-25AB-41F0-83C5-1D0A04BC1947}"/>
          </ac:spMkLst>
        </pc:spChg>
        <pc:spChg chg="add mod">
          <ac:chgData name="Carlos Reyes García" userId="8f106461-3865-4cda-a443-ca56f71f97d2" providerId="ADAL" clId="{4F9F5C40-161E-4B16-ADFD-098F32ACAEF0}" dt="2020-03-11T19:13:06.597" v="774" actId="164"/>
          <ac:spMkLst>
            <pc:docMk/>
            <pc:sldMk cId="2513964796" sldId="620"/>
            <ac:spMk id="74" creationId="{FF601105-B774-4503-A671-3DDFED67556C}"/>
          </ac:spMkLst>
        </pc:spChg>
        <pc:spChg chg="add mod">
          <ac:chgData name="Carlos Reyes García" userId="8f106461-3865-4cda-a443-ca56f71f97d2" providerId="ADAL" clId="{4F9F5C40-161E-4B16-ADFD-098F32ACAEF0}" dt="2020-03-11T19:13:15.014" v="775" actId="164"/>
          <ac:spMkLst>
            <pc:docMk/>
            <pc:sldMk cId="2513964796" sldId="620"/>
            <ac:spMk id="76" creationId="{493CC313-6E9F-48F5-9419-B47BECEFA1AA}"/>
          </ac:spMkLst>
        </pc:spChg>
        <pc:spChg chg="add mod">
          <ac:chgData name="Carlos Reyes García" userId="8f106461-3865-4cda-a443-ca56f71f97d2" providerId="ADAL" clId="{4F9F5C40-161E-4B16-ADFD-098F32ACAEF0}" dt="2020-03-11T19:13:15.014" v="775" actId="164"/>
          <ac:spMkLst>
            <pc:docMk/>
            <pc:sldMk cId="2513964796" sldId="620"/>
            <ac:spMk id="78" creationId="{65504877-ECB3-438E-B70B-854F10178EE5}"/>
          </ac:spMkLst>
        </pc:spChg>
        <pc:spChg chg="add mod">
          <ac:chgData name="Carlos Reyes García" userId="8f106461-3865-4cda-a443-ca56f71f97d2" providerId="ADAL" clId="{4F9F5C40-161E-4B16-ADFD-098F32ACAEF0}" dt="2020-03-11T19:13:15.014" v="775" actId="164"/>
          <ac:spMkLst>
            <pc:docMk/>
            <pc:sldMk cId="2513964796" sldId="620"/>
            <ac:spMk id="80" creationId="{1BC04725-2EF5-45E0-9CFD-A464B40DB420}"/>
          </ac:spMkLst>
        </pc:spChg>
        <pc:spChg chg="add mod">
          <ac:chgData name="Carlos Reyes García" userId="8f106461-3865-4cda-a443-ca56f71f97d2" providerId="ADAL" clId="{4F9F5C40-161E-4B16-ADFD-098F32ACAEF0}" dt="2020-03-11T19:13:32.061" v="776" actId="164"/>
          <ac:spMkLst>
            <pc:docMk/>
            <pc:sldMk cId="2513964796" sldId="620"/>
            <ac:spMk id="82" creationId="{28844C44-C4B4-4239-8F46-491AC3227820}"/>
          </ac:spMkLst>
        </pc:spChg>
        <pc:spChg chg="add mod">
          <ac:chgData name="Carlos Reyes García" userId="8f106461-3865-4cda-a443-ca56f71f97d2" providerId="ADAL" clId="{4F9F5C40-161E-4B16-ADFD-098F32ACAEF0}" dt="2020-03-11T19:13:32.061" v="776" actId="164"/>
          <ac:spMkLst>
            <pc:docMk/>
            <pc:sldMk cId="2513964796" sldId="620"/>
            <ac:spMk id="84" creationId="{7B8EDC44-0CA3-4F82-B6E4-C62456CF048D}"/>
          </ac:spMkLst>
        </pc:spChg>
        <pc:spChg chg="add mod">
          <ac:chgData name="Carlos Reyes García" userId="8f106461-3865-4cda-a443-ca56f71f97d2" providerId="ADAL" clId="{4F9F5C40-161E-4B16-ADFD-098F32ACAEF0}" dt="2020-03-11T19:13:38.840" v="777" actId="164"/>
          <ac:spMkLst>
            <pc:docMk/>
            <pc:sldMk cId="2513964796" sldId="620"/>
            <ac:spMk id="86" creationId="{4EBAB170-1DE3-440B-9DFA-27F51E1E8EC0}"/>
          </ac:spMkLst>
        </pc:spChg>
        <pc:spChg chg="add mod">
          <ac:chgData name="Carlos Reyes García" userId="8f106461-3865-4cda-a443-ca56f71f97d2" providerId="ADAL" clId="{4F9F5C40-161E-4B16-ADFD-098F32ACAEF0}" dt="2020-03-11T19:13:38.840" v="777" actId="164"/>
          <ac:spMkLst>
            <pc:docMk/>
            <pc:sldMk cId="2513964796" sldId="620"/>
            <ac:spMk id="88" creationId="{7F8416DC-E1AE-4D15-9650-0139A6D4F035}"/>
          </ac:spMkLst>
        </pc:spChg>
        <pc:spChg chg="add mod">
          <ac:chgData name="Carlos Reyes García" userId="8f106461-3865-4cda-a443-ca56f71f97d2" providerId="ADAL" clId="{4F9F5C40-161E-4B16-ADFD-098F32ACAEF0}" dt="2020-03-11T19:13:38.840" v="777" actId="164"/>
          <ac:spMkLst>
            <pc:docMk/>
            <pc:sldMk cId="2513964796" sldId="620"/>
            <ac:spMk id="90" creationId="{634A507E-2765-46CC-8CC4-9E357C6F9E8B}"/>
          </ac:spMkLst>
        </pc:spChg>
        <pc:grpChg chg="add mod">
          <ac:chgData name="Carlos Reyes García" userId="8f106461-3865-4cda-a443-ca56f71f97d2" providerId="ADAL" clId="{4F9F5C40-161E-4B16-ADFD-098F32ACAEF0}" dt="2020-03-11T18:49:33.350" v="547"/>
          <ac:grpSpMkLst>
            <pc:docMk/>
            <pc:sldMk cId="2513964796" sldId="620"/>
            <ac:grpSpMk id="8" creationId="{81927F70-9FE9-4A09-824E-EDE379CB3FEA}"/>
          </ac:grpSpMkLst>
        </pc:grpChg>
        <pc:grpChg chg="add mod">
          <ac:chgData name="Carlos Reyes García" userId="8f106461-3865-4cda-a443-ca56f71f97d2" providerId="ADAL" clId="{4F9F5C40-161E-4B16-ADFD-098F32ACAEF0}" dt="2020-03-11T18:49:33.350" v="547"/>
          <ac:grpSpMkLst>
            <pc:docMk/>
            <pc:sldMk cId="2513964796" sldId="620"/>
            <ac:grpSpMk id="9" creationId="{76C08114-9AA7-43C0-8EC9-D7ADB174A3D2}"/>
          </ac:grpSpMkLst>
        </pc:grpChg>
        <pc:grpChg chg="add mod">
          <ac:chgData name="Carlos Reyes García" userId="8f106461-3865-4cda-a443-ca56f71f97d2" providerId="ADAL" clId="{4F9F5C40-161E-4B16-ADFD-098F32ACAEF0}" dt="2020-03-11T18:49:33.350" v="547"/>
          <ac:grpSpMkLst>
            <pc:docMk/>
            <pc:sldMk cId="2513964796" sldId="620"/>
            <ac:grpSpMk id="10" creationId="{E5F4256C-B65B-46B8-A769-93588E3A37E7}"/>
          </ac:grpSpMkLst>
        </pc:grpChg>
        <pc:grpChg chg="add mod">
          <ac:chgData name="Carlos Reyes García" userId="8f106461-3865-4cda-a443-ca56f71f97d2" providerId="ADAL" clId="{4F9F5C40-161E-4B16-ADFD-098F32ACAEF0}" dt="2020-03-11T18:49:33.350" v="547"/>
          <ac:grpSpMkLst>
            <pc:docMk/>
            <pc:sldMk cId="2513964796" sldId="620"/>
            <ac:grpSpMk id="11" creationId="{6C416920-DECA-4550-8F31-4C4D75DE55E3}"/>
          </ac:grpSpMkLst>
        </pc:grpChg>
        <pc:grpChg chg="add mod">
          <ac:chgData name="Carlos Reyes García" userId="8f106461-3865-4cda-a443-ca56f71f97d2" providerId="ADAL" clId="{4F9F5C40-161E-4B16-ADFD-098F32ACAEF0}" dt="2020-03-11T18:49:33.350" v="547"/>
          <ac:grpSpMkLst>
            <pc:docMk/>
            <pc:sldMk cId="2513964796" sldId="620"/>
            <ac:grpSpMk id="12" creationId="{C2D1EE96-F125-42FD-AB4C-5D4880930A3E}"/>
          </ac:grpSpMkLst>
        </pc:grpChg>
        <pc:grpChg chg="add mod">
          <ac:chgData name="Carlos Reyes García" userId="8f106461-3865-4cda-a443-ca56f71f97d2" providerId="ADAL" clId="{4F9F5C40-161E-4B16-ADFD-098F32ACAEF0}" dt="2020-03-11T18:49:36.897" v="551"/>
          <ac:grpSpMkLst>
            <pc:docMk/>
            <pc:sldMk cId="2513964796" sldId="620"/>
            <ac:grpSpMk id="23" creationId="{C3A20805-7660-472A-870A-E471B7885F63}"/>
          </ac:grpSpMkLst>
        </pc:grpChg>
        <pc:grpChg chg="add mod">
          <ac:chgData name="Carlos Reyes García" userId="8f106461-3865-4cda-a443-ca56f71f97d2" providerId="ADAL" clId="{4F9F5C40-161E-4B16-ADFD-098F32ACAEF0}" dt="2020-03-11T18:49:36.897" v="551"/>
          <ac:grpSpMkLst>
            <pc:docMk/>
            <pc:sldMk cId="2513964796" sldId="620"/>
            <ac:grpSpMk id="24" creationId="{741631F9-63F8-47CB-8E2D-773BA3CA7973}"/>
          </ac:grpSpMkLst>
        </pc:grpChg>
        <pc:grpChg chg="add mod">
          <ac:chgData name="Carlos Reyes García" userId="8f106461-3865-4cda-a443-ca56f71f97d2" providerId="ADAL" clId="{4F9F5C40-161E-4B16-ADFD-098F32ACAEF0}" dt="2020-03-11T18:49:36.897" v="551"/>
          <ac:grpSpMkLst>
            <pc:docMk/>
            <pc:sldMk cId="2513964796" sldId="620"/>
            <ac:grpSpMk id="25" creationId="{9270F1B1-C3B9-4619-A44A-41D46BD2C9E9}"/>
          </ac:grpSpMkLst>
        </pc:grpChg>
        <pc:grpChg chg="add mod">
          <ac:chgData name="Carlos Reyes García" userId="8f106461-3865-4cda-a443-ca56f71f97d2" providerId="ADAL" clId="{4F9F5C40-161E-4B16-ADFD-098F32ACAEF0}" dt="2020-03-11T18:49:36.897" v="551"/>
          <ac:grpSpMkLst>
            <pc:docMk/>
            <pc:sldMk cId="2513964796" sldId="620"/>
            <ac:grpSpMk id="26" creationId="{E7864E5B-75C2-43B9-977B-C8A344B72408}"/>
          </ac:grpSpMkLst>
        </pc:grpChg>
        <pc:grpChg chg="add mod">
          <ac:chgData name="Carlos Reyes García" userId="8f106461-3865-4cda-a443-ca56f71f97d2" providerId="ADAL" clId="{4F9F5C40-161E-4B16-ADFD-098F32ACAEF0}" dt="2020-03-11T18:49:36.897" v="551"/>
          <ac:grpSpMkLst>
            <pc:docMk/>
            <pc:sldMk cId="2513964796" sldId="620"/>
            <ac:grpSpMk id="27" creationId="{19CD28AF-05B1-4D32-B9C9-89FC5BE066CC}"/>
          </ac:grpSpMkLst>
        </pc:grpChg>
        <pc:grpChg chg="add mod">
          <ac:chgData name="Carlos Reyes García" userId="8f106461-3865-4cda-a443-ca56f71f97d2" providerId="ADAL" clId="{4F9F5C40-161E-4B16-ADFD-098F32ACAEF0}" dt="2020-03-11T19:12:57.460" v="773" actId="164"/>
          <ac:grpSpMkLst>
            <pc:docMk/>
            <pc:sldMk cId="2513964796" sldId="620"/>
            <ac:grpSpMk id="91" creationId="{37E12DF0-5DD6-4765-B18F-8BC6FE31D423}"/>
          </ac:grpSpMkLst>
        </pc:grpChg>
        <pc:grpChg chg="add mod">
          <ac:chgData name="Carlos Reyes García" userId="8f106461-3865-4cda-a443-ca56f71f97d2" providerId="ADAL" clId="{4F9F5C40-161E-4B16-ADFD-098F32ACAEF0}" dt="2020-03-11T19:13:06.597" v="774" actId="164"/>
          <ac:grpSpMkLst>
            <pc:docMk/>
            <pc:sldMk cId="2513964796" sldId="620"/>
            <ac:grpSpMk id="92" creationId="{63523CA4-0EB9-44B9-9C17-08ADE775E0ED}"/>
          </ac:grpSpMkLst>
        </pc:grpChg>
        <pc:grpChg chg="add mod">
          <ac:chgData name="Carlos Reyes García" userId="8f106461-3865-4cda-a443-ca56f71f97d2" providerId="ADAL" clId="{4F9F5C40-161E-4B16-ADFD-098F32ACAEF0}" dt="2020-03-11T19:13:15.014" v="775" actId="164"/>
          <ac:grpSpMkLst>
            <pc:docMk/>
            <pc:sldMk cId="2513964796" sldId="620"/>
            <ac:grpSpMk id="93" creationId="{3FEC19A6-EACB-4818-83D0-76FBA3AA196E}"/>
          </ac:grpSpMkLst>
        </pc:grpChg>
        <pc:grpChg chg="add mod">
          <ac:chgData name="Carlos Reyes García" userId="8f106461-3865-4cda-a443-ca56f71f97d2" providerId="ADAL" clId="{4F9F5C40-161E-4B16-ADFD-098F32ACAEF0}" dt="2020-03-11T19:13:32.061" v="776" actId="164"/>
          <ac:grpSpMkLst>
            <pc:docMk/>
            <pc:sldMk cId="2513964796" sldId="620"/>
            <ac:grpSpMk id="94" creationId="{9281DBDA-FE15-40E2-AA05-916106ADC005}"/>
          </ac:grpSpMkLst>
        </pc:grpChg>
        <pc:grpChg chg="add mod">
          <ac:chgData name="Carlos Reyes García" userId="8f106461-3865-4cda-a443-ca56f71f97d2" providerId="ADAL" clId="{4F9F5C40-161E-4B16-ADFD-098F32ACAEF0}" dt="2020-03-11T19:13:38.840" v="777" actId="164"/>
          <ac:grpSpMkLst>
            <pc:docMk/>
            <pc:sldMk cId="2513964796" sldId="620"/>
            <ac:grpSpMk id="95" creationId="{FE33C290-9C5D-464F-89B2-0C7712B7FF7E}"/>
          </ac:grpSpMkLst>
        </pc:grpChg>
        <pc:graphicFrameChg chg="del mod">
          <ac:chgData name="Carlos Reyes García" userId="8f106461-3865-4cda-a443-ca56f71f97d2" providerId="ADAL" clId="{4F9F5C40-161E-4B16-ADFD-098F32ACAEF0}" dt="2020-03-11T18:49:04.974" v="544" actId="478"/>
          <ac:graphicFrameMkLst>
            <pc:docMk/>
            <pc:sldMk cId="2513964796" sldId="620"/>
            <ac:graphicFrameMk id="5" creationId="{BD018D18-20A4-46F5-8375-41009407A835}"/>
          </ac:graphicFrameMkLst>
        </pc:graphicFrameChg>
        <pc:graphicFrameChg chg="add mod">
          <ac:chgData name="Carlos Reyes García" userId="8f106461-3865-4cda-a443-ca56f71f97d2" providerId="ADAL" clId="{4F9F5C40-161E-4B16-ADFD-098F32ACAEF0}" dt="2020-03-11T19:00:22.006" v="636" actId="14100"/>
          <ac:graphicFrameMkLst>
            <pc:docMk/>
            <pc:sldMk cId="2513964796" sldId="620"/>
            <ac:graphicFrameMk id="39" creationId="{331F82BE-5309-4734-AF56-83324631F0DE}"/>
          </ac:graphicFrameMkLst>
        </pc:graphicFrameChg>
        <pc:picChg chg="add mod">
          <ac:chgData name="Carlos Reyes García" userId="8f106461-3865-4cda-a443-ca56f71f97d2" providerId="ADAL" clId="{4F9F5C40-161E-4B16-ADFD-098F32ACAEF0}" dt="2020-03-11T19:12:57.460" v="773" actId="164"/>
          <ac:picMkLst>
            <pc:docMk/>
            <pc:sldMk cId="2513964796" sldId="620"/>
            <ac:picMk id="40" creationId="{E99F70A0-965B-4271-A64C-1465F9D0869D}"/>
          </ac:picMkLst>
        </pc:picChg>
        <pc:picChg chg="add mod">
          <ac:chgData name="Carlos Reyes García" userId="8f106461-3865-4cda-a443-ca56f71f97d2" providerId="ADAL" clId="{4F9F5C40-161E-4B16-ADFD-098F32ACAEF0}" dt="2020-03-11T19:13:06.597" v="774" actId="164"/>
          <ac:picMkLst>
            <pc:docMk/>
            <pc:sldMk cId="2513964796" sldId="620"/>
            <ac:picMk id="41" creationId="{AB0BAFC8-30E9-4DD7-B43C-01C8E095B220}"/>
          </ac:picMkLst>
        </pc:picChg>
        <pc:picChg chg="add mod modCrop">
          <ac:chgData name="Carlos Reyes García" userId="8f106461-3865-4cda-a443-ca56f71f97d2" providerId="ADAL" clId="{4F9F5C40-161E-4B16-ADFD-098F32ACAEF0}" dt="2020-03-11T19:13:15.014" v="775" actId="164"/>
          <ac:picMkLst>
            <pc:docMk/>
            <pc:sldMk cId="2513964796" sldId="620"/>
            <ac:picMk id="42" creationId="{199F0394-B934-43D9-9CF5-5945EC8A4F9A}"/>
          </ac:picMkLst>
        </pc:picChg>
        <pc:picChg chg="add del mod">
          <ac:chgData name="Carlos Reyes García" userId="8f106461-3865-4cda-a443-ca56f71f97d2" providerId="ADAL" clId="{4F9F5C40-161E-4B16-ADFD-098F32ACAEF0}" dt="2020-03-11T18:56:09.182" v="583" actId="478"/>
          <ac:picMkLst>
            <pc:docMk/>
            <pc:sldMk cId="2513964796" sldId="620"/>
            <ac:picMk id="44" creationId="{8DD4C7B7-B038-4CAB-9D12-E9442E6550E3}"/>
          </ac:picMkLst>
        </pc:picChg>
        <pc:picChg chg="add mod modCrop">
          <ac:chgData name="Carlos Reyes García" userId="8f106461-3865-4cda-a443-ca56f71f97d2" providerId="ADAL" clId="{4F9F5C40-161E-4B16-ADFD-098F32ACAEF0}" dt="2020-03-11T19:13:32.061" v="776" actId="164"/>
          <ac:picMkLst>
            <pc:docMk/>
            <pc:sldMk cId="2513964796" sldId="620"/>
            <ac:picMk id="45" creationId="{E92C3801-AAA0-45B5-8867-9533D266B1C1}"/>
          </ac:picMkLst>
        </pc:picChg>
        <pc:picChg chg="add mod modCrop">
          <ac:chgData name="Carlos Reyes García" userId="8f106461-3865-4cda-a443-ca56f71f97d2" providerId="ADAL" clId="{4F9F5C40-161E-4B16-ADFD-098F32ACAEF0}" dt="2020-03-11T19:13:38.840" v="777" actId="164"/>
          <ac:picMkLst>
            <pc:docMk/>
            <pc:sldMk cId="2513964796" sldId="620"/>
            <ac:picMk id="46" creationId="{5AFC151A-C48A-4E74-B5E1-8F03EE48ADB9}"/>
          </ac:picMkLst>
        </pc:picChg>
        <pc:picChg chg="add del mod">
          <ac:chgData name="Carlos Reyes García" userId="8f106461-3865-4cda-a443-ca56f71f97d2" providerId="ADAL" clId="{4F9F5C40-161E-4B16-ADFD-098F32ACAEF0}" dt="2020-03-11T19:00:35.107" v="643" actId="478"/>
          <ac:picMkLst>
            <pc:docMk/>
            <pc:sldMk cId="2513964796" sldId="620"/>
            <ac:picMk id="48" creationId="{29C3EDBB-5407-4C3F-A501-BA45A60BD671}"/>
          </ac:picMkLst>
        </pc:picChg>
        <pc:picChg chg="add mod modCrop">
          <ac:chgData name="Carlos Reyes García" userId="8f106461-3865-4cda-a443-ca56f71f97d2" providerId="ADAL" clId="{4F9F5C40-161E-4B16-ADFD-098F32ACAEF0}" dt="2020-03-11T19:13:15.014" v="775" actId="164"/>
          <ac:picMkLst>
            <pc:docMk/>
            <pc:sldMk cId="2513964796" sldId="620"/>
            <ac:picMk id="50" creationId="{0BEE67CB-1BFC-4610-921C-763EDCE92C50}"/>
          </ac:picMkLst>
        </pc:picChg>
        <pc:picChg chg="add mod modCrop">
          <ac:chgData name="Carlos Reyes García" userId="8f106461-3865-4cda-a443-ca56f71f97d2" providerId="ADAL" clId="{4F9F5C40-161E-4B16-ADFD-098F32ACAEF0}" dt="2020-03-11T19:13:32.061" v="776" actId="164"/>
          <ac:picMkLst>
            <pc:docMk/>
            <pc:sldMk cId="2513964796" sldId="620"/>
            <ac:picMk id="52" creationId="{D32A5A44-34CC-42F1-A0AA-DBEB47957457}"/>
          </ac:picMkLst>
        </pc:picChg>
        <pc:picChg chg="add mod modCrop">
          <ac:chgData name="Carlos Reyes García" userId="8f106461-3865-4cda-a443-ca56f71f97d2" providerId="ADAL" clId="{4F9F5C40-161E-4B16-ADFD-098F32ACAEF0}" dt="2020-03-11T19:13:38.840" v="777" actId="164"/>
          <ac:picMkLst>
            <pc:docMk/>
            <pc:sldMk cId="2513964796" sldId="620"/>
            <ac:picMk id="54" creationId="{4BA9D9E7-F684-4215-A83D-54D14C41B0F4}"/>
          </ac:picMkLst>
        </pc:picChg>
        <pc:cxnChg chg="add mod">
          <ac:chgData name="Carlos Reyes García" userId="8f106461-3865-4cda-a443-ca56f71f97d2" providerId="ADAL" clId="{4F9F5C40-161E-4B16-ADFD-098F32ACAEF0}" dt="2020-03-11T19:13:15.014" v="775" actId="164"/>
          <ac:cxnSpMkLst>
            <pc:docMk/>
            <pc:sldMk cId="2513964796" sldId="620"/>
            <ac:cxnSpMk id="55" creationId="{10F943C4-E3D2-4282-8A1B-C0FC15A8583E}"/>
          </ac:cxnSpMkLst>
        </pc:cxnChg>
        <pc:cxnChg chg="add del mod">
          <ac:chgData name="Carlos Reyes García" userId="8f106461-3865-4cda-a443-ca56f71f97d2" providerId="ADAL" clId="{4F9F5C40-161E-4B16-ADFD-098F32ACAEF0}" dt="2020-03-11T19:06:50.898" v="694" actId="478"/>
          <ac:cxnSpMkLst>
            <pc:docMk/>
            <pc:sldMk cId="2513964796" sldId="620"/>
            <ac:cxnSpMk id="59" creationId="{E91B73F4-A419-4CA6-B1D7-3673A962ED42}"/>
          </ac:cxnSpMkLst>
        </pc:cxnChg>
        <pc:cxnChg chg="add mod">
          <ac:chgData name="Carlos Reyes García" userId="8f106461-3865-4cda-a443-ca56f71f97d2" providerId="ADAL" clId="{4F9F5C40-161E-4B16-ADFD-098F32ACAEF0}" dt="2020-03-11T19:13:38.840" v="777" actId="164"/>
          <ac:cxnSpMkLst>
            <pc:docMk/>
            <pc:sldMk cId="2513964796" sldId="620"/>
            <ac:cxnSpMk id="64" creationId="{BD9D81D9-DEAE-4D16-B012-E50F58F4F76F}"/>
          </ac:cxnSpMkLst>
        </pc:cxnChg>
      </pc:sldChg>
      <pc:sldChg chg="addSp delSp modSp mod">
        <pc:chgData name="Carlos Reyes García" userId="8f106461-3865-4cda-a443-ca56f71f97d2" providerId="ADAL" clId="{4F9F5C40-161E-4B16-ADFD-098F32ACAEF0}" dt="2020-03-11T05:19:10.385" v="264" actId="12100"/>
        <pc:sldMkLst>
          <pc:docMk/>
          <pc:sldMk cId="3140255800" sldId="622"/>
        </pc:sldMkLst>
        <pc:spChg chg="mod">
          <ac:chgData name="Carlos Reyes García" userId="8f106461-3865-4cda-a443-ca56f71f97d2" providerId="ADAL" clId="{4F9F5C40-161E-4B16-ADFD-098F32ACAEF0}" dt="2020-03-11T05:12:41.540" v="185"/>
          <ac:spMkLst>
            <pc:docMk/>
            <pc:sldMk cId="3140255800" sldId="622"/>
            <ac:spMk id="2" creationId="{E139A44F-1B4D-4C6D-AAFF-415CE55A5181}"/>
          </ac:spMkLst>
        </pc:spChg>
        <pc:spChg chg="mod">
          <ac:chgData name="Carlos Reyes García" userId="8f106461-3865-4cda-a443-ca56f71f97d2" providerId="ADAL" clId="{4F9F5C40-161E-4B16-ADFD-098F32ACAEF0}" dt="2020-03-11T05:12:40.225" v="184" actId="21"/>
          <ac:spMkLst>
            <pc:docMk/>
            <pc:sldMk cId="3140255800" sldId="622"/>
            <ac:spMk id="3" creationId="{CAE70848-9649-464A-B7E9-B28A122C588E}"/>
          </ac:spMkLst>
        </pc:spChg>
        <pc:spChg chg="del">
          <ac:chgData name="Carlos Reyes García" userId="8f106461-3865-4cda-a443-ca56f71f97d2" providerId="ADAL" clId="{4F9F5C40-161E-4B16-ADFD-098F32ACAEF0}" dt="2020-03-11T05:18:56.954" v="261" actId="12084"/>
          <ac:spMkLst>
            <pc:docMk/>
            <pc:sldMk cId="3140255800" sldId="622"/>
            <ac:spMk id="4" creationId="{12DEA170-32DB-4A30-A577-B43B69BFBF96}"/>
          </ac:spMkLst>
        </pc:spChg>
        <pc:graphicFrameChg chg="add mod">
          <ac:chgData name="Carlos Reyes García" userId="8f106461-3865-4cda-a443-ca56f71f97d2" providerId="ADAL" clId="{4F9F5C40-161E-4B16-ADFD-098F32ACAEF0}" dt="2020-03-11T05:19:10.385" v="264" actId="12100"/>
          <ac:graphicFrameMkLst>
            <pc:docMk/>
            <pc:sldMk cId="3140255800" sldId="622"/>
            <ac:graphicFrameMk id="5" creationId="{9A8B2A87-34DE-408D-9B8B-3D9749FD7615}"/>
          </ac:graphicFrameMkLst>
        </pc:graphicFrameChg>
        <pc:graphicFrameChg chg="del mod">
          <ac:chgData name="Carlos Reyes García" userId="8f106461-3865-4cda-a443-ca56f71f97d2" providerId="ADAL" clId="{4F9F5C40-161E-4B16-ADFD-098F32ACAEF0}" dt="2020-03-11T05:18:22.915" v="260" actId="478"/>
          <ac:graphicFrameMkLst>
            <pc:docMk/>
            <pc:sldMk cId="3140255800" sldId="622"/>
            <ac:graphicFrameMk id="6" creationId="{86BC05FA-945C-42C3-8405-CAF4DBFA6705}"/>
          </ac:graphicFrameMkLst>
        </pc:graphicFrameChg>
      </pc:sldChg>
      <pc:sldChg chg="addSp delSp modSp mod">
        <pc:chgData name="Carlos Reyes García" userId="8f106461-3865-4cda-a443-ca56f71f97d2" providerId="ADAL" clId="{4F9F5C40-161E-4B16-ADFD-098F32ACAEF0}" dt="2020-03-11T05:19:58.692" v="267" actId="12100"/>
        <pc:sldMkLst>
          <pc:docMk/>
          <pc:sldMk cId="1796066029" sldId="623"/>
        </pc:sldMkLst>
        <pc:spChg chg="mod">
          <ac:chgData name="Carlos Reyes García" userId="8f106461-3865-4cda-a443-ca56f71f97d2" providerId="ADAL" clId="{4F9F5C40-161E-4B16-ADFD-098F32ACAEF0}" dt="2020-03-11T05:12:33.922" v="182"/>
          <ac:spMkLst>
            <pc:docMk/>
            <pc:sldMk cId="1796066029" sldId="623"/>
            <ac:spMk id="2" creationId="{D5D07671-6381-485B-8F3D-46127A56FE09}"/>
          </ac:spMkLst>
        </pc:spChg>
        <pc:spChg chg="mod">
          <ac:chgData name="Carlos Reyes García" userId="8f106461-3865-4cda-a443-ca56f71f97d2" providerId="ADAL" clId="{4F9F5C40-161E-4B16-ADFD-098F32ACAEF0}" dt="2020-03-11T05:12:36.436" v="183" actId="6549"/>
          <ac:spMkLst>
            <pc:docMk/>
            <pc:sldMk cId="1796066029" sldId="623"/>
            <ac:spMk id="3" creationId="{8D566B6C-057D-403D-A06A-F16E54C2D9E2}"/>
          </ac:spMkLst>
        </pc:spChg>
        <pc:spChg chg="add del mod">
          <ac:chgData name="Carlos Reyes García" userId="8f106461-3865-4cda-a443-ca56f71f97d2" providerId="ADAL" clId="{4F9F5C40-161E-4B16-ADFD-098F32ACAEF0}" dt="2020-03-11T05:19:21.156" v="265" actId="12084"/>
          <ac:spMkLst>
            <pc:docMk/>
            <pc:sldMk cId="1796066029" sldId="623"/>
            <ac:spMk id="4" creationId="{E1CCB035-1987-4AD2-B096-00F1870A45BC}"/>
          </ac:spMkLst>
        </pc:spChg>
        <pc:graphicFrameChg chg="add del mod">
          <ac:chgData name="Carlos Reyes García" userId="8f106461-3865-4cda-a443-ca56f71f97d2" providerId="ADAL" clId="{4F9F5C40-161E-4B16-ADFD-098F32ACAEF0}" dt="2020-03-11T05:17:05.096" v="235" actId="12084"/>
          <ac:graphicFrameMkLst>
            <pc:docMk/>
            <pc:sldMk cId="1796066029" sldId="623"/>
            <ac:graphicFrameMk id="5" creationId="{7CB243CC-E1DC-4447-88AD-1DB77956388A}"/>
          </ac:graphicFrameMkLst>
        </pc:graphicFrameChg>
        <pc:graphicFrameChg chg="add mod">
          <ac:chgData name="Carlos Reyes García" userId="8f106461-3865-4cda-a443-ca56f71f97d2" providerId="ADAL" clId="{4F9F5C40-161E-4B16-ADFD-098F32ACAEF0}" dt="2020-03-11T05:19:58.692" v="267" actId="12100"/>
          <ac:graphicFrameMkLst>
            <pc:docMk/>
            <pc:sldMk cId="1796066029" sldId="623"/>
            <ac:graphicFrameMk id="6" creationId="{87064D57-BB3B-4462-95AE-07724B78563C}"/>
          </ac:graphicFrameMkLst>
        </pc:graphicFrameChg>
      </pc:sldChg>
      <pc:sldChg chg="addSp modSp mod">
        <pc:chgData name="Carlos Reyes García" userId="8f106461-3865-4cda-a443-ca56f71f97d2" providerId="ADAL" clId="{4F9F5C40-161E-4B16-ADFD-098F32ACAEF0}" dt="2020-03-11T17:57:23.848" v="275" actId="14100"/>
        <pc:sldMkLst>
          <pc:docMk/>
          <pc:sldMk cId="2665972638" sldId="627"/>
        </pc:sldMkLst>
        <pc:spChg chg="mod">
          <ac:chgData name="Carlos Reyes García" userId="8f106461-3865-4cda-a443-ca56f71f97d2" providerId="ADAL" clId="{4F9F5C40-161E-4B16-ADFD-098F32ACAEF0}" dt="2020-03-11T17:55:36.751" v="268" actId="207"/>
          <ac:spMkLst>
            <pc:docMk/>
            <pc:sldMk cId="2665972638" sldId="627"/>
            <ac:spMk id="4" creationId="{86C8B48E-28BA-412C-BE61-5F48A4A0CF4C}"/>
          </ac:spMkLst>
        </pc:spChg>
        <pc:spChg chg="add mod">
          <ac:chgData name="Carlos Reyes García" userId="8f106461-3865-4cda-a443-ca56f71f97d2" providerId="ADAL" clId="{4F9F5C40-161E-4B16-ADFD-098F32ACAEF0}" dt="2020-03-11T17:57:04.889" v="272" actId="1582"/>
          <ac:spMkLst>
            <pc:docMk/>
            <pc:sldMk cId="2665972638" sldId="627"/>
            <ac:spMk id="9" creationId="{E7995000-6146-4C2E-9655-C043CA349278}"/>
          </ac:spMkLst>
        </pc:spChg>
        <pc:spChg chg="add mod">
          <ac:chgData name="Carlos Reyes García" userId="8f106461-3865-4cda-a443-ca56f71f97d2" providerId="ADAL" clId="{4F9F5C40-161E-4B16-ADFD-098F32ACAEF0}" dt="2020-03-11T17:57:23.848" v="275" actId="14100"/>
          <ac:spMkLst>
            <pc:docMk/>
            <pc:sldMk cId="2665972638" sldId="627"/>
            <ac:spMk id="11" creationId="{9B33F071-7D2D-4B07-9CA9-E428E341C6CE}"/>
          </ac:spMkLst>
        </pc:spChg>
      </pc:sldChg>
      <pc:sldChg chg="addSp delSp modSp mod">
        <pc:chgData name="Carlos Reyes García" userId="8f106461-3865-4cda-a443-ca56f71f97d2" providerId="ADAL" clId="{4F9F5C40-161E-4B16-ADFD-098F32ACAEF0}" dt="2020-03-11T18:04:11.170" v="295" actId="14100"/>
        <pc:sldMkLst>
          <pc:docMk/>
          <pc:sldMk cId="3814048964" sldId="628"/>
        </pc:sldMkLst>
        <pc:spChg chg="add mod">
          <ac:chgData name="Carlos Reyes García" userId="8f106461-3865-4cda-a443-ca56f71f97d2" providerId="ADAL" clId="{4F9F5C40-161E-4B16-ADFD-098F32ACAEF0}" dt="2020-03-11T17:58:08.736" v="284" actId="14100"/>
          <ac:spMkLst>
            <pc:docMk/>
            <pc:sldMk cId="3814048964" sldId="628"/>
            <ac:spMk id="10" creationId="{7CFA3929-E85A-4BF4-98EC-B9387E3B50F2}"/>
          </ac:spMkLst>
        </pc:spChg>
        <pc:spChg chg="add del mod">
          <ac:chgData name="Carlos Reyes García" userId="8f106461-3865-4cda-a443-ca56f71f97d2" providerId="ADAL" clId="{4F9F5C40-161E-4B16-ADFD-098F32ACAEF0}" dt="2020-03-11T17:58:16.869" v="287" actId="478"/>
          <ac:spMkLst>
            <pc:docMk/>
            <pc:sldMk cId="3814048964" sldId="628"/>
            <ac:spMk id="12" creationId="{3ED30994-7247-4F19-9D24-8008FC9A597D}"/>
          </ac:spMkLst>
        </pc:spChg>
        <pc:spChg chg="add del mod">
          <ac:chgData name="Carlos Reyes García" userId="8f106461-3865-4cda-a443-ca56f71f97d2" providerId="ADAL" clId="{4F9F5C40-161E-4B16-ADFD-098F32ACAEF0}" dt="2020-03-11T17:59:18.386" v="291" actId="478"/>
          <ac:spMkLst>
            <pc:docMk/>
            <pc:sldMk cId="3814048964" sldId="628"/>
            <ac:spMk id="14" creationId="{9928C3B4-9708-420C-B46E-00BB3313D24A}"/>
          </ac:spMkLst>
        </pc:spChg>
        <pc:spChg chg="add mod">
          <ac:chgData name="Carlos Reyes García" userId="8f106461-3865-4cda-a443-ca56f71f97d2" providerId="ADAL" clId="{4F9F5C40-161E-4B16-ADFD-098F32ACAEF0}" dt="2020-03-11T18:04:11.170" v="295" actId="14100"/>
          <ac:spMkLst>
            <pc:docMk/>
            <pc:sldMk cId="3814048964" sldId="628"/>
            <ac:spMk id="16" creationId="{81F33AFF-D289-4D34-89FF-7F3E834898A4}"/>
          </ac:spMkLst>
        </pc:spChg>
        <pc:grpChg chg="mod">
          <ac:chgData name="Carlos Reyes García" userId="8f106461-3865-4cda-a443-ca56f71f97d2" providerId="ADAL" clId="{4F9F5C40-161E-4B16-ADFD-098F32ACAEF0}" dt="2020-03-11T17:58:12.758" v="286" actId="1076"/>
          <ac:grpSpMkLst>
            <pc:docMk/>
            <pc:sldMk cId="3814048964" sldId="628"/>
            <ac:grpSpMk id="5" creationId="{F413E347-17BC-4786-9B5F-8CD084B7EDDB}"/>
          </ac:grpSpMkLst>
        </pc:grpChg>
      </pc:sldChg>
      <pc:sldChg chg="modSp">
        <pc:chgData name="Carlos Reyes García" userId="8f106461-3865-4cda-a443-ca56f71f97d2" providerId="ADAL" clId="{4F9F5C40-161E-4B16-ADFD-098F32ACAEF0}" dt="2020-03-11T05:09:32.972" v="153"/>
        <pc:sldMkLst>
          <pc:docMk/>
          <pc:sldMk cId="2579723068" sldId="630"/>
        </pc:sldMkLst>
        <pc:graphicFrameChg chg="mod">
          <ac:chgData name="Carlos Reyes García" userId="8f106461-3865-4cda-a443-ca56f71f97d2" providerId="ADAL" clId="{4F9F5C40-161E-4B16-ADFD-098F32ACAEF0}" dt="2020-03-11T05:09:32.972" v="153"/>
          <ac:graphicFrameMkLst>
            <pc:docMk/>
            <pc:sldMk cId="2579723068" sldId="630"/>
            <ac:graphicFrameMk id="5" creationId="{DBC46F64-1AA7-4968-9494-241F95F9231B}"/>
          </ac:graphicFrameMkLst>
        </pc:graphicFrameChg>
      </pc:sldChg>
      <pc:sldChg chg="modSp">
        <pc:chgData name="Carlos Reyes García" userId="8f106461-3865-4cda-a443-ca56f71f97d2" providerId="ADAL" clId="{4F9F5C40-161E-4B16-ADFD-098F32ACAEF0}" dt="2020-03-04T02:25:21.743" v="61" actId="12100"/>
        <pc:sldMkLst>
          <pc:docMk/>
          <pc:sldMk cId="653830727" sldId="650"/>
        </pc:sldMkLst>
        <pc:graphicFrameChg chg="mod">
          <ac:chgData name="Carlos Reyes García" userId="8f106461-3865-4cda-a443-ca56f71f97d2" providerId="ADAL" clId="{4F9F5C40-161E-4B16-ADFD-098F32ACAEF0}" dt="2020-03-04T02:25:21.743" v="61" actId="12100"/>
          <ac:graphicFrameMkLst>
            <pc:docMk/>
            <pc:sldMk cId="653830727" sldId="650"/>
            <ac:graphicFrameMk id="5" creationId="{7BF6B113-9D4C-4D94-9A53-DD369DA9457A}"/>
          </ac:graphicFrameMkLst>
        </pc:graphicFrameChg>
      </pc:sldChg>
      <pc:sldChg chg="modSp">
        <pc:chgData name="Carlos Reyes García" userId="8f106461-3865-4cda-a443-ca56f71f97d2" providerId="ADAL" clId="{4F9F5C40-161E-4B16-ADFD-098F32ACAEF0}" dt="2020-03-04T02:25:28.831" v="62" actId="12100"/>
        <pc:sldMkLst>
          <pc:docMk/>
          <pc:sldMk cId="3461735569" sldId="651"/>
        </pc:sldMkLst>
        <pc:graphicFrameChg chg="mod">
          <ac:chgData name="Carlos Reyes García" userId="8f106461-3865-4cda-a443-ca56f71f97d2" providerId="ADAL" clId="{4F9F5C40-161E-4B16-ADFD-098F32ACAEF0}" dt="2020-03-04T02:25:28.831" v="62" actId="12100"/>
          <ac:graphicFrameMkLst>
            <pc:docMk/>
            <pc:sldMk cId="3461735569" sldId="651"/>
            <ac:graphicFrameMk id="5" creationId="{869613B2-81D2-475A-BE71-A3D1DE973570}"/>
          </ac:graphicFrameMkLst>
        </pc:graphicFrameChg>
      </pc:sldChg>
      <pc:sldChg chg="add del">
        <pc:chgData name="Carlos Reyes García" userId="8f106461-3865-4cda-a443-ca56f71f97d2" providerId="ADAL" clId="{4F9F5C40-161E-4B16-ADFD-098F32ACAEF0}" dt="2020-03-04T02:19:22.271" v="24" actId="47"/>
        <pc:sldMkLst>
          <pc:docMk/>
          <pc:sldMk cId="1848014774" sldId="655"/>
        </pc:sldMkLst>
      </pc:sldChg>
      <pc:sldChg chg="del">
        <pc:chgData name="Carlos Reyes García" userId="8f106461-3865-4cda-a443-ca56f71f97d2" providerId="ADAL" clId="{4F9F5C40-161E-4B16-ADFD-098F32ACAEF0}" dt="2020-03-04T02:20:28.996" v="29" actId="47"/>
        <pc:sldMkLst>
          <pc:docMk/>
          <pc:sldMk cId="2551537243" sldId="657"/>
        </pc:sldMkLst>
      </pc:sldChg>
      <pc:sldChg chg="del">
        <pc:chgData name="Carlos Reyes García" userId="8f106461-3865-4cda-a443-ca56f71f97d2" providerId="ADAL" clId="{4F9F5C40-161E-4B16-ADFD-098F32ACAEF0}" dt="2020-03-04T02:21:12.095" v="34" actId="47"/>
        <pc:sldMkLst>
          <pc:docMk/>
          <pc:sldMk cId="3240405561" sldId="658"/>
        </pc:sldMkLst>
      </pc:sldChg>
      <pc:sldChg chg="add del">
        <pc:chgData name="Carlos Reyes García" userId="8f106461-3865-4cda-a443-ca56f71f97d2" providerId="ADAL" clId="{4F9F5C40-161E-4B16-ADFD-098F32ACAEF0}" dt="2020-03-04T02:25:05.538" v="60" actId="47"/>
        <pc:sldMkLst>
          <pc:docMk/>
          <pc:sldMk cId="4247026079" sldId="659"/>
        </pc:sldMkLst>
      </pc:sldChg>
      <pc:sldChg chg="addSp delSp modSp mod modAnim">
        <pc:chgData name="Carlos Reyes García" userId="8f106461-3865-4cda-a443-ca56f71f97d2" providerId="ADAL" clId="{4F9F5C40-161E-4B16-ADFD-098F32ACAEF0}" dt="2020-03-11T19:18:05.540" v="856" actId="1076"/>
        <pc:sldMkLst>
          <pc:docMk/>
          <pc:sldMk cId="3777781783" sldId="670"/>
        </pc:sldMkLst>
        <pc:spChg chg="del">
          <ac:chgData name="Carlos Reyes García" userId="8f106461-3865-4cda-a443-ca56f71f97d2" providerId="ADAL" clId="{4F9F5C40-161E-4B16-ADFD-098F32ACAEF0}" dt="2020-03-11T18:26:20.819" v="363" actId="478"/>
          <ac:spMkLst>
            <pc:docMk/>
            <pc:sldMk cId="3777781783" sldId="670"/>
            <ac:spMk id="4" creationId="{EB8FEEE0-7D03-497F-99E3-2992983D127E}"/>
          </ac:spMkLst>
        </pc:spChg>
        <pc:spChg chg="add mod">
          <ac:chgData name="Carlos Reyes García" userId="8f106461-3865-4cda-a443-ca56f71f97d2" providerId="ADAL" clId="{4F9F5C40-161E-4B16-ADFD-098F32ACAEF0}" dt="2020-03-11T19:18:05.540" v="856" actId="1076"/>
          <ac:spMkLst>
            <pc:docMk/>
            <pc:sldMk cId="3777781783" sldId="670"/>
            <ac:spMk id="12" creationId="{868A3859-2E87-4911-AD5F-5E44C8267799}"/>
          </ac:spMkLst>
        </pc:spChg>
        <pc:spChg chg="add mod">
          <ac:chgData name="Carlos Reyes García" userId="8f106461-3865-4cda-a443-ca56f71f97d2" providerId="ADAL" clId="{4F9F5C40-161E-4B16-ADFD-098F32ACAEF0}" dt="2020-03-11T19:16:19.813" v="801" actId="164"/>
          <ac:spMkLst>
            <pc:docMk/>
            <pc:sldMk cId="3777781783" sldId="670"/>
            <ac:spMk id="13" creationId="{180A59D8-9D38-445E-B710-12B824E561E2}"/>
          </ac:spMkLst>
        </pc:spChg>
        <pc:spChg chg="add mod">
          <ac:chgData name="Carlos Reyes García" userId="8f106461-3865-4cda-a443-ca56f71f97d2" providerId="ADAL" clId="{4F9F5C40-161E-4B16-ADFD-098F32ACAEF0}" dt="2020-03-11T19:16:25.990" v="802" actId="164"/>
          <ac:spMkLst>
            <pc:docMk/>
            <pc:sldMk cId="3777781783" sldId="670"/>
            <ac:spMk id="15" creationId="{68179AEE-5808-4DCA-BB3D-854DB0F12134}"/>
          </ac:spMkLst>
        </pc:spChg>
        <pc:spChg chg="add mod">
          <ac:chgData name="Carlos Reyes García" userId="8f106461-3865-4cda-a443-ca56f71f97d2" providerId="ADAL" clId="{4F9F5C40-161E-4B16-ADFD-098F32ACAEF0}" dt="2020-03-11T19:16:31.821" v="803" actId="164"/>
          <ac:spMkLst>
            <pc:docMk/>
            <pc:sldMk cId="3777781783" sldId="670"/>
            <ac:spMk id="19" creationId="{EEA2186F-EB7F-427C-B9D0-168F5E3FB168}"/>
          </ac:spMkLst>
        </pc:spChg>
        <pc:grpChg chg="add mod">
          <ac:chgData name="Carlos Reyes García" userId="8f106461-3865-4cda-a443-ca56f71f97d2" providerId="ADAL" clId="{4F9F5C40-161E-4B16-ADFD-098F32ACAEF0}" dt="2020-03-11T19:16:55.840" v="843" actId="1076"/>
          <ac:grpSpMkLst>
            <pc:docMk/>
            <pc:sldMk cId="3777781783" sldId="670"/>
            <ac:grpSpMk id="20" creationId="{57D4AF2B-F3EE-4127-B1B6-51F581FFD216}"/>
          </ac:grpSpMkLst>
        </pc:grpChg>
        <pc:grpChg chg="add mod">
          <ac:chgData name="Carlos Reyes García" userId="8f106461-3865-4cda-a443-ca56f71f97d2" providerId="ADAL" clId="{4F9F5C40-161E-4B16-ADFD-098F32ACAEF0}" dt="2020-03-11T19:16:59.403" v="844" actId="1076"/>
          <ac:grpSpMkLst>
            <pc:docMk/>
            <pc:sldMk cId="3777781783" sldId="670"/>
            <ac:grpSpMk id="21" creationId="{C9322632-B07F-4C3A-806D-C53D77B63B74}"/>
          </ac:grpSpMkLst>
        </pc:grpChg>
        <pc:grpChg chg="add mod">
          <ac:chgData name="Carlos Reyes García" userId="8f106461-3865-4cda-a443-ca56f71f97d2" providerId="ADAL" clId="{4F9F5C40-161E-4B16-ADFD-098F32ACAEF0}" dt="2020-03-11T19:17:01.683" v="845" actId="1076"/>
          <ac:grpSpMkLst>
            <pc:docMk/>
            <pc:sldMk cId="3777781783" sldId="670"/>
            <ac:grpSpMk id="22" creationId="{F28F7D5C-4523-42FE-8817-F073608BB5C7}"/>
          </ac:grpSpMkLst>
        </pc:grpChg>
        <pc:graphicFrameChg chg="mod">
          <ac:chgData name="Carlos Reyes García" userId="8f106461-3865-4cda-a443-ca56f71f97d2" providerId="ADAL" clId="{4F9F5C40-161E-4B16-ADFD-098F32ACAEF0}" dt="2020-03-11T19:17:10.647" v="847" actId="403"/>
          <ac:graphicFrameMkLst>
            <pc:docMk/>
            <pc:sldMk cId="3777781783" sldId="670"/>
            <ac:graphicFrameMk id="8" creationId="{2F32D89F-7A25-444D-9F39-FF1BE00E16DC}"/>
          </ac:graphicFrameMkLst>
        </pc:graphicFrameChg>
        <pc:graphicFrameChg chg="del mod">
          <ac:chgData name="Carlos Reyes García" userId="8f106461-3865-4cda-a443-ca56f71f97d2" providerId="ADAL" clId="{4F9F5C40-161E-4B16-ADFD-098F32ACAEF0}" dt="2020-03-11T18:26:09.663" v="362" actId="478"/>
          <ac:graphicFrameMkLst>
            <pc:docMk/>
            <pc:sldMk cId="3777781783" sldId="670"/>
            <ac:graphicFrameMk id="9" creationId="{6AAE67EA-86F2-4AC3-B3B4-117141483A5F}"/>
          </ac:graphicFrameMkLst>
        </pc:graphicFrameChg>
        <pc:picChg chg="add mod">
          <ac:chgData name="Carlos Reyes García" userId="8f106461-3865-4cda-a443-ca56f71f97d2" providerId="ADAL" clId="{4F9F5C40-161E-4B16-ADFD-098F32ACAEF0}" dt="2020-03-11T19:16:19.813" v="801" actId="164"/>
          <ac:picMkLst>
            <pc:docMk/>
            <pc:sldMk cId="3777781783" sldId="670"/>
            <ac:picMk id="5" creationId="{CA70E135-BDAE-422C-B696-15266D7D9D21}"/>
          </ac:picMkLst>
        </pc:picChg>
        <pc:picChg chg="add del mod">
          <ac:chgData name="Carlos Reyes García" userId="8f106461-3865-4cda-a443-ca56f71f97d2" providerId="ADAL" clId="{4F9F5C40-161E-4B16-ADFD-098F32ACAEF0}" dt="2020-03-11T18:23:11.206" v="335" actId="478"/>
          <ac:picMkLst>
            <pc:docMk/>
            <pc:sldMk cId="3777781783" sldId="670"/>
            <ac:picMk id="6" creationId="{03BF5CBE-30FD-40CF-9A64-D2F8B8629DB8}"/>
          </ac:picMkLst>
        </pc:picChg>
        <pc:picChg chg="add mod">
          <ac:chgData name="Carlos Reyes García" userId="8f106461-3865-4cda-a443-ca56f71f97d2" providerId="ADAL" clId="{4F9F5C40-161E-4B16-ADFD-098F32ACAEF0}" dt="2020-03-11T19:16:31.821" v="803" actId="164"/>
          <ac:picMkLst>
            <pc:docMk/>
            <pc:sldMk cId="3777781783" sldId="670"/>
            <ac:picMk id="7" creationId="{056A4F5A-DBB3-4BA5-AA01-D7E17C68B54A}"/>
          </ac:picMkLst>
        </pc:picChg>
        <pc:picChg chg="add mod">
          <ac:chgData name="Carlos Reyes García" userId="8f106461-3865-4cda-a443-ca56f71f97d2" providerId="ADAL" clId="{4F9F5C40-161E-4B16-ADFD-098F32ACAEF0}" dt="2020-03-11T19:16:25.990" v="802" actId="164"/>
          <ac:picMkLst>
            <pc:docMk/>
            <pc:sldMk cId="3777781783" sldId="670"/>
            <ac:picMk id="10" creationId="{E1DDE38C-EBB9-4369-B921-5A4AED29CE84}"/>
          </ac:picMkLst>
        </pc:picChg>
        <pc:picChg chg="add del">
          <ac:chgData name="Carlos Reyes García" userId="8f106461-3865-4cda-a443-ca56f71f97d2" providerId="ADAL" clId="{4F9F5C40-161E-4B16-ADFD-098F32ACAEF0}" dt="2020-03-11T18:37:46.797" v="521" actId="22"/>
          <ac:picMkLst>
            <pc:docMk/>
            <pc:sldMk cId="3777781783" sldId="670"/>
            <ac:picMk id="17" creationId="{F912B444-5A0B-463C-A848-1ADD46125791}"/>
          </ac:picMkLst>
        </pc:picChg>
      </pc:sldChg>
      <pc:sldChg chg="modSp mod">
        <pc:chgData name="Carlos Reyes García" userId="8f106461-3865-4cda-a443-ca56f71f97d2" providerId="ADAL" clId="{4F9F5C40-161E-4B16-ADFD-098F32ACAEF0}" dt="2020-03-11T05:07:46.377" v="144" actId="14100"/>
        <pc:sldMkLst>
          <pc:docMk/>
          <pc:sldMk cId="1044664172" sldId="690"/>
        </pc:sldMkLst>
        <pc:graphicFrameChg chg="mod">
          <ac:chgData name="Carlos Reyes García" userId="8f106461-3865-4cda-a443-ca56f71f97d2" providerId="ADAL" clId="{4F9F5C40-161E-4B16-ADFD-098F32ACAEF0}" dt="2020-03-11T05:07:46.377" v="144" actId="14100"/>
          <ac:graphicFrameMkLst>
            <pc:docMk/>
            <pc:sldMk cId="1044664172" sldId="690"/>
            <ac:graphicFrameMk id="5" creationId="{B3F00977-3ED8-4826-A0B4-9C1ACFF50218}"/>
          </ac:graphicFrameMkLst>
        </pc:graphicFrameChg>
        <pc:graphicFrameChg chg="mod">
          <ac:chgData name="Carlos Reyes García" userId="8f106461-3865-4cda-a443-ca56f71f97d2" providerId="ADAL" clId="{4F9F5C40-161E-4B16-ADFD-098F32ACAEF0}" dt="2020-03-11T05:07:39.465" v="141" actId="14100"/>
          <ac:graphicFrameMkLst>
            <pc:docMk/>
            <pc:sldMk cId="1044664172" sldId="690"/>
            <ac:graphicFrameMk id="6" creationId="{9E782462-F17D-4951-B6ED-A231ABE35517}"/>
          </ac:graphicFrameMkLst>
        </pc:graphicFrameChg>
      </pc:sldChg>
      <pc:sldChg chg="del">
        <pc:chgData name="Carlos Reyes García" userId="8f106461-3865-4cda-a443-ca56f71f97d2" providerId="ADAL" clId="{4F9F5C40-161E-4B16-ADFD-098F32ACAEF0}" dt="2020-03-11T05:03:48.390" v="111" actId="47"/>
        <pc:sldMkLst>
          <pc:docMk/>
          <pc:sldMk cId="1222556954" sldId="693"/>
        </pc:sldMkLst>
      </pc:sldChg>
      <pc:sldChg chg="modSp mod">
        <pc:chgData name="Carlos Reyes García" userId="8f106461-3865-4cda-a443-ca56f71f97d2" providerId="ADAL" clId="{4F9F5C40-161E-4B16-ADFD-098F32ACAEF0}" dt="2020-03-11T18:07:39.840" v="322" actId="1076"/>
        <pc:sldMkLst>
          <pc:docMk/>
          <pc:sldMk cId="3460419959" sldId="709"/>
        </pc:sldMkLst>
        <pc:picChg chg="mod">
          <ac:chgData name="Carlos Reyes García" userId="8f106461-3865-4cda-a443-ca56f71f97d2" providerId="ADAL" clId="{4F9F5C40-161E-4B16-ADFD-098F32ACAEF0}" dt="2020-03-11T18:07:39.840" v="322" actId="1076"/>
          <ac:picMkLst>
            <pc:docMk/>
            <pc:sldMk cId="3460419959" sldId="709"/>
            <ac:picMk id="7" creationId="{810BC8C4-357B-4F14-A4FF-673B61C48667}"/>
          </ac:picMkLst>
        </pc:picChg>
      </pc:sldChg>
      <pc:sldChg chg="modSp mod">
        <pc:chgData name="Carlos Reyes García" userId="8f106461-3865-4cda-a443-ca56f71f97d2" providerId="ADAL" clId="{4F9F5C40-161E-4B16-ADFD-098F32ACAEF0}" dt="2020-03-11T18:08:44.528" v="324" actId="20577"/>
        <pc:sldMkLst>
          <pc:docMk/>
          <pc:sldMk cId="4186570228" sldId="710"/>
        </pc:sldMkLst>
        <pc:spChg chg="mod">
          <ac:chgData name="Carlos Reyes García" userId="8f106461-3865-4cda-a443-ca56f71f97d2" providerId="ADAL" clId="{4F9F5C40-161E-4B16-ADFD-098F32ACAEF0}" dt="2020-03-11T18:08:44.528" v="324" actId="20577"/>
          <ac:spMkLst>
            <pc:docMk/>
            <pc:sldMk cId="4186570228" sldId="710"/>
            <ac:spMk id="2" creationId="{5026DE96-820F-4F35-9342-3050C7F29E7D}"/>
          </ac:spMkLst>
        </pc:spChg>
      </pc:sldChg>
      <pc:sldChg chg="modSp mod">
        <pc:chgData name="Carlos Reyes García" userId="8f106461-3865-4cda-a443-ca56f71f97d2" providerId="ADAL" clId="{4F9F5C40-161E-4B16-ADFD-098F32ACAEF0}" dt="2020-03-11T05:11:29.798" v="181" actId="5793"/>
        <pc:sldMkLst>
          <pc:docMk/>
          <pc:sldMk cId="3892410228" sldId="719"/>
        </pc:sldMkLst>
        <pc:spChg chg="mod">
          <ac:chgData name="Carlos Reyes García" userId="8f106461-3865-4cda-a443-ca56f71f97d2" providerId="ADAL" clId="{4F9F5C40-161E-4B16-ADFD-098F32ACAEF0}" dt="2020-03-11T05:11:29.798" v="181" actId="5793"/>
          <ac:spMkLst>
            <pc:docMk/>
            <pc:sldMk cId="3892410228" sldId="719"/>
            <ac:spMk id="4" creationId="{AE562723-D984-4287-BF40-D0D24F6ECDF5}"/>
          </ac:spMkLst>
        </pc:spChg>
      </pc:sldChg>
      <pc:sldChg chg="modAnim modNotesTx">
        <pc:chgData name="Carlos Reyes García" userId="8f106461-3865-4cda-a443-ca56f71f97d2" providerId="ADAL" clId="{4F9F5C40-161E-4B16-ADFD-098F32ACAEF0}" dt="2020-03-11T04:58:05.338" v="71"/>
        <pc:sldMkLst>
          <pc:docMk/>
          <pc:sldMk cId="4218964462" sldId="724"/>
        </pc:sldMkLst>
      </pc:sldChg>
      <pc:sldChg chg="addSp delSp modSp new mod">
        <pc:chgData name="Carlos Reyes García" userId="8f106461-3865-4cda-a443-ca56f71f97d2" providerId="ADAL" clId="{4F9F5C40-161E-4B16-ADFD-098F32ACAEF0}" dt="2020-03-04T02:17:46.647" v="11" actId="5793"/>
        <pc:sldMkLst>
          <pc:docMk/>
          <pc:sldMk cId="3519215731" sldId="740"/>
        </pc:sldMkLst>
        <pc:spChg chg="mod">
          <ac:chgData name="Carlos Reyes García" userId="8f106461-3865-4cda-a443-ca56f71f97d2" providerId="ADAL" clId="{4F9F5C40-161E-4B16-ADFD-098F32ACAEF0}" dt="2020-03-04T02:16:34.367" v="8"/>
          <ac:spMkLst>
            <pc:docMk/>
            <pc:sldMk cId="3519215731" sldId="740"/>
            <ac:spMk id="2" creationId="{1A8C9BAD-C468-4051-8E6A-AC3581038BBF}"/>
          </ac:spMkLst>
        </pc:spChg>
        <pc:spChg chg="add del">
          <ac:chgData name="Carlos Reyes García" userId="8f106461-3865-4cda-a443-ca56f71f97d2" providerId="ADAL" clId="{4F9F5C40-161E-4B16-ADFD-098F32ACAEF0}" dt="2020-03-04T02:16:23.956" v="6"/>
          <ac:spMkLst>
            <pc:docMk/>
            <pc:sldMk cId="3519215731" sldId="740"/>
            <ac:spMk id="5" creationId="{29CE35F0-0B9F-40D5-ABF7-951E4B47A0B4}"/>
          </ac:spMkLst>
        </pc:spChg>
        <pc:spChg chg="add del mod">
          <ac:chgData name="Carlos Reyes García" userId="8f106461-3865-4cda-a443-ca56f71f97d2" providerId="ADAL" clId="{4F9F5C40-161E-4B16-ADFD-098F32ACAEF0}" dt="2020-03-04T02:16:23.956" v="6"/>
          <ac:spMkLst>
            <pc:docMk/>
            <pc:sldMk cId="3519215731" sldId="740"/>
            <ac:spMk id="6" creationId="{FC7F54E1-DDED-4AA7-B926-5B0E3FE9877F}"/>
          </ac:spMkLst>
        </pc:spChg>
        <pc:spChg chg="add del">
          <ac:chgData name="Carlos Reyes García" userId="8f106461-3865-4cda-a443-ca56f71f97d2" providerId="ADAL" clId="{4F9F5C40-161E-4B16-ADFD-098F32ACAEF0}" dt="2020-03-04T02:16:23.956" v="6"/>
          <ac:spMkLst>
            <pc:docMk/>
            <pc:sldMk cId="3519215731" sldId="740"/>
            <ac:spMk id="10" creationId="{C0892B97-CD50-4380-AD03-FC58B4208170}"/>
          </ac:spMkLst>
        </pc:spChg>
        <pc:spChg chg="add mod">
          <ac:chgData name="Carlos Reyes García" userId="8f106461-3865-4cda-a443-ca56f71f97d2" providerId="ADAL" clId="{4F9F5C40-161E-4B16-ADFD-098F32ACAEF0}" dt="2020-03-04T02:17:46.647" v="11" actId="5793"/>
          <ac:spMkLst>
            <pc:docMk/>
            <pc:sldMk cId="3519215731" sldId="740"/>
            <ac:spMk id="11" creationId="{B329CDDE-3149-4D28-8B88-AA7561CEDB92}"/>
          </ac:spMkLst>
        </pc:spChg>
        <pc:spChg chg="add">
          <ac:chgData name="Carlos Reyes García" userId="8f106461-3865-4cda-a443-ca56f71f97d2" providerId="ADAL" clId="{4F9F5C40-161E-4B16-ADFD-098F32ACAEF0}" dt="2020-03-04T02:16:42.774" v="9"/>
          <ac:spMkLst>
            <pc:docMk/>
            <pc:sldMk cId="3519215731" sldId="740"/>
            <ac:spMk id="15" creationId="{FDC7E110-D604-4E9D-86C6-536B2F7151C5}"/>
          </ac:spMkLst>
        </pc:spChg>
        <pc:picChg chg="add del">
          <ac:chgData name="Carlos Reyes García" userId="8f106461-3865-4cda-a443-ca56f71f97d2" providerId="ADAL" clId="{4F9F5C40-161E-4B16-ADFD-098F32ACAEF0}" dt="2020-03-04T02:16:23.956" v="6"/>
          <ac:picMkLst>
            <pc:docMk/>
            <pc:sldMk cId="3519215731" sldId="740"/>
            <ac:picMk id="7" creationId="{0E5B2731-DBA9-48A1-AC2C-39C3980A2366}"/>
          </ac:picMkLst>
        </pc:picChg>
        <pc:picChg chg="add del">
          <ac:chgData name="Carlos Reyes García" userId="8f106461-3865-4cda-a443-ca56f71f97d2" providerId="ADAL" clId="{4F9F5C40-161E-4B16-ADFD-098F32ACAEF0}" dt="2020-03-04T02:16:23.956" v="6"/>
          <ac:picMkLst>
            <pc:docMk/>
            <pc:sldMk cId="3519215731" sldId="740"/>
            <ac:picMk id="8" creationId="{88B756D0-9EFF-4FED-816D-FAF95FD04DD7}"/>
          </ac:picMkLst>
        </pc:picChg>
        <pc:picChg chg="add">
          <ac:chgData name="Carlos Reyes García" userId="8f106461-3865-4cda-a443-ca56f71f97d2" providerId="ADAL" clId="{4F9F5C40-161E-4B16-ADFD-098F32ACAEF0}" dt="2020-03-04T02:16:42.774" v="9"/>
          <ac:picMkLst>
            <pc:docMk/>
            <pc:sldMk cId="3519215731" sldId="740"/>
            <ac:picMk id="12" creationId="{107A8065-BFAC-4878-934C-5F35CC55CC84}"/>
          </ac:picMkLst>
        </pc:picChg>
        <pc:picChg chg="add">
          <ac:chgData name="Carlos Reyes García" userId="8f106461-3865-4cda-a443-ca56f71f97d2" providerId="ADAL" clId="{4F9F5C40-161E-4B16-ADFD-098F32ACAEF0}" dt="2020-03-04T02:16:42.774" v="9"/>
          <ac:picMkLst>
            <pc:docMk/>
            <pc:sldMk cId="3519215731" sldId="740"/>
            <ac:picMk id="13" creationId="{23A18E50-3D76-4429-B990-FC4BDBDE611A}"/>
          </ac:picMkLst>
        </pc:picChg>
        <pc:cxnChg chg="add del">
          <ac:chgData name="Carlos Reyes García" userId="8f106461-3865-4cda-a443-ca56f71f97d2" providerId="ADAL" clId="{4F9F5C40-161E-4B16-ADFD-098F32ACAEF0}" dt="2020-03-04T02:16:23.956" v="6"/>
          <ac:cxnSpMkLst>
            <pc:docMk/>
            <pc:sldMk cId="3519215731" sldId="740"/>
            <ac:cxnSpMk id="9" creationId="{2897F302-6273-4305-B779-17B153138294}"/>
          </ac:cxnSpMkLst>
        </pc:cxnChg>
        <pc:cxnChg chg="add">
          <ac:chgData name="Carlos Reyes García" userId="8f106461-3865-4cda-a443-ca56f71f97d2" providerId="ADAL" clId="{4F9F5C40-161E-4B16-ADFD-098F32ACAEF0}" dt="2020-03-04T02:16:42.774" v="9"/>
          <ac:cxnSpMkLst>
            <pc:docMk/>
            <pc:sldMk cId="3519215731" sldId="740"/>
            <ac:cxnSpMk id="14" creationId="{C730233B-0298-4444-A866-AFFE1A05160F}"/>
          </ac:cxnSpMkLst>
        </pc:cxnChg>
      </pc:sldChg>
      <pc:sldChg chg="addSp delSp modSp new mod">
        <pc:chgData name="Carlos Reyes García" userId="8f106461-3865-4cda-a443-ca56f71f97d2" providerId="ADAL" clId="{4F9F5C40-161E-4B16-ADFD-098F32ACAEF0}" dt="2020-03-04T02:20:06.745" v="28" actId="207"/>
        <pc:sldMkLst>
          <pc:docMk/>
          <pc:sldMk cId="4059037730" sldId="741"/>
        </pc:sldMkLst>
        <pc:spChg chg="del">
          <ac:chgData name="Carlos Reyes García" userId="8f106461-3865-4cda-a443-ca56f71f97d2" providerId="ADAL" clId="{4F9F5C40-161E-4B16-ADFD-098F32ACAEF0}" dt="2020-03-04T02:18:00.572" v="13" actId="478"/>
          <ac:spMkLst>
            <pc:docMk/>
            <pc:sldMk cId="4059037730" sldId="741"/>
            <ac:spMk id="2" creationId="{56274461-30A5-471D-AA61-9F889EB741CF}"/>
          </ac:spMkLst>
        </pc:spChg>
        <pc:spChg chg="del">
          <ac:chgData name="Carlos Reyes García" userId="8f106461-3865-4cda-a443-ca56f71f97d2" providerId="ADAL" clId="{4F9F5C40-161E-4B16-ADFD-098F32ACAEF0}" dt="2020-03-04T02:18:01.545" v="14" actId="478"/>
          <ac:spMkLst>
            <pc:docMk/>
            <pc:sldMk cId="4059037730" sldId="741"/>
            <ac:spMk id="3" creationId="{3F06672C-0919-426C-A42D-FEC205C3E0E4}"/>
          </ac:spMkLst>
        </pc:spChg>
        <pc:spChg chg="add del mod">
          <ac:chgData name="Carlos Reyes García" userId="8f106461-3865-4cda-a443-ca56f71f97d2" providerId="ADAL" clId="{4F9F5C40-161E-4B16-ADFD-098F32ACAEF0}" dt="2020-03-04T02:19:00.785" v="22"/>
          <ac:spMkLst>
            <pc:docMk/>
            <pc:sldMk cId="4059037730" sldId="741"/>
            <ac:spMk id="6" creationId="{02683621-42C2-4FB0-B88B-1EF24870C86E}"/>
          </ac:spMkLst>
        </pc:spChg>
        <pc:spChg chg="add del mod">
          <ac:chgData name="Carlos Reyes García" userId="8f106461-3865-4cda-a443-ca56f71f97d2" providerId="ADAL" clId="{4F9F5C40-161E-4B16-ADFD-098F32ACAEF0}" dt="2020-03-04T02:19:00.785" v="22"/>
          <ac:spMkLst>
            <pc:docMk/>
            <pc:sldMk cId="4059037730" sldId="741"/>
            <ac:spMk id="7" creationId="{A54981C4-D483-4EAC-8753-B7CEDBC33728}"/>
          </ac:spMkLst>
        </pc:spChg>
        <pc:spChg chg="add del mod">
          <ac:chgData name="Carlos Reyes García" userId="8f106461-3865-4cda-a443-ca56f71f97d2" providerId="ADAL" clId="{4F9F5C40-161E-4B16-ADFD-098F32ACAEF0}" dt="2020-03-04T02:19:00.785" v="22"/>
          <ac:spMkLst>
            <pc:docMk/>
            <pc:sldMk cId="4059037730" sldId="741"/>
            <ac:spMk id="9" creationId="{093EAB1F-32EC-4D22-B7F6-0F23180BE02B}"/>
          </ac:spMkLst>
        </pc:spChg>
        <pc:spChg chg="add">
          <ac:chgData name="Carlos Reyes García" userId="8f106461-3865-4cda-a443-ca56f71f97d2" providerId="ADAL" clId="{4F9F5C40-161E-4B16-ADFD-098F32ACAEF0}" dt="2020-03-04T02:19:28.948" v="25"/>
          <ac:spMkLst>
            <pc:docMk/>
            <pc:sldMk cId="4059037730" sldId="741"/>
            <ac:spMk id="28" creationId="{924AFD01-78BD-4194-8F24-879A252A63B2}"/>
          </ac:spMkLst>
        </pc:spChg>
        <pc:spChg chg="add">
          <ac:chgData name="Carlos Reyes García" userId="8f106461-3865-4cda-a443-ca56f71f97d2" providerId="ADAL" clId="{4F9F5C40-161E-4B16-ADFD-098F32ACAEF0}" dt="2020-03-04T02:19:28.948" v="25"/>
          <ac:spMkLst>
            <pc:docMk/>
            <pc:sldMk cId="4059037730" sldId="741"/>
            <ac:spMk id="29" creationId="{ABD7374B-D6F5-425C-A5EC-406CCE931F4E}"/>
          </ac:spMkLst>
        </pc:spChg>
        <pc:spChg chg="add mod">
          <ac:chgData name="Carlos Reyes García" userId="8f106461-3865-4cda-a443-ca56f71f97d2" providerId="ADAL" clId="{4F9F5C40-161E-4B16-ADFD-098F32ACAEF0}" dt="2020-03-04T02:20:06.745" v="28" actId="207"/>
          <ac:spMkLst>
            <pc:docMk/>
            <pc:sldMk cId="4059037730" sldId="741"/>
            <ac:spMk id="31" creationId="{412EFE38-F60F-4CF7-81D0-ACFA877DD9FC}"/>
          </ac:spMkLst>
        </pc:spChg>
        <pc:spChg chg="mod topLvl">
          <ac:chgData name="Carlos Reyes García" userId="8f106461-3865-4cda-a443-ca56f71f97d2" providerId="ADAL" clId="{4F9F5C40-161E-4B16-ADFD-098F32ACAEF0}" dt="2020-03-04T02:19:50.035" v="26" actId="165"/>
          <ac:spMkLst>
            <pc:docMk/>
            <pc:sldMk cId="4059037730" sldId="741"/>
            <ac:spMk id="39" creationId="{009B7455-C043-4D5F-9672-802504CFAF77}"/>
          </ac:spMkLst>
        </pc:spChg>
        <pc:spChg chg="mod">
          <ac:chgData name="Carlos Reyes García" userId="8f106461-3865-4cda-a443-ca56f71f97d2" providerId="ADAL" clId="{4F9F5C40-161E-4B16-ADFD-098F32ACAEF0}" dt="2020-03-04T02:19:56.062" v="27" actId="207"/>
          <ac:spMkLst>
            <pc:docMk/>
            <pc:sldMk cId="4059037730" sldId="741"/>
            <ac:spMk id="45" creationId="{53A60E9B-CA56-48B8-851F-6082187F4E63}"/>
          </ac:spMkLst>
        </pc:spChg>
        <pc:spChg chg="mod">
          <ac:chgData name="Carlos Reyes García" userId="8f106461-3865-4cda-a443-ca56f71f97d2" providerId="ADAL" clId="{4F9F5C40-161E-4B16-ADFD-098F32ACAEF0}" dt="2020-03-04T02:19:56.062" v="27" actId="207"/>
          <ac:spMkLst>
            <pc:docMk/>
            <pc:sldMk cId="4059037730" sldId="741"/>
            <ac:spMk id="46" creationId="{9F85A173-E4B7-4AD0-933A-DB90280D72A0}"/>
          </ac:spMkLst>
        </pc:spChg>
        <pc:grpChg chg="add del mod">
          <ac:chgData name="Carlos Reyes García" userId="8f106461-3865-4cda-a443-ca56f71f97d2" providerId="ADAL" clId="{4F9F5C40-161E-4B16-ADFD-098F32ACAEF0}" dt="2020-03-04T02:19:00.785" v="22"/>
          <ac:grpSpMkLst>
            <pc:docMk/>
            <pc:sldMk cId="4059037730" sldId="741"/>
            <ac:grpSpMk id="11" creationId="{033F7E27-7EFA-4051-830A-10870E86A97D}"/>
          </ac:grpSpMkLst>
        </pc:grpChg>
        <pc:grpChg chg="add del mod">
          <ac:chgData name="Carlos Reyes García" userId="8f106461-3865-4cda-a443-ca56f71f97d2" providerId="ADAL" clId="{4F9F5C40-161E-4B16-ADFD-098F32ACAEF0}" dt="2020-03-04T02:19:00.785" v="22"/>
          <ac:grpSpMkLst>
            <pc:docMk/>
            <pc:sldMk cId="4059037730" sldId="741"/>
            <ac:grpSpMk id="16" creationId="{041D91CD-CBBF-44DF-A17A-35EC414CFFDD}"/>
          </ac:grpSpMkLst>
        </pc:grpChg>
        <pc:grpChg chg="add mod">
          <ac:chgData name="Carlos Reyes García" userId="8f106461-3865-4cda-a443-ca56f71f97d2" providerId="ADAL" clId="{4F9F5C40-161E-4B16-ADFD-098F32ACAEF0}" dt="2020-03-04T02:20:06.745" v="28" actId="207"/>
          <ac:grpSpMkLst>
            <pc:docMk/>
            <pc:sldMk cId="4059037730" sldId="741"/>
            <ac:grpSpMk id="33" creationId="{645A8C74-9BEF-4596-BE0F-C9CB534DB752}"/>
          </ac:grpSpMkLst>
        </pc:grpChg>
        <pc:grpChg chg="add del">
          <ac:chgData name="Carlos Reyes García" userId="8f106461-3865-4cda-a443-ca56f71f97d2" providerId="ADAL" clId="{4F9F5C40-161E-4B16-ADFD-098F32ACAEF0}" dt="2020-03-04T02:19:50.035" v="26" actId="165"/>
          <ac:grpSpMkLst>
            <pc:docMk/>
            <pc:sldMk cId="4059037730" sldId="741"/>
            <ac:grpSpMk id="38" creationId="{69649C95-FFEB-4246-B2CF-7D3E884507A7}"/>
          </ac:grpSpMkLst>
        </pc:grpChg>
        <pc:grpChg chg="mod topLvl">
          <ac:chgData name="Carlos Reyes García" userId="8f106461-3865-4cda-a443-ca56f71f97d2" providerId="ADAL" clId="{4F9F5C40-161E-4B16-ADFD-098F32ACAEF0}" dt="2020-03-04T02:19:50.035" v="26" actId="165"/>
          <ac:grpSpMkLst>
            <pc:docMk/>
            <pc:sldMk cId="4059037730" sldId="741"/>
            <ac:grpSpMk id="40" creationId="{3EB354AC-D039-4296-ACFE-A5822A694423}"/>
          </ac:grpSpMkLst>
        </pc:grpChg>
        <pc:picChg chg="add del mod">
          <ac:chgData name="Carlos Reyes García" userId="8f106461-3865-4cda-a443-ca56f71f97d2" providerId="ADAL" clId="{4F9F5C40-161E-4B16-ADFD-098F32ACAEF0}" dt="2020-03-04T02:19:00.785" v="22"/>
          <ac:picMkLst>
            <pc:docMk/>
            <pc:sldMk cId="4059037730" sldId="741"/>
            <ac:picMk id="5" creationId="{FC5B400B-DB4B-4BFE-9C56-A02ECE0E4D90}"/>
          </ac:picMkLst>
        </pc:picChg>
        <pc:picChg chg="add del mod">
          <ac:chgData name="Carlos Reyes García" userId="8f106461-3865-4cda-a443-ca56f71f97d2" providerId="ADAL" clId="{4F9F5C40-161E-4B16-ADFD-098F32ACAEF0}" dt="2020-03-04T02:19:00.785" v="22"/>
          <ac:picMkLst>
            <pc:docMk/>
            <pc:sldMk cId="4059037730" sldId="741"/>
            <ac:picMk id="10" creationId="{E0021BDF-0D6E-480E-9096-EB26EE21ED54}"/>
          </ac:picMkLst>
        </pc:picChg>
        <pc:picChg chg="add">
          <ac:chgData name="Carlos Reyes García" userId="8f106461-3865-4cda-a443-ca56f71f97d2" providerId="ADAL" clId="{4F9F5C40-161E-4B16-ADFD-098F32ACAEF0}" dt="2020-03-04T02:19:28.948" v="25"/>
          <ac:picMkLst>
            <pc:docMk/>
            <pc:sldMk cId="4059037730" sldId="741"/>
            <ac:picMk id="27" creationId="{6DDE1B27-479A-4FFF-96D1-0CD76DC4E2AE}"/>
          </ac:picMkLst>
        </pc:picChg>
        <pc:picChg chg="add">
          <ac:chgData name="Carlos Reyes García" userId="8f106461-3865-4cda-a443-ca56f71f97d2" providerId="ADAL" clId="{4F9F5C40-161E-4B16-ADFD-098F32ACAEF0}" dt="2020-03-04T02:19:28.948" v="25"/>
          <ac:picMkLst>
            <pc:docMk/>
            <pc:sldMk cId="4059037730" sldId="741"/>
            <ac:picMk id="32" creationId="{F0A0558F-4383-438F-8B1D-EBA1371B0D5A}"/>
          </ac:picMkLst>
        </pc:picChg>
        <pc:cxnChg chg="add del mod">
          <ac:chgData name="Carlos Reyes García" userId="8f106461-3865-4cda-a443-ca56f71f97d2" providerId="ADAL" clId="{4F9F5C40-161E-4B16-ADFD-098F32ACAEF0}" dt="2020-03-04T02:19:00.785" v="22"/>
          <ac:cxnSpMkLst>
            <pc:docMk/>
            <pc:sldMk cId="4059037730" sldId="741"/>
            <ac:cxnSpMk id="8" creationId="{053DF51C-EB83-41C8-8A51-A500E0D74C37}"/>
          </ac:cxnSpMkLst>
        </pc:cxnChg>
        <pc:cxnChg chg="add">
          <ac:chgData name="Carlos Reyes García" userId="8f106461-3865-4cda-a443-ca56f71f97d2" providerId="ADAL" clId="{4F9F5C40-161E-4B16-ADFD-098F32ACAEF0}" dt="2020-03-04T02:19:28.948" v="25"/>
          <ac:cxnSpMkLst>
            <pc:docMk/>
            <pc:sldMk cId="4059037730" sldId="741"/>
            <ac:cxnSpMk id="30" creationId="{34628DF2-0317-4F25-B5E3-003A17EE02D4}"/>
          </ac:cxnSpMkLst>
        </pc:cxnChg>
      </pc:sldChg>
      <pc:sldChg chg="addSp delSp modSp new mod">
        <pc:chgData name="Carlos Reyes García" userId="8f106461-3865-4cda-a443-ca56f71f97d2" providerId="ADAL" clId="{4F9F5C40-161E-4B16-ADFD-098F32ACAEF0}" dt="2020-03-04T02:21:00.929" v="33" actId="207"/>
        <pc:sldMkLst>
          <pc:docMk/>
          <pc:sldMk cId="3318415662" sldId="742"/>
        </pc:sldMkLst>
        <pc:spChg chg="del">
          <ac:chgData name="Carlos Reyes García" userId="8f106461-3865-4cda-a443-ca56f71f97d2" providerId="ADAL" clId="{4F9F5C40-161E-4B16-ADFD-098F32ACAEF0}" dt="2020-03-04T02:20:35.088" v="31" actId="478"/>
          <ac:spMkLst>
            <pc:docMk/>
            <pc:sldMk cId="3318415662" sldId="742"/>
            <ac:spMk id="2" creationId="{BC24944D-2886-483F-9392-F68BC3C44435}"/>
          </ac:spMkLst>
        </pc:spChg>
        <pc:spChg chg="del">
          <ac:chgData name="Carlos Reyes García" userId="8f106461-3865-4cda-a443-ca56f71f97d2" providerId="ADAL" clId="{4F9F5C40-161E-4B16-ADFD-098F32ACAEF0}" dt="2020-03-04T02:20:35.088" v="31" actId="478"/>
          <ac:spMkLst>
            <pc:docMk/>
            <pc:sldMk cId="3318415662" sldId="742"/>
            <ac:spMk id="3" creationId="{E2D9646D-A5A7-4212-9F60-9BC113AB2232}"/>
          </ac:spMkLst>
        </pc:spChg>
        <pc:spChg chg="add">
          <ac:chgData name="Carlos Reyes García" userId="8f106461-3865-4cda-a443-ca56f71f97d2" providerId="ADAL" clId="{4F9F5C40-161E-4B16-ADFD-098F32ACAEF0}" dt="2020-03-04T02:20:40.041" v="32"/>
          <ac:spMkLst>
            <pc:docMk/>
            <pc:sldMk cId="3318415662" sldId="742"/>
            <ac:spMk id="6" creationId="{F7926A24-7E26-4E10-B925-BCF8DFB4D1C5}"/>
          </ac:spMkLst>
        </pc:spChg>
        <pc:spChg chg="add">
          <ac:chgData name="Carlos Reyes García" userId="8f106461-3865-4cda-a443-ca56f71f97d2" providerId="ADAL" clId="{4F9F5C40-161E-4B16-ADFD-098F32ACAEF0}" dt="2020-03-04T02:20:40.041" v="32"/>
          <ac:spMkLst>
            <pc:docMk/>
            <pc:sldMk cId="3318415662" sldId="742"/>
            <ac:spMk id="7" creationId="{17B3214B-D6A0-4F3C-822C-223DFE872FBC}"/>
          </ac:spMkLst>
        </pc:spChg>
        <pc:spChg chg="add mod">
          <ac:chgData name="Carlos Reyes García" userId="8f106461-3865-4cda-a443-ca56f71f97d2" providerId="ADAL" clId="{4F9F5C40-161E-4B16-ADFD-098F32ACAEF0}" dt="2020-03-04T02:21:00.929" v="33" actId="207"/>
          <ac:spMkLst>
            <pc:docMk/>
            <pc:sldMk cId="3318415662" sldId="742"/>
            <ac:spMk id="9" creationId="{109355AB-082A-4B56-8AFB-648D66C7FB03}"/>
          </ac:spMkLst>
        </pc:spChg>
        <pc:spChg chg="add">
          <ac:chgData name="Carlos Reyes García" userId="8f106461-3865-4cda-a443-ca56f71f97d2" providerId="ADAL" clId="{4F9F5C40-161E-4B16-ADFD-098F32ACAEF0}" dt="2020-03-04T02:20:40.041" v="32"/>
          <ac:spMkLst>
            <pc:docMk/>
            <pc:sldMk cId="3318415662" sldId="742"/>
            <ac:spMk id="15" creationId="{D6F284A4-1929-44C5-99C2-562D89DF2E33}"/>
          </ac:spMkLst>
        </pc:spChg>
        <pc:grpChg chg="add">
          <ac:chgData name="Carlos Reyes García" userId="8f106461-3865-4cda-a443-ca56f71f97d2" providerId="ADAL" clId="{4F9F5C40-161E-4B16-ADFD-098F32ACAEF0}" dt="2020-03-04T02:20:40.041" v="32"/>
          <ac:grpSpMkLst>
            <pc:docMk/>
            <pc:sldMk cId="3318415662" sldId="742"/>
            <ac:grpSpMk id="11" creationId="{DD411A51-6DD4-4DF7-B214-28CF51331040}"/>
          </ac:grpSpMkLst>
        </pc:grpChg>
        <pc:picChg chg="add">
          <ac:chgData name="Carlos Reyes García" userId="8f106461-3865-4cda-a443-ca56f71f97d2" providerId="ADAL" clId="{4F9F5C40-161E-4B16-ADFD-098F32ACAEF0}" dt="2020-03-04T02:20:40.041" v="32"/>
          <ac:picMkLst>
            <pc:docMk/>
            <pc:sldMk cId="3318415662" sldId="742"/>
            <ac:picMk id="5" creationId="{1A05B084-7C85-4166-9EED-8D5998C86256}"/>
          </ac:picMkLst>
        </pc:picChg>
        <pc:picChg chg="add">
          <ac:chgData name="Carlos Reyes García" userId="8f106461-3865-4cda-a443-ca56f71f97d2" providerId="ADAL" clId="{4F9F5C40-161E-4B16-ADFD-098F32ACAEF0}" dt="2020-03-04T02:20:40.041" v="32"/>
          <ac:picMkLst>
            <pc:docMk/>
            <pc:sldMk cId="3318415662" sldId="742"/>
            <ac:picMk id="10" creationId="{D05B5938-F1CF-414B-A260-A11035FCF6BA}"/>
          </ac:picMkLst>
        </pc:picChg>
        <pc:picChg chg="add">
          <ac:chgData name="Carlos Reyes García" userId="8f106461-3865-4cda-a443-ca56f71f97d2" providerId="ADAL" clId="{4F9F5C40-161E-4B16-ADFD-098F32ACAEF0}" dt="2020-03-04T02:20:40.041" v="32"/>
          <ac:picMkLst>
            <pc:docMk/>
            <pc:sldMk cId="3318415662" sldId="742"/>
            <ac:picMk id="14" creationId="{0165CFD9-49C3-4446-9872-532640FA57E8}"/>
          </ac:picMkLst>
        </pc:picChg>
        <pc:cxnChg chg="add">
          <ac:chgData name="Carlos Reyes García" userId="8f106461-3865-4cda-a443-ca56f71f97d2" providerId="ADAL" clId="{4F9F5C40-161E-4B16-ADFD-098F32ACAEF0}" dt="2020-03-04T02:20:40.041" v="32"/>
          <ac:cxnSpMkLst>
            <pc:docMk/>
            <pc:sldMk cId="3318415662" sldId="742"/>
            <ac:cxnSpMk id="8" creationId="{E8464D29-8BEC-4C01-857C-1BF1F8DA09B3}"/>
          </ac:cxnSpMkLst>
        </pc:cxnChg>
      </pc:sldChg>
      <pc:sldChg chg="addSp delSp modSp new mod">
        <pc:chgData name="Carlos Reyes García" userId="8f106461-3865-4cda-a443-ca56f71f97d2" providerId="ADAL" clId="{4F9F5C40-161E-4B16-ADFD-098F32ACAEF0}" dt="2020-03-04T02:22:10.742" v="45" actId="1037"/>
        <pc:sldMkLst>
          <pc:docMk/>
          <pc:sldMk cId="1174375317" sldId="743"/>
        </pc:sldMkLst>
        <pc:spChg chg="del">
          <ac:chgData name="Carlos Reyes García" userId="8f106461-3865-4cda-a443-ca56f71f97d2" providerId="ADAL" clId="{4F9F5C40-161E-4B16-ADFD-098F32ACAEF0}" dt="2020-03-04T02:21:20.384" v="36" actId="478"/>
          <ac:spMkLst>
            <pc:docMk/>
            <pc:sldMk cId="1174375317" sldId="743"/>
            <ac:spMk id="2" creationId="{79F7CA79-6AC7-4663-A870-96A491424546}"/>
          </ac:spMkLst>
        </pc:spChg>
        <pc:spChg chg="del">
          <ac:chgData name="Carlos Reyes García" userId="8f106461-3865-4cda-a443-ca56f71f97d2" providerId="ADAL" clId="{4F9F5C40-161E-4B16-ADFD-098F32ACAEF0}" dt="2020-03-04T02:21:20.384" v="36" actId="478"/>
          <ac:spMkLst>
            <pc:docMk/>
            <pc:sldMk cId="1174375317" sldId="743"/>
            <ac:spMk id="3" creationId="{79CE50F9-3D65-4014-9DB3-24C9506B63BA}"/>
          </ac:spMkLst>
        </pc:spChg>
        <pc:spChg chg="add">
          <ac:chgData name="Carlos Reyes García" userId="8f106461-3865-4cda-a443-ca56f71f97d2" providerId="ADAL" clId="{4F9F5C40-161E-4B16-ADFD-098F32ACAEF0}" dt="2020-03-04T02:21:28.149" v="37"/>
          <ac:spMkLst>
            <pc:docMk/>
            <pc:sldMk cId="1174375317" sldId="743"/>
            <ac:spMk id="7" creationId="{DF6F30D7-CB8C-45F7-81AF-4C16CEC134AF}"/>
          </ac:spMkLst>
        </pc:spChg>
        <pc:spChg chg="add">
          <ac:chgData name="Carlos Reyes García" userId="8f106461-3865-4cda-a443-ca56f71f97d2" providerId="ADAL" clId="{4F9F5C40-161E-4B16-ADFD-098F32ACAEF0}" dt="2020-03-04T02:21:28.149" v="37"/>
          <ac:spMkLst>
            <pc:docMk/>
            <pc:sldMk cId="1174375317" sldId="743"/>
            <ac:spMk id="8" creationId="{ED7934DB-C049-4D18-BA78-46721384798A}"/>
          </ac:spMkLst>
        </pc:spChg>
        <pc:spChg chg="add mod">
          <ac:chgData name="Carlos Reyes García" userId="8f106461-3865-4cda-a443-ca56f71f97d2" providerId="ADAL" clId="{4F9F5C40-161E-4B16-ADFD-098F32ACAEF0}" dt="2020-03-04T02:22:00.079" v="42" actId="1035"/>
          <ac:spMkLst>
            <pc:docMk/>
            <pc:sldMk cId="1174375317" sldId="743"/>
            <ac:spMk id="10" creationId="{0AA4B050-2EFA-40E5-818D-C89A22568BB3}"/>
          </ac:spMkLst>
        </pc:spChg>
        <pc:grpChg chg="add">
          <ac:chgData name="Carlos Reyes García" userId="8f106461-3865-4cda-a443-ca56f71f97d2" providerId="ADAL" clId="{4F9F5C40-161E-4B16-ADFD-098F32ACAEF0}" dt="2020-03-04T02:21:28.149" v="37"/>
          <ac:grpSpMkLst>
            <pc:docMk/>
            <pc:sldMk cId="1174375317" sldId="743"/>
            <ac:grpSpMk id="11" creationId="{8A8D2762-2DFF-4E09-BDBA-963F913D8AF9}"/>
          </ac:grpSpMkLst>
        </pc:grpChg>
        <pc:picChg chg="add mod">
          <ac:chgData name="Carlos Reyes García" userId="8f106461-3865-4cda-a443-ca56f71f97d2" providerId="ADAL" clId="{4F9F5C40-161E-4B16-ADFD-098F32ACAEF0}" dt="2020-03-04T02:22:10.742" v="45" actId="1037"/>
          <ac:picMkLst>
            <pc:docMk/>
            <pc:sldMk cId="1174375317" sldId="743"/>
            <ac:picMk id="5" creationId="{EAE4DA2B-A58C-4D4F-A4E8-9A2FE2042EA1}"/>
          </ac:picMkLst>
        </pc:picChg>
        <pc:picChg chg="add">
          <ac:chgData name="Carlos Reyes García" userId="8f106461-3865-4cda-a443-ca56f71f97d2" providerId="ADAL" clId="{4F9F5C40-161E-4B16-ADFD-098F32ACAEF0}" dt="2020-03-04T02:21:28.149" v="37"/>
          <ac:picMkLst>
            <pc:docMk/>
            <pc:sldMk cId="1174375317" sldId="743"/>
            <ac:picMk id="6" creationId="{87782DA3-FBDC-4355-BB0E-064FAA8DED5A}"/>
          </ac:picMkLst>
        </pc:picChg>
        <pc:cxnChg chg="add">
          <ac:chgData name="Carlos Reyes García" userId="8f106461-3865-4cda-a443-ca56f71f97d2" providerId="ADAL" clId="{4F9F5C40-161E-4B16-ADFD-098F32ACAEF0}" dt="2020-03-04T02:21:28.149" v="37"/>
          <ac:cxnSpMkLst>
            <pc:docMk/>
            <pc:sldMk cId="1174375317" sldId="743"/>
            <ac:cxnSpMk id="9" creationId="{2FE6333F-52B3-4048-A9FA-D08116C88B6A}"/>
          </ac:cxnSpMkLst>
        </pc:cxnChg>
      </pc:sldChg>
      <pc:sldChg chg="modSp">
        <pc:chgData name="Carlos Reyes García" userId="8f106461-3865-4cda-a443-ca56f71f97d2" providerId="ADAL" clId="{4F9F5C40-161E-4B16-ADFD-098F32ACAEF0}" dt="2020-03-11T05:07:00.778" v="136" actId="14100"/>
        <pc:sldMkLst>
          <pc:docMk/>
          <pc:sldMk cId="1741957811" sldId="768"/>
        </pc:sldMkLst>
        <pc:graphicFrameChg chg="mod">
          <ac:chgData name="Carlos Reyes García" userId="8f106461-3865-4cda-a443-ca56f71f97d2" providerId="ADAL" clId="{4F9F5C40-161E-4B16-ADFD-098F32ACAEF0}" dt="2020-03-11T05:07:00.778" v="136" actId="14100"/>
          <ac:graphicFrameMkLst>
            <pc:docMk/>
            <pc:sldMk cId="1741957811" sldId="768"/>
            <ac:graphicFrameMk id="8" creationId="{F2F3C940-AD7F-4BDC-B54E-5C35FE27C4CC}"/>
          </ac:graphicFrameMkLst>
        </pc:graphicFrameChg>
      </pc:sldChg>
      <pc:sldChg chg="modSp add">
        <pc:chgData name="Carlos Reyes García" userId="8f106461-3865-4cda-a443-ca56f71f97d2" providerId="ADAL" clId="{4F9F5C40-161E-4B16-ADFD-098F32ACAEF0}" dt="2020-03-11T05:06:35.579" v="130" actId="14100"/>
        <pc:sldMkLst>
          <pc:docMk/>
          <pc:sldMk cId="2238154609" sldId="769"/>
        </pc:sldMkLst>
        <pc:graphicFrameChg chg="mod">
          <ac:chgData name="Carlos Reyes García" userId="8f106461-3865-4cda-a443-ca56f71f97d2" providerId="ADAL" clId="{4F9F5C40-161E-4B16-ADFD-098F32ACAEF0}" dt="2020-03-11T05:06:35.579" v="130" actId="14100"/>
          <ac:graphicFrameMkLst>
            <pc:docMk/>
            <pc:sldMk cId="2238154609" sldId="769"/>
            <ac:graphicFrameMk id="8" creationId="{F2F3C940-AD7F-4BDC-B54E-5C35FE27C4CC}"/>
          </ac:graphicFrameMkLst>
        </pc:graphicFrameChg>
      </pc:sldChg>
      <pc:sldChg chg="modSp add mod">
        <pc:chgData name="Carlos Reyes García" userId="8f106461-3865-4cda-a443-ca56f71f97d2" providerId="ADAL" clId="{4F9F5C40-161E-4B16-ADFD-098F32ACAEF0}" dt="2020-03-11T05:18:17.098" v="258" actId="20577"/>
        <pc:sldMkLst>
          <pc:docMk/>
          <pc:sldMk cId="3614889026" sldId="770"/>
        </pc:sldMkLst>
        <pc:spChg chg="mod">
          <ac:chgData name="Carlos Reyes García" userId="8f106461-3865-4cda-a443-ca56f71f97d2" providerId="ADAL" clId="{4F9F5C40-161E-4B16-ADFD-098F32ACAEF0}" dt="2020-03-11T05:18:17.098" v="258" actId="20577"/>
          <ac:spMkLst>
            <pc:docMk/>
            <pc:sldMk cId="3614889026" sldId="770"/>
            <ac:spMk id="3" creationId="{CAE70848-9649-464A-B7E9-B28A122C588E}"/>
          </ac:spMkLst>
        </pc:spChg>
        <pc:spChg chg="mod">
          <ac:chgData name="Carlos Reyes García" userId="8f106461-3865-4cda-a443-ca56f71f97d2" providerId="ADAL" clId="{4F9F5C40-161E-4B16-ADFD-098F32ACAEF0}" dt="2020-03-11T05:17:13.574" v="237" actId="6549"/>
          <ac:spMkLst>
            <pc:docMk/>
            <pc:sldMk cId="3614889026" sldId="770"/>
            <ac:spMk id="4" creationId="{12DEA170-32DB-4A30-A577-B43B69BFBF96}"/>
          </ac:spMkLst>
        </pc:spChg>
        <pc:graphicFrameChg chg="mod">
          <ac:chgData name="Carlos Reyes García" userId="8f106461-3865-4cda-a443-ca56f71f97d2" providerId="ADAL" clId="{4F9F5C40-161E-4B16-ADFD-098F32ACAEF0}" dt="2020-03-11T05:18:07.256" v="246" actId="20577"/>
          <ac:graphicFrameMkLst>
            <pc:docMk/>
            <pc:sldMk cId="3614889026" sldId="770"/>
            <ac:graphicFrameMk id="6" creationId="{86BC05FA-945C-42C3-8405-CAF4DBFA6705}"/>
          </ac:graphicFrameMkLst>
        </pc:graphicFrameChg>
      </pc:sldChg>
    </pc:docChg>
  </pc:docChgLst>
  <pc:docChgLst>
    <pc:chgData name="Batuhan Yildiz" userId="90f344fc-4655-4923-aeaf-697bba59c1a7" providerId="ADAL" clId="{73D0611D-A011-47A1-B2AD-14FD4A842E01}"/>
    <pc:docChg chg="undo custSel delSld modSld delSection modSection">
      <pc:chgData name="Batuhan Yildiz" userId="90f344fc-4655-4923-aeaf-697bba59c1a7" providerId="ADAL" clId="{73D0611D-A011-47A1-B2AD-14FD4A842E01}" dt="2020-01-30T08:11:45.946" v="225" actId="17851"/>
      <pc:docMkLst>
        <pc:docMk/>
      </pc:docMkLst>
      <pc:sldChg chg="modSp mod">
        <pc:chgData name="Batuhan Yildiz" userId="90f344fc-4655-4923-aeaf-697bba59c1a7" providerId="ADAL" clId="{73D0611D-A011-47A1-B2AD-14FD4A842E01}" dt="2020-01-30T08:01:56.455" v="12" actId="20577"/>
        <pc:sldMkLst>
          <pc:docMk/>
          <pc:sldMk cId="1196121053" sldId="260"/>
        </pc:sldMkLst>
        <pc:spChg chg="mod">
          <ac:chgData name="Batuhan Yildiz" userId="90f344fc-4655-4923-aeaf-697bba59c1a7" providerId="ADAL" clId="{73D0611D-A011-47A1-B2AD-14FD4A842E01}" dt="2020-01-30T08:01:51.602" v="10" actId="20577"/>
          <ac:spMkLst>
            <pc:docMk/>
            <pc:sldMk cId="1196121053" sldId="260"/>
            <ac:spMk id="4" creationId="{5D85DF47-300F-4085-B774-DDE734B96F99}"/>
          </ac:spMkLst>
        </pc:spChg>
        <pc:spChg chg="mod">
          <ac:chgData name="Batuhan Yildiz" userId="90f344fc-4655-4923-aeaf-697bba59c1a7" providerId="ADAL" clId="{73D0611D-A011-47A1-B2AD-14FD4A842E01}" dt="2020-01-30T08:01:56.455" v="12" actId="20577"/>
          <ac:spMkLst>
            <pc:docMk/>
            <pc:sldMk cId="1196121053" sldId="260"/>
            <ac:spMk id="5" creationId="{806AE5AE-CAF0-4BF4-872E-C97AF8874A6F}"/>
          </ac:spMkLst>
        </pc:spChg>
      </pc:sldChg>
      <pc:sldChg chg="modSp mod">
        <pc:chgData name="Batuhan Yildiz" userId="90f344fc-4655-4923-aeaf-697bba59c1a7" providerId="ADAL" clId="{73D0611D-A011-47A1-B2AD-14FD4A842E01}" dt="2020-01-30T08:05:04.119" v="75" actId="20577"/>
        <pc:sldMkLst>
          <pc:docMk/>
          <pc:sldMk cId="2621600474" sldId="534"/>
        </pc:sldMkLst>
        <pc:spChg chg="mod">
          <ac:chgData name="Batuhan Yildiz" userId="90f344fc-4655-4923-aeaf-697bba59c1a7" providerId="ADAL" clId="{73D0611D-A011-47A1-B2AD-14FD4A842E01}" dt="2020-01-30T08:05:04.119" v="75" actId="20577"/>
          <ac:spMkLst>
            <pc:docMk/>
            <pc:sldMk cId="2621600474" sldId="534"/>
            <ac:spMk id="5" creationId="{55182462-DFDF-4D48-A92C-42FD52821C4E}"/>
          </ac:spMkLst>
        </pc:spChg>
      </pc:sldChg>
      <pc:sldChg chg="modSp mod">
        <pc:chgData name="Batuhan Yildiz" userId="90f344fc-4655-4923-aeaf-697bba59c1a7" providerId="ADAL" clId="{73D0611D-A011-47A1-B2AD-14FD4A842E01}" dt="2020-01-30T08:03:02.729" v="18" actId="14100"/>
        <pc:sldMkLst>
          <pc:docMk/>
          <pc:sldMk cId="4083746080" sldId="561"/>
        </pc:sldMkLst>
        <pc:spChg chg="mod">
          <ac:chgData name="Batuhan Yildiz" userId="90f344fc-4655-4923-aeaf-697bba59c1a7" providerId="ADAL" clId="{73D0611D-A011-47A1-B2AD-14FD4A842E01}" dt="2020-01-30T08:03:02.729" v="18" actId="14100"/>
          <ac:spMkLst>
            <pc:docMk/>
            <pc:sldMk cId="4083746080" sldId="561"/>
            <ac:spMk id="2" creationId="{74CD77A6-E28D-4D8D-9FE5-64ADAA827AC9}"/>
          </ac:spMkLst>
        </pc:spChg>
      </pc:sldChg>
      <pc:sldChg chg="modSp mod">
        <pc:chgData name="Batuhan Yildiz" userId="90f344fc-4655-4923-aeaf-697bba59c1a7" providerId="ADAL" clId="{73D0611D-A011-47A1-B2AD-14FD4A842E01}" dt="2020-01-30T08:02:33.981" v="14" actId="14100"/>
        <pc:sldMkLst>
          <pc:docMk/>
          <pc:sldMk cId="1615560134" sldId="562"/>
        </pc:sldMkLst>
        <pc:spChg chg="mod">
          <ac:chgData name="Batuhan Yildiz" userId="90f344fc-4655-4923-aeaf-697bba59c1a7" providerId="ADAL" clId="{73D0611D-A011-47A1-B2AD-14FD4A842E01}" dt="2020-01-30T08:02:33.981" v="14" actId="14100"/>
          <ac:spMkLst>
            <pc:docMk/>
            <pc:sldMk cId="1615560134" sldId="562"/>
            <ac:spMk id="3" creationId="{859B2BAE-A383-4E74-B3CF-9AC64DA11727}"/>
          </ac:spMkLst>
        </pc:spChg>
      </pc:sldChg>
      <pc:sldChg chg="modSp">
        <pc:chgData name="Batuhan Yildiz" userId="90f344fc-4655-4923-aeaf-697bba59c1a7" providerId="ADAL" clId="{73D0611D-A011-47A1-B2AD-14FD4A842E01}" dt="2020-01-30T08:05:37.854" v="76"/>
        <pc:sldMkLst>
          <pc:docMk/>
          <pc:sldMk cId="289400407" sldId="564"/>
        </pc:sldMkLst>
        <pc:spChg chg="mod">
          <ac:chgData name="Batuhan Yildiz" userId="90f344fc-4655-4923-aeaf-697bba59c1a7" providerId="ADAL" clId="{73D0611D-A011-47A1-B2AD-14FD4A842E01}" dt="2020-01-30T08:05:37.854" v="76"/>
          <ac:spMkLst>
            <pc:docMk/>
            <pc:sldMk cId="289400407" sldId="564"/>
            <ac:spMk id="2" creationId="{74CD77A6-E28D-4D8D-9FE5-64ADAA827AC9}"/>
          </ac:spMkLst>
        </pc:spChg>
      </pc:sldChg>
      <pc:sldChg chg="modSp mod">
        <pc:chgData name="Batuhan Yildiz" userId="90f344fc-4655-4923-aeaf-697bba59c1a7" providerId="ADAL" clId="{73D0611D-A011-47A1-B2AD-14FD4A842E01}" dt="2020-01-30T08:08:29.799" v="134" actId="6549"/>
        <pc:sldMkLst>
          <pc:docMk/>
          <pc:sldMk cId="2034824179" sldId="565"/>
        </pc:sldMkLst>
        <pc:spChg chg="mod">
          <ac:chgData name="Batuhan Yildiz" userId="90f344fc-4655-4923-aeaf-697bba59c1a7" providerId="ADAL" clId="{73D0611D-A011-47A1-B2AD-14FD4A842E01}" dt="2020-01-30T08:08:29.799" v="134" actId="6549"/>
          <ac:spMkLst>
            <pc:docMk/>
            <pc:sldMk cId="2034824179" sldId="565"/>
            <ac:spMk id="5" creationId="{55182462-DFDF-4D48-A92C-42FD52821C4E}"/>
          </ac:spMkLst>
        </pc:spChg>
      </pc:sldChg>
      <pc:sldChg chg="modSp">
        <pc:chgData name="Batuhan Yildiz" userId="90f344fc-4655-4923-aeaf-697bba59c1a7" providerId="ADAL" clId="{73D0611D-A011-47A1-B2AD-14FD4A842E01}" dt="2020-01-30T08:08:56.695" v="135"/>
        <pc:sldMkLst>
          <pc:docMk/>
          <pc:sldMk cId="57495843" sldId="571"/>
        </pc:sldMkLst>
        <pc:spChg chg="mod">
          <ac:chgData name="Batuhan Yildiz" userId="90f344fc-4655-4923-aeaf-697bba59c1a7" providerId="ADAL" clId="{73D0611D-A011-47A1-B2AD-14FD4A842E01}" dt="2020-01-30T08:08:56.695" v="135"/>
          <ac:spMkLst>
            <pc:docMk/>
            <pc:sldMk cId="57495843" sldId="571"/>
            <ac:spMk id="2" creationId="{74CD77A6-E28D-4D8D-9FE5-64ADAA827AC9}"/>
          </ac:spMkLst>
        </pc:spChg>
      </pc:sldChg>
      <pc:sldChg chg="modSp mod">
        <pc:chgData name="Batuhan Yildiz" userId="90f344fc-4655-4923-aeaf-697bba59c1a7" providerId="ADAL" clId="{73D0611D-A011-47A1-B2AD-14FD4A842E01}" dt="2020-01-30T08:10:43.661" v="220" actId="20577"/>
        <pc:sldMkLst>
          <pc:docMk/>
          <pc:sldMk cId="2314306782" sldId="572"/>
        </pc:sldMkLst>
        <pc:spChg chg="mod">
          <ac:chgData name="Batuhan Yildiz" userId="90f344fc-4655-4923-aeaf-697bba59c1a7" providerId="ADAL" clId="{73D0611D-A011-47A1-B2AD-14FD4A842E01}" dt="2020-01-30T08:10:43.661" v="220" actId="20577"/>
          <ac:spMkLst>
            <pc:docMk/>
            <pc:sldMk cId="2314306782" sldId="572"/>
            <ac:spMk id="5" creationId="{55182462-DFDF-4D48-A92C-42FD52821C4E}"/>
          </ac:spMkLst>
        </pc:spChg>
      </pc:sldChg>
      <pc:sldChg chg="del">
        <pc:chgData name="Batuhan Yildiz" userId="90f344fc-4655-4923-aeaf-697bba59c1a7" providerId="ADAL" clId="{73D0611D-A011-47A1-B2AD-14FD4A842E01}" dt="2020-01-30T08:11:06.931" v="221" actId="47"/>
        <pc:sldMkLst>
          <pc:docMk/>
          <pc:sldMk cId="2604901344" sldId="578"/>
        </pc:sldMkLst>
      </pc:sldChg>
      <pc:sldChg chg="del">
        <pc:chgData name="Batuhan Yildiz" userId="90f344fc-4655-4923-aeaf-697bba59c1a7" providerId="ADAL" clId="{73D0611D-A011-47A1-B2AD-14FD4A842E01}" dt="2020-01-30T08:11:06.931" v="221" actId="47"/>
        <pc:sldMkLst>
          <pc:docMk/>
          <pc:sldMk cId="1403018791" sldId="579"/>
        </pc:sldMkLst>
      </pc:sldChg>
      <pc:sldChg chg="del">
        <pc:chgData name="Batuhan Yildiz" userId="90f344fc-4655-4923-aeaf-697bba59c1a7" providerId="ADAL" clId="{73D0611D-A011-47A1-B2AD-14FD4A842E01}" dt="2020-01-30T08:11:06.931" v="221" actId="47"/>
        <pc:sldMkLst>
          <pc:docMk/>
          <pc:sldMk cId="3819752479" sldId="580"/>
        </pc:sldMkLst>
      </pc:sldChg>
      <pc:sldChg chg="del">
        <pc:chgData name="Batuhan Yildiz" userId="90f344fc-4655-4923-aeaf-697bba59c1a7" providerId="ADAL" clId="{73D0611D-A011-47A1-B2AD-14FD4A842E01}" dt="2020-01-30T08:11:06.931" v="221" actId="47"/>
        <pc:sldMkLst>
          <pc:docMk/>
          <pc:sldMk cId="159196581" sldId="581"/>
        </pc:sldMkLst>
      </pc:sldChg>
      <pc:sldChg chg="del">
        <pc:chgData name="Batuhan Yildiz" userId="90f344fc-4655-4923-aeaf-697bba59c1a7" providerId="ADAL" clId="{73D0611D-A011-47A1-B2AD-14FD4A842E01}" dt="2020-01-30T08:11:06.931" v="221" actId="47"/>
        <pc:sldMkLst>
          <pc:docMk/>
          <pc:sldMk cId="1046573154" sldId="582"/>
        </pc:sldMkLst>
      </pc:sldChg>
      <pc:sldChg chg="del">
        <pc:chgData name="Batuhan Yildiz" userId="90f344fc-4655-4923-aeaf-697bba59c1a7" providerId="ADAL" clId="{73D0611D-A011-47A1-B2AD-14FD4A842E01}" dt="2020-01-30T08:11:06.931" v="221" actId="47"/>
        <pc:sldMkLst>
          <pc:docMk/>
          <pc:sldMk cId="3001108781" sldId="583"/>
        </pc:sldMkLst>
      </pc:sldChg>
      <pc:sldChg chg="del">
        <pc:chgData name="Batuhan Yildiz" userId="90f344fc-4655-4923-aeaf-697bba59c1a7" providerId="ADAL" clId="{73D0611D-A011-47A1-B2AD-14FD4A842E01}" dt="2020-01-30T08:11:06.931" v="221" actId="47"/>
        <pc:sldMkLst>
          <pc:docMk/>
          <pc:sldMk cId="2092846825" sldId="584"/>
        </pc:sldMkLst>
      </pc:sldChg>
      <pc:sldChg chg="del">
        <pc:chgData name="Batuhan Yildiz" userId="90f344fc-4655-4923-aeaf-697bba59c1a7" providerId="ADAL" clId="{73D0611D-A011-47A1-B2AD-14FD4A842E01}" dt="2020-01-30T08:11:06.931" v="221" actId="47"/>
        <pc:sldMkLst>
          <pc:docMk/>
          <pc:sldMk cId="4221138358" sldId="585"/>
        </pc:sldMkLst>
      </pc:sldChg>
      <pc:sldChg chg="del">
        <pc:chgData name="Batuhan Yildiz" userId="90f344fc-4655-4923-aeaf-697bba59c1a7" providerId="ADAL" clId="{73D0611D-A011-47A1-B2AD-14FD4A842E01}" dt="2020-01-30T08:11:06.931" v="221" actId="47"/>
        <pc:sldMkLst>
          <pc:docMk/>
          <pc:sldMk cId="577140418" sldId="586"/>
        </pc:sldMkLst>
      </pc:sldChg>
      <pc:sldChg chg="del">
        <pc:chgData name="Batuhan Yildiz" userId="90f344fc-4655-4923-aeaf-697bba59c1a7" providerId="ADAL" clId="{73D0611D-A011-47A1-B2AD-14FD4A842E01}" dt="2020-01-30T08:11:06.931" v="221" actId="47"/>
        <pc:sldMkLst>
          <pc:docMk/>
          <pc:sldMk cId="661700826" sldId="587"/>
        </pc:sldMkLst>
      </pc:sldChg>
      <pc:sldChg chg="del">
        <pc:chgData name="Batuhan Yildiz" userId="90f344fc-4655-4923-aeaf-697bba59c1a7" providerId="ADAL" clId="{73D0611D-A011-47A1-B2AD-14FD4A842E01}" dt="2020-01-30T08:11:06.931" v="221" actId="47"/>
        <pc:sldMkLst>
          <pc:docMk/>
          <pc:sldMk cId="471539456" sldId="588"/>
        </pc:sldMkLst>
      </pc:sldChg>
      <pc:sldChg chg="del">
        <pc:chgData name="Batuhan Yildiz" userId="90f344fc-4655-4923-aeaf-697bba59c1a7" providerId="ADAL" clId="{73D0611D-A011-47A1-B2AD-14FD4A842E01}" dt="2020-01-30T08:11:06.931" v="221" actId="47"/>
        <pc:sldMkLst>
          <pc:docMk/>
          <pc:sldMk cId="2646513380" sldId="589"/>
        </pc:sldMkLst>
      </pc:sldChg>
      <pc:sldChg chg="del">
        <pc:chgData name="Batuhan Yildiz" userId="90f344fc-4655-4923-aeaf-697bba59c1a7" providerId="ADAL" clId="{73D0611D-A011-47A1-B2AD-14FD4A842E01}" dt="2020-01-30T08:11:06.931" v="221" actId="47"/>
        <pc:sldMkLst>
          <pc:docMk/>
          <pc:sldMk cId="2880690618" sldId="590"/>
        </pc:sldMkLst>
      </pc:sldChg>
      <pc:sldChg chg="del">
        <pc:chgData name="Batuhan Yildiz" userId="90f344fc-4655-4923-aeaf-697bba59c1a7" providerId="ADAL" clId="{73D0611D-A011-47A1-B2AD-14FD4A842E01}" dt="2020-01-30T08:11:06.931" v="221" actId="47"/>
        <pc:sldMkLst>
          <pc:docMk/>
          <pc:sldMk cId="65979341" sldId="591"/>
        </pc:sldMkLst>
      </pc:sldChg>
      <pc:sldChg chg="del">
        <pc:chgData name="Batuhan Yildiz" userId="90f344fc-4655-4923-aeaf-697bba59c1a7" providerId="ADAL" clId="{73D0611D-A011-47A1-B2AD-14FD4A842E01}" dt="2020-01-30T08:11:06.931" v="221" actId="47"/>
        <pc:sldMkLst>
          <pc:docMk/>
          <pc:sldMk cId="1520463761" sldId="592"/>
        </pc:sldMkLst>
      </pc:sldChg>
      <pc:sldChg chg="del">
        <pc:chgData name="Batuhan Yildiz" userId="90f344fc-4655-4923-aeaf-697bba59c1a7" providerId="ADAL" clId="{73D0611D-A011-47A1-B2AD-14FD4A842E01}" dt="2020-01-30T08:11:06.931" v="221" actId="47"/>
        <pc:sldMkLst>
          <pc:docMk/>
          <pc:sldMk cId="418979536" sldId="593"/>
        </pc:sldMkLst>
      </pc:sldChg>
      <pc:sldChg chg="del">
        <pc:chgData name="Batuhan Yildiz" userId="90f344fc-4655-4923-aeaf-697bba59c1a7" providerId="ADAL" clId="{73D0611D-A011-47A1-B2AD-14FD4A842E01}" dt="2020-01-30T08:11:06.931" v="221" actId="47"/>
        <pc:sldMkLst>
          <pc:docMk/>
          <pc:sldMk cId="1309115212" sldId="594"/>
        </pc:sldMkLst>
      </pc:sldChg>
      <pc:sldChg chg="del">
        <pc:chgData name="Batuhan Yildiz" userId="90f344fc-4655-4923-aeaf-697bba59c1a7" providerId="ADAL" clId="{73D0611D-A011-47A1-B2AD-14FD4A842E01}" dt="2020-01-30T08:11:06.931" v="221" actId="47"/>
        <pc:sldMkLst>
          <pc:docMk/>
          <pc:sldMk cId="2185982150" sldId="595"/>
        </pc:sldMkLst>
      </pc:sldChg>
      <pc:sldChg chg="del">
        <pc:chgData name="Batuhan Yildiz" userId="90f344fc-4655-4923-aeaf-697bba59c1a7" providerId="ADAL" clId="{73D0611D-A011-47A1-B2AD-14FD4A842E01}" dt="2020-01-30T08:11:06.931" v="221" actId="47"/>
        <pc:sldMkLst>
          <pc:docMk/>
          <pc:sldMk cId="3232471753" sldId="596"/>
        </pc:sldMkLst>
      </pc:sldChg>
      <pc:sldChg chg="del">
        <pc:chgData name="Batuhan Yildiz" userId="90f344fc-4655-4923-aeaf-697bba59c1a7" providerId="ADAL" clId="{73D0611D-A011-47A1-B2AD-14FD4A842E01}" dt="2020-01-30T08:11:06.931" v="221" actId="47"/>
        <pc:sldMkLst>
          <pc:docMk/>
          <pc:sldMk cId="222379813" sldId="597"/>
        </pc:sldMkLst>
      </pc:sldChg>
      <pc:sldChg chg="del">
        <pc:chgData name="Batuhan Yildiz" userId="90f344fc-4655-4923-aeaf-697bba59c1a7" providerId="ADAL" clId="{73D0611D-A011-47A1-B2AD-14FD4A842E01}" dt="2020-01-30T08:11:06.931" v="221" actId="47"/>
        <pc:sldMkLst>
          <pc:docMk/>
          <pc:sldMk cId="4052405621" sldId="598"/>
        </pc:sldMkLst>
      </pc:sldChg>
      <pc:sldChg chg="del">
        <pc:chgData name="Batuhan Yildiz" userId="90f344fc-4655-4923-aeaf-697bba59c1a7" providerId="ADAL" clId="{73D0611D-A011-47A1-B2AD-14FD4A842E01}" dt="2020-01-30T08:11:06.931" v="221" actId="47"/>
        <pc:sldMkLst>
          <pc:docMk/>
          <pc:sldMk cId="3471004044" sldId="599"/>
        </pc:sldMkLst>
      </pc:sldChg>
      <pc:sldChg chg="del">
        <pc:chgData name="Batuhan Yildiz" userId="90f344fc-4655-4923-aeaf-697bba59c1a7" providerId="ADAL" clId="{73D0611D-A011-47A1-B2AD-14FD4A842E01}" dt="2020-01-30T08:11:06.931" v="221" actId="47"/>
        <pc:sldMkLst>
          <pc:docMk/>
          <pc:sldMk cId="4115121909" sldId="600"/>
        </pc:sldMkLst>
      </pc:sldChg>
      <pc:sldChg chg="del">
        <pc:chgData name="Batuhan Yildiz" userId="90f344fc-4655-4923-aeaf-697bba59c1a7" providerId="ADAL" clId="{73D0611D-A011-47A1-B2AD-14FD4A842E01}" dt="2020-01-30T08:11:06.931" v="221" actId="47"/>
        <pc:sldMkLst>
          <pc:docMk/>
          <pc:sldMk cId="3920792206" sldId="601"/>
        </pc:sldMkLst>
      </pc:sldChg>
      <pc:sldChg chg="del">
        <pc:chgData name="Batuhan Yildiz" userId="90f344fc-4655-4923-aeaf-697bba59c1a7" providerId="ADAL" clId="{73D0611D-A011-47A1-B2AD-14FD4A842E01}" dt="2020-01-30T08:11:06.931" v="221" actId="47"/>
        <pc:sldMkLst>
          <pc:docMk/>
          <pc:sldMk cId="354104108" sldId="602"/>
        </pc:sldMkLst>
      </pc:sldChg>
      <pc:sldChg chg="del">
        <pc:chgData name="Batuhan Yildiz" userId="90f344fc-4655-4923-aeaf-697bba59c1a7" providerId="ADAL" clId="{73D0611D-A011-47A1-B2AD-14FD4A842E01}" dt="2020-01-30T08:11:06.931" v="221" actId="47"/>
        <pc:sldMkLst>
          <pc:docMk/>
          <pc:sldMk cId="3518365308" sldId="603"/>
        </pc:sldMkLst>
      </pc:sldChg>
      <pc:sldChg chg="del">
        <pc:chgData name="Batuhan Yildiz" userId="90f344fc-4655-4923-aeaf-697bba59c1a7" providerId="ADAL" clId="{73D0611D-A011-47A1-B2AD-14FD4A842E01}" dt="2020-01-30T08:11:06.931" v="221" actId="47"/>
        <pc:sldMkLst>
          <pc:docMk/>
          <pc:sldMk cId="665790311" sldId="604"/>
        </pc:sldMkLst>
      </pc:sldChg>
      <pc:sldChg chg="del">
        <pc:chgData name="Batuhan Yildiz" userId="90f344fc-4655-4923-aeaf-697bba59c1a7" providerId="ADAL" clId="{73D0611D-A011-47A1-B2AD-14FD4A842E01}" dt="2020-01-30T08:11:06.931" v="221" actId="47"/>
        <pc:sldMkLst>
          <pc:docMk/>
          <pc:sldMk cId="806903252" sldId="605"/>
        </pc:sldMkLst>
      </pc:sldChg>
    </pc:docChg>
  </pc:docChgLst>
  <pc:docChgLst>
    <pc:chgData name="Batuhan Yildiz" userId="90f344fc-4655-4923-aeaf-697bba59c1a7" providerId="ADAL" clId="{9FEB9EDA-C62E-412D-9D33-6D316A8B615C}"/>
    <pc:docChg chg="modSld">
      <pc:chgData name="Batuhan Yildiz" userId="90f344fc-4655-4923-aeaf-697bba59c1a7" providerId="ADAL" clId="{9FEB9EDA-C62E-412D-9D33-6D316A8B615C}" dt="2020-06-10T01:35:11.134" v="0"/>
      <pc:docMkLst>
        <pc:docMk/>
      </pc:docMkLst>
      <pc:sldChg chg="modNotesTx">
        <pc:chgData name="Batuhan Yildiz" userId="90f344fc-4655-4923-aeaf-697bba59c1a7" providerId="ADAL" clId="{9FEB9EDA-C62E-412D-9D33-6D316A8B615C}" dt="2020-06-10T01:35:11.134" v="0"/>
        <pc:sldMkLst>
          <pc:docMk/>
          <pc:sldMk cId="1487953619" sldId="574"/>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D81B26B-3B15-4418-9670-A31F9BBDC3E4}"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603760F2-25D7-4C48-B8D3-377230D61445}">
      <dgm:prSet/>
      <dgm:spPr/>
      <dgm:t>
        <a:bodyPr/>
        <a:lstStyle/>
        <a:p>
          <a:r>
            <a:rPr lang="en-US" dirty="0"/>
            <a:t>A database is composed by at least two operating system files:</a:t>
          </a:r>
        </a:p>
      </dgm:t>
    </dgm:pt>
    <dgm:pt modelId="{7993977A-3D8B-47AF-B855-998B687C9219}" type="parTrans" cxnId="{33DA03BF-4A38-47F6-B3AA-387F94B93729}">
      <dgm:prSet/>
      <dgm:spPr/>
      <dgm:t>
        <a:bodyPr/>
        <a:lstStyle/>
        <a:p>
          <a:endParaRPr lang="en-US"/>
        </a:p>
      </dgm:t>
    </dgm:pt>
    <dgm:pt modelId="{B0BE4382-5F2B-4B93-81A4-FE4733B8DB99}" type="sibTrans" cxnId="{33DA03BF-4A38-47F6-B3AA-387F94B93729}">
      <dgm:prSet/>
      <dgm:spPr/>
      <dgm:t>
        <a:bodyPr/>
        <a:lstStyle/>
        <a:p>
          <a:endParaRPr lang="en-US"/>
        </a:p>
      </dgm:t>
    </dgm:pt>
    <dgm:pt modelId="{BCD42CE4-4E16-4446-9E25-E4EA0044D4D3}">
      <dgm:prSet/>
      <dgm:spPr/>
      <dgm:t>
        <a:bodyPr/>
        <a:lstStyle/>
        <a:p>
          <a:r>
            <a:rPr lang="en-US" dirty="0"/>
            <a:t>Data files</a:t>
          </a:r>
        </a:p>
      </dgm:t>
    </dgm:pt>
    <dgm:pt modelId="{2518EF33-AD7D-47E5-8501-ABE98AFC0C7D}" type="parTrans" cxnId="{51B03B64-3ED5-4330-AC56-1E641D31F8B9}">
      <dgm:prSet/>
      <dgm:spPr/>
      <dgm:t>
        <a:bodyPr/>
        <a:lstStyle/>
        <a:p>
          <a:endParaRPr lang="en-US"/>
        </a:p>
      </dgm:t>
    </dgm:pt>
    <dgm:pt modelId="{FA43A10B-75D7-41F6-B4C0-4B29C5418083}" type="sibTrans" cxnId="{51B03B64-3ED5-4330-AC56-1E641D31F8B9}">
      <dgm:prSet/>
      <dgm:spPr/>
      <dgm:t>
        <a:bodyPr/>
        <a:lstStyle/>
        <a:p>
          <a:endParaRPr lang="en-US"/>
        </a:p>
      </dgm:t>
    </dgm:pt>
    <dgm:pt modelId="{E73B0EB5-F1F5-4CCA-8B02-CC34067A5A10}">
      <dgm:prSet/>
      <dgm:spPr/>
      <dgm:t>
        <a:bodyPr/>
        <a:lstStyle/>
        <a:p>
          <a:r>
            <a:rPr lang="en-US" dirty="0"/>
            <a:t>Contain database objects and data</a:t>
          </a:r>
        </a:p>
      </dgm:t>
    </dgm:pt>
    <dgm:pt modelId="{A47016F0-D940-47F1-B62C-7F0C6F0C6345}" type="parTrans" cxnId="{C8C0E4D8-A6BE-4C4E-A25A-726D11F01B54}">
      <dgm:prSet/>
      <dgm:spPr/>
      <dgm:t>
        <a:bodyPr/>
        <a:lstStyle/>
        <a:p>
          <a:endParaRPr lang="en-US"/>
        </a:p>
      </dgm:t>
    </dgm:pt>
    <dgm:pt modelId="{F44353AF-B651-4ACF-88B6-79690122A2B3}" type="sibTrans" cxnId="{C8C0E4D8-A6BE-4C4E-A25A-726D11F01B54}">
      <dgm:prSet/>
      <dgm:spPr/>
      <dgm:t>
        <a:bodyPr/>
        <a:lstStyle/>
        <a:p>
          <a:endParaRPr lang="en-US"/>
        </a:p>
      </dgm:t>
    </dgm:pt>
    <dgm:pt modelId="{52E839E9-03A4-47B2-9DFF-D3018A1BA1D1}">
      <dgm:prSet/>
      <dgm:spPr/>
      <dgm:t>
        <a:bodyPr/>
        <a:lstStyle/>
        <a:p>
          <a:r>
            <a:rPr lang="en-US" dirty="0"/>
            <a:t>Can be grouped together in filegroups for allocation and administration purposes</a:t>
          </a:r>
        </a:p>
      </dgm:t>
    </dgm:pt>
    <dgm:pt modelId="{FB5E93CD-FC88-4971-A08F-A863BD68E79D}" type="parTrans" cxnId="{F6F1A93A-84CC-4E9E-A124-B486C89C8D6C}">
      <dgm:prSet/>
      <dgm:spPr/>
      <dgm:t>
        <a:bodyPr/>
        <a:lstStyle/>
        <a:p>
          <a:endParaRPr lang="en-US"/>
        </a:p>
      </dgm:t>
    </dgm:pt>
    <dgm:pt modelId="{B6444332-7A27-4307-AEE9-C4EB922A1042}" type="sibTrans" cxnId="{F6F1A93A-84CC-4E9E-A124-B486C89C8D6C}">
      <dgm:prSet/>
      <dgm:spPr/>
      <dgm:t>
        <a:bodyPr/>
        <a:lstStyle/>
        <a:p>
          <a:endParaRPr lang="en-US"/>
        </a:p>
      </dgm:t>
    </dgm:pt>
    <dgm:pt modelId="{7AB436EC-1511-4B20-A185-D24FBAE0837C}">
      <dgm:prSet/>
      <dgm:spPr/>
      <dgm:t>
        <a:bodyPr/>
        <a:lstStyle/>
        <a:p>
          <a:r>
            <a:rPr lang="en-US" dirty="0"/>
            <a:t>Log file</a:t>
          </a:r>
        </a:p>
      </dgm:t>
    </dgm:pt>
    <dgm:pt modelId="{999FEA1B-A5CE-40FD-B189-CF52F1218942}" type="parTrans" cxnId="{C6F67952-BBD3-4659-A024-1FB4641D3321}">
      <dgm:prSet/>
      <dgm:spPr/>
      <dgm:t>
        <a:bodyPr/>
        <a:lstStyle/>
        <a:p>
          <a:endParaRPr lang="en-US"/>
        </a:p>
      </dgm:t>
    </dgm:pt>
    <dgm:pt modelId="{19315950-BD64-4B4E-BA61-82935FF3909F}" type="sibTrans" cxnId="{C6F67952-BBD3-4659-A024-1FB4641D3321}">
      <dgm:prSet/>
      <dgm:spPr/>
      <dgm:t>
        <a:bodyPr/>
        <a:lstStyle/>
        <a:p>
          <a:endParaRPr lang="en-US"/>
        </a:p>
      </dgm:t>
    </dgm:pt>
    <dgm:pt modelId="{0EB9E2CA-BBD7-42E5-A9B0-8F631DF7BE78}">
      <dgm:prSet/>
      <dgm:spPr/>
      <dgm:t>
        <a:bodyPr/>
        <a:lstStyle/>
        <a:p>
          <a:r>
            <a:rPr lang="en-US" dirty="0"/>
            <a:t>A database may have additional data files, known as secondary data files. They use .ndf extension</a:t>
          </a:r>
        </a:p>
      </dgm:t>
    </dgm:pt>
    <dgm:pt modelId="{12ECE859-1D79-4BEB-BFAC-9CB3A9821025}" type="parTrans" cxnId="{A5B2B317-E975-4B48-9360-0E3F1F75A9C0}">
      <dgm:prSet/>
      <dgm:spPr/>
      <dgm:t>
        <a:bodyPr/>
        <a:lstStyle/>
        <a:p>
          <a:endParaRPr lang="en-US"/>
        </a:p>
      </dgm:t>
    </dgm:pt>
    <dgm:pt modelId="{42ACAADF-6C66-4925-881B-AC66AB2BD31E}" type="sibTrans" cxnId="{A5B2B317-E975-4B48-9360-0E3F1F75A9C0}">
      <dgm:prSet/>
      <dgm:spPr/>
      <dgm:t>
        <a:bodyPr/>
        <a:lstStyle/>
        <a:p>
          <a:endParaRPr lang="en-US"/>
        </a:p>
      </dgm:t>
    </dgm:pt>
    <dgm:pt modelId="{65E16B3D-7379-4C35-8241-9B99A3AFCDCE}">
      <dgm:prSet/>
      <dgm:spPr/>
      <dgm:t>
        <a:bodyPr/>
        <a:lstStyle/>
        <a:p>
          <a:r>
            <a:rPr lang="en-US" dirty="0"/>
            <a:t>Contain Log Records and entries are sequenced</a:t>
          </a:r>
        </a:p>
      </dgm:t>
    </dgm:pt>
    <dgm:pt modelId="{67D1DBAF-DCE9-4867-9B81-97FF773A9C30}" type="parTrans" cxnId="{6059A113-B05C-403A-B697-828057A6A07F}">
      <dgm:prSet/>
      <dgm:spPr/>
      <dgm:t>
        <a:bodyPr/>
        <a:lstStyle/>
        <a:p>
          <a:endParaRPr lang="en-US"/>
        </a:p>
      </dgm:t>
    </dgm:pt>
    <dgm:pt modelId="{51B42B65-123B-4F5C-9E77-DB6905DB216A}" type="sibTrans" cxnId="{6059A113-B05C-403A-B697-828057A6A07F}">
      <dgm:prSet/>
      <dgm:spPr/>
      <dgm:t>
        <a:bodyPr/>
        <a:lstStyle/>
        <a:p>
          <a:endParaRPr lang="en-US"/>
        </a:p>
      </dgm:t>
    </dgm:pt>
    <dgm:pt modelId="{4FF9725E-CB28-4646-A41B-2DCB3317AE6F}">
      <dgm:prSet/>
      <dgm:spPr/>
      <dgm:t>
        <a:bodyPr/>
        <a:lstStyle/>
        <a:p>
          <a:r>
            <a:rPr lang="en-US" dirty="0"/>
            <a:t>First data file is called primary data file. This file has a .mdf extension</a:t>
          </a:r>
        </a:p>
      </dgm:t>
    </dgm:pt>
    <dgm:pt modelId="{3F135FCF-A7C5-4AAD-A87C-412D063D63CF}" type="parTrans" cxnId="{4052E850-5798-4B46-B3FF-17F9AE9F0D14}">
      <dgm:prSet/>
      <dgm:spPr/>
      <dgm:t>
        <a:bodyPr/>
        <a:lstStyle/>
        <a:p>
          <a:endParaRPr lang="en-US"/>
        </a:p>
      </dgm:t>
    </dgm:pt>
    <dgm:pt modelId="{95866745-B29C-47C5-80F1-8C99BCCE19C4}" type="sibTrans" cxnId="{4052E850-5798-4B46-B3FF-17F9AE9F0D14}">
      <dgm:prSet/>
      <dgm:spPr/>
      <dgm:t>
        <a:bodyPr/>
        <a:lstStyle/>
        <a:p>
          <a:endParaRPr lang="en-US"/>
        </a:p>
      </dgm:t>
    </dgm:pt>
    <dgm:pt modelId="{21EB4E1B-04A7-4016-8DD9-B85D87A341DD}" type="pres">
      <dgm:prSet presAssocID="{CD81B26B-3B15-4418-9670-A31F9BBDC3E4}" presName="linear" presStyleCnt="0">
        <dgm:presLayoutVars>
          <dgm:animLvl val="lvl"/>
          <dgm:resizeHandles val="exact"/>
        </dgm:presLayoutVars>
      </dgm:prSet>
      <dgm:spPr/>
    </dgm:pt>
    <dgm:pt modelId="{1AC217E3-5BA1-4C5B-BCFE-A606E3CB7135}" type="pres">
      <dgm:prSet presAssocID="{603760F2-25D7-4C48-B8D3-377230D61445}" presName="parentText" presStyleLbl="node1" presStyleIdx="0" presStyleCnt="3">
        <dgm:presLayoutVars>
          <dgm:chMax val="0"/>
          <dgm:bulletEnabled val="1"/>
        </dgm:presLayoutVars>
      </dgm:prSet>
      <dgm:spPr/>
    </dgm:pt>
    <dgm:pt modelId="{8F4678D9-DF8D-426A-A841-8B1195F531A5}" type="pres">
      <dgm:prSet presAssocID="{B0BE4382-5F2B-4B93-81A4-FE4733B8DB99}" presName="spacer" presStyleCnt="0"/>
      <dgm:spPr/>
    </dgm:pt>
    <dgm:pt modelId="{286819B0-3CDE-42B1-B9B9-D2DA7146196D}" type="pres">
      <dgm:prSet presAssocID="{BCD42CE4-4E16-4446-9E25-E4EA0044D4D3}" presName="parentText" presStyleLbl="node1" presStyleIdx="1" presStyleCnt="3">
        <dgm:presLayoutVars>
          <dgm:chMax val="0"/>
          <dgm:bulletEnabled val="1"/>
        </dgm:presLayoutVars>
      </dgm:prSet>
      <dgm:spPr/>
    </dgm:pt>
    <dgm:pt modelId="{44B37A3C-6AFE-4AB1-B130-30513727D5FC}" type="pres">
      <dgm:prSet presAssocID="{BCD42CE4-4E16-4446-9E25-E4EA0044D4D3}" presName="childText" presStyleLbl="revTx" presStyleIdx="0" presStyleCnt="2">
        <dgm:presLayoutVars>
          <dgm:bulletEnabled val="1"/>
        </dgm:presLayoutVars>
      </dgm:prSet>
      <dgm:spPr/>
    </dgm:pt>
    <dgm:pt modelId="{7969BC1D-ABFD-46B4-A383-922D6CF9157C}" type="pres">
      <dgm:prSet presAssocID="{7AB436EC-1511-4B20-A185-D24FBAE0837C}" presName="parentText" presStyleLbl="node1" presStyleIdx="2" presStyleCnt="3">
        <dgm:presLayoutVars>
          <dgm:chMax val="0"/>
          <dgm:bulletEnabled val="1"/>
        </dgm:presLayoutVars>
      </dgm:prSet>
      <dgm:spPr/>
    </dgm:pt>
    <dgm:pt modelId="{FA9B3665-96F6-47D7-A849-39010078AB1F}" type="pres">
      <dgm:prSet presAssocID="{7AB436EC-1511-4B20-A185-D24FBAE0837C}" presName="childText" presStyleLbl="revTx" presStyleIdx="1" presStyleCnt="2">
        <dgm:presLayoutVars>
          <dgm:bulletEnabled val="1"/>
        </dgm:presLayoutVars>
      </dgm:prSet>
      <dgm:spPr/>
    </dgm:pt>
  </dgm:ptLst>
  <dgm:cxnLst>
    <dgm:cxn modelId="{5A575D0C-248E-4944-AC9D-CC788F9788C5}" type="presOf" srcId="{7AB436EC-1511-4B20-A185-D24FBAE0837C}" destId="{7969BC1D-ABFD-46B4-A383-922D6CF9157C}" srcOrd="0" destOrd="0" presId="urn:microsoft.com/office/officeart/2005/8/layout/vList2"/>
    <dgm:cxn modelId="{6059A113-B05C-403A-B697-828057A6A07F}" srcId="{7AB436EC-1511-4B20-A185-D24FBAE0837C}" destId="{65E16B3D-7379-4C35-8241-9B99A3AFCDCE}" srcOrd="0" destOrd="0" parTransId="{67D1DBAF-DCE9-4867-9B81-97FF773A9C30}" sibTransId="{51B42B65-123B-4F5C-9E77-DB6905DB216A}"/>
    <dgm:cxn modelId="{A5B2B317-E975-4B48-9360-0E3F1F75A9C0}" srcId="{BCD42CE4-4E16-4446-9E25-E4EA0044D4D3}" destId="{0EB9E2CA-BBD7-42E5-A9B0-8F631DF7BE78}" srcOrd="2" destOrd="0" parTransId="{12ECE859-1D79-4BEB-BFAC-9CB3A9821025}" sibTransId="{42ACAADF-6C66-4925-881B-AC66AB2BD31E}"/>
    <dgm:cxn modelId="{628C493A-E9F4-42F6-8224-B7001AEF9651}" type="presOf" srcId="{52E839E9-03A4-47B2-9DFF-D3018A1BA1D1}" destId="{44B37A3C-6AFE-4AB1-B130-30513727D5FC}" srcOrd="0" destOrd="3" presId="urn:microsoft.com/office/officeart/2005/8/layout/vList2"/>
    <dgm:cxn modelId="{F6F1A93A-84CC-4E9E-A124-B486C89C8D6C}" srcId="{BCD42CE4-4E16-4446-9E25-E4EA0044D4D3}" destId="{52E839E9-03A4-47B2-9DFF-D3018A1BA1D1}" srcOrd="3" destOrd="0" parTransId="{FB5E93CD-FC88-4971-A08F-A863BD68E79D}" sibTransId="{B6444332-7A27-4307-AEE9-C4EB922A1042}"/>
    <dgm:cxn modelId="{B1A6D95F-5B6A-4C7D-9F39-997295B21ABE}" type="presOf" srcId="{E73B0EB5-F1F5-4CCA-8B02-CC34067A5A10}" destId="{44B37A3C-6AFE-4AB1-B130-30513727D5FC}" srcOrd="0" destOrd="0" presId="urn:microsoft.com/office/officeart/2005/8/layout/vList2"/>
    <dgm:cxn modelId="{51B03B64-3ED5-4330-AC56-1E641D31F8B9}" srcId="{CD81B26B-3B15-4418-9670-A31F9BBDC3E4}" destId="{BCD42CE4-4E16-4446-9E25-E4EA0044D4D3}" srcOrd="1" destOrd="0" parTransId="{2518EF33-AD7D-47E5-8501-ABE98AFC0C7D}" sibTransId="{FA43A10B-75D7-41F6-B4C0-4B29C5418083}"/>
    <dgm:cxn modelId="{1E0BCF66-9728-427C-9172-378E738AFB0A}" type="presOf" srcId="{BCD42CE4-4E16-4446-9E25-E4EA0044D4D3}" destId="{286819B0-3CDE-42B1-B9B9-D2DA7146196D}" srcOrd="0" destOrd="0" presId="urn:microsoft.com/office/officeart/2005/8/layout/vList2"/>
    <dgm:cxn modelId="{3442D267-6D5E-4876-8881-300E40FC54C7}" type="presOf" srcId="{CD81B26B-3B15-4418-9670-A31F9BBDC3E4}" destId="{21EB4E1B-04A7-4016-8DD9-B85D87A341DD}" srcOrd="0" destOrd="0" presId="urn:microsoft.com/office/officeart/2005/8/layout/vList2"/>
    <dgm:cxn modelId="{23EEE06D-92F6-4543-83FF-A6E6648E365B}" type="presOf" srcId="{0EB9E2CA-BBD7-42E5-A9B0-8F631DF7BE78}" destId="{44B37A3C-6AFE-4AB1-B130-30513727D5FC}" srcOrd="0" destOrd="2" presId="urn:microsoft.com/office/officeart/2005/8/layout/vList2"/>
    <dgm:cxn modelId="{4052E850-5798-4B46-B3FF-17F9AE9F0D14}" srcId="{BCD42CE4-4E16-4446-9E25-E4EA0044D4D3}" destId="{4FF9725E-CB28-4646-A41B-2DCB3317AE6F}" srcOrd="1" destOrd="0" parTransId="{3F135FCF-A7C5-4AAD-A87C-412D063D63CF}" sibTransId="{95866745-B29C-47C5-80F1-8C99BCCE19C4}"/>
    <dgm:cxn modelId="{EA260672-CF2B-4E94-AFEE-DC58F8B2437B}" type="presOf" srcId="{65E16B3D-7379-4C35-8241-9B99A3AFCDCE}" destId="{FA9B3665-96F6-47D7-A849-39010078AB1F}" srcOrd="0" destOrd="0" presId="urn:microsoft.com/office/officeart/2005/8/layout/vList2"/>
    <dgm:cxn modelId="{C6F67952-BBD3-4659-A024-1FB4641D3321}" srcId="{CD81B26B-3B15-4418-9670-A31F9BBDC3E4}" destId="{7AB436EC-1511-4B20-A185-D24FBAE0837C}" srcOrd="2" destOrd="0" parTransId="{999FEA1B-A5CE-40FD-B189-CF52F1218942}" sibTransId="{19315950-BD64-4B4E-BA61-82935FF3909F}"/>
    <dgm:cxn modelId="{9BA19CAD-59D3-40B3-8CD9-E04576EEBE91}" type="presOf" srcId="{4FF9725E-CB28-4646-A41B-2DCB3317AE6F}" destId="{44B37A3C-6AFE-4AB1-B130-30513727D5FC}" srcOrd="0" destOrd="1" presId="urn:microsoft.com/office/officeart/2005/8/layout/vList2"/>
    <dgm:cxn modelId="{33DA03BF-4A38-47F6-B3AA-387F94B93729}" srcId="{CD81B26B-3B15-4418-9670-A31F9BBDC3E4}" destId="{603760F2-25D7-4C48-B8D3-377230D61445}" srcOrd="0" destOrd="0" parTransId="{7993977A-3D8B-47AF-B855-998B687C9219}" sibTransId="{B0BE4382-5F2B-4B93-81A4-FE4733B8DB99}"/>
    <dgm:cxn modelId="{C8C0E4D8-A6BE-4C4E-A25A-726D11F01B54}" srcId="{BCD42CE4-4E16-4446-9E25-E4EA0044D4D3}" destId="{E73B0EB5-F1F5-4CCA-8B02-CC34067A5A10}" srcOrd="0" destOrd="0" parTransId="{A47016F0-D940-47F1-B62C-7F0C6F0C6345}" sibTransId="{F44353AF-B651-4ACF-88B6-79690122A2B3}"/>
    <dgm:cxn modelId="{FB8CE7DF-B8E0-4914-95E7-B551E14E7945}" type="presOf" srcId="{603760F2-25D7-4C48-B8D3-377230D61445}" destId="{1AC217E3-5BA1-4C5B-BCFE-A606E3CB7135}" srcOrd="0" destOrd="0" presId="urn:microsoft.com/office/officeart/2005/8/layout/vList2"/>
    <dgm:cxn modelId="{B121B4FD-932B-41EB-ADC9-6BA42E08FD22}" type="presParOf" srcId="{21EB4E1B-04A7-4016-8DD9-B85D87A341DD}" destId="{1AC217E3-5BA1-4C5B-BCFE-A606E3CB7135}" srcOrd="0" destOrd="0" presId="urn:microsoft.com/office/officeart/2005/8/layout/vList2"/>
    <dgm:cxn modelId="{8ED6756D-580E-42B4-AF2D-7324E5E6D39D}" type="presParOf" srcId="{21EB4E1B-04A7-4016-8DD9-B85D87A341DD}" destId="{8F4678D9-DF8D-426A-A841-8B1195F531A5}" srcOrd="1" destOrd="0" presId="urn:microsoft.com/office/officeart/2005/8/layout/vList2"/>
    <dgm:cxn modelId="{0E357956-8F7D-481B-A55C-85937FBA8DA1}" type="presParOf" srcId="{21EB4E1B-04A7-4016-8DD9-B85D87A341DD}" destId="{286819B0-3CDE-42B1-B9B9-D2DA7146196D}" srcOrd="2" destOrd="0" presId="urn:microsoft.com/office/officeart/2005/8/layout/vList2"/>
    <dgm:cxn modelId="{6DC42036-EE1E-490E-9BA0-673D59C1FEDD}" type="presParOf" srcId="{21EB4E1B-04A7-4016-8DD9-B85D87A341DD}" destId="{44B37A3C-6AFE-4AB1-B130-30513727D5FC}" srcOrd="3" destOrd="0" presId="urn:microsoft.com/office/officeart/2005/8/layout/vList2"/>
    <dgm:cxn modelId="{C15CBE8C-AFFD-4DBD-A4F6-2353915BE370}" type="presParOf" srcId="{21EB4E1B-04A7-4016-8DD9-B85D87A341DD}" destId="{7969BC1D-ABFD-46B4-A383-922D6CF9157C}" srcOrd="4" destOrd="0" presId="urn:microsoft.com/office/officeart/2005/8/layout/vList2"/>
    <dgm:cxn modelId="{0203F606-7D2A-42F3-B486-855F0C8BFF1F}" type="presParOf" srcId="{21EB4E1B-04A7-4016-8DD9-B85D87A341DD}" destId="{FA9B3665-96F6-47D7-A849-39010078AB1F}"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E3E5582-1E15-4441-B19A-F1CD05F69DD2}" type="doc">
      <dgm:prSet loTypeId="urn:microsoft.com/office/officeart/2005/8/layout/vList2" loCatId="list" qsTypeId="urn:microsoft.com/office/officeart/2005/8/quickstyle/simple1" qsCatId="simple" csTypeId="urn:microsoft.com/office/officeart/2005/8/colors/accent2_5" csCatId="accent2"/>
      <dgm:spPr/>
      <dgm:t>
        <a:bodyPr/>
        <a:lstStyle/>
        <a:p>
          <a:endParaRPr lang="en-US"/>
        </a:p>
      </dgm:t>
    </dgm:pt>
    <dgm:pt modelId="{8A318FC6-2E34-4D1E-A35C-42C78A99220B}">
      <dgm:prSet/>
      <dgm:spPr/>
      <dgm:t>
        <a:bodyPr/>
        <a:lstStyle/>
        <a:p>
          <a:r>
            <a:rPr lang="en-US" b="0" i="0" baseline="0" dirty="0"/>
            <a:t>sys.dm_db_page_info is currently supported only in SQL Server 2019 (15.x) and later. </a:t>
          </a:r>
          <a:endParaRPr lang="en-US" dirty="0"/>
        </a:p>
      </dgm:t>
    </dgm:pt>
    <dgm:pt modelId="{915503B1-82B2-4791-B652-A54F126FABDA}" type="parTrans" cxnId="{107B2D36-14CA-449D-BF36-36207137A232}">
      <dgm:prSet/>
      <dgm:spPr/>
      <dgm:t>
        <a:bodyPr/>
        <a:lstStyle/>
        <a:p>
          <a:endParaRPr lang="en-US"/>
        </a:p>
      </dgm:t>
    </dgm:pt>
    <dgm:pt modelId="{A61F3706-7CA1-4F62-9371-77C203A05F7C}" type="sibTrans" cxnId="{107B2D36-14CA-449D-BF36-36207137A232}">
      <dgm:prSet/>
      <dgm:spPr/>
      <dgm:t>
        <a:bodyPr/>
        <a:lstStyle/>
        <a:p>
          <a:endParaRPr lang="en-US"/>
        </a:p>
      </dgm:t>
    </dgm:pt>
    <dgm:pt modelId="{1DB334F2-C378-45B4-8C22-0871E8B94F52}" type="pres">
      <dgm:prSet presAssocID="{AE3E5582-1E15-4441-B19A-F1CD05F69DD2}" presName="linear" presStyleCnt="0">
        <dgm:presLayoutVars>
          <dgm:animLvl val="lvl"/>
          <dgm:resizeHandles val="exact"/>
        </dgm:presLayoutVars>
      </dgm:prSet>
      <dgm:spPr/>
    </dgm:pt>
    <dgm:pt modelId="{EA8236B5-C527-45FA-AF85-999307E9E726}" type="pres">
      <dgm:prSet presAssocID="{8A318FC6-2E34-4D1E-A35C-42C78A99220B}" presName="parentText" presStyleLbl="node1" presStyleIdx="0" presStyleCnt="1">
        <dgm:presLayoutVars>
          <dgm:chMax val="0"/>
          <dgm:bulletEnabled val="1"/>
        </dgm:presLayoutVars>
      </dgm:prSet>
      <dgm:spPr/>
    </dgm:pt>
  </dgm:ptLst>
  <dgm:cxnLst>
    <dgm:cxn modelId="{107B2D36-14CA-449D-BF36-36207137A232}" srcId="{AE3E5582-1E15-4441-B19A-F1CD05F69DD2}" destId="{8A318FC6-2E34-4D1E-A35C-42C78A99220B}" srcOrd="0" destOrd="0" parTransId="{915503B1-82B2-4791-B652-A54F126FABDA}" sibTransId="{A61F3706-7CA1-4F62-9371-77C203A05F7C}"/>
    <dgm:cxn modelId="{1857C56C-BFC2-45F6-8A52-DEC0CEAB6522}" type="presOf" srcId="{AE3E5582-1E15-4441-B19A-F1CD05F69DD2}" destId="{1DB334F2-C378-45B4-8C22-0871E8B94F52}" srcOrd="0" destOrd="0" presId="urn:microsoft.com/office/officeart/2005/8/layout/vList2"/>
    <dgm:cxn modelId="{53C812FE-0F53-43EB-81FA-1F38FD205B29}" type="presOf" srcId="{8A318FC6-2E34-4D1E-A35C-42C78A99220B}" destId="{EA8236B5-C527-45FA-AF85-999307E9E726}" srcOrd="0" destOrd="0" presId="urn:microsoft.com/office/officeart/2005/8/layout/vList2"/>
    <dgm:cxn modelId="{E0C19B8C-A3BB-4507-95BE-03F12BB83098}" type="presParOf" srcId="{1DB334F2-C378-45B4-8C22-0871E8B94F52}" destId="{EA8236B5-C527-45FA-AF85-999307E9E726}"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1AA288B6-F025-4112-B1E4-9213B1C766FE}" type="doc">
      <dgm:prSet loTypeId="urn:microsoft.com/office/officeart/2005/8/layout/default" loCatId="list" qsTypeId="urn:microsoft.com/office/officeart/2005/8/quickstyle/simple1" qsCatId="simple" csTypeId="urn:microsoft.com/office/officeart/2005/8/colors/colorful3" csCatId="colorful" phldr="1"/>
      <dgm:spPr/>
      <dgm:t>
        <a:bodyPr/>
        <a:lstStyle/>
        <a:p>
          <a:endParaRPr lang="en-US"/>
        </a:p>
      </dgm:t>
    </dgm:pt>
    <dgm:pt modelId="{FFBD2AE9-2FB2-4D8A-ADAD-61DAA6A4D0BC}">
      <dgm:prSet/>
      <dgm:spPr>
        <a:xfrm>
          <a:off x="0" y="238739"/>
          <a:ext cx="7010400" cy="1212120"/>
        </a:xfrm>
      </dgm:spPr>
      <dgm:t>
        <a:bodyPr/>
        <a:lstStyle/>
        <a:p>
          <a:r>
            <a:rPr lang="en-US" baseline="0" dirty="0">
              <a:latin typeface="Segoe UI"/>
              <a:ea typeface="+mn-ea"/>
              <a:cs typeface="+mn-cs"/>
            </a:rPr>
            <a:t>PFS and IAM are used to determine when an object needs a new extent allocated</a:t>
          </a:r>
          <a:endParaRPr lang="en-US" dirty="0">
            <a:latin typeface="Segoe UI"/>
            <a:ea typeface="+mn-ea"/>
            <a:cs typeface="+mn-cs"/>
          </a:endParaRPr>
        </a:p>
      </dgm:t>
    </dgm:pt>
    <dgm:pt modelId="{FBAD97CF-A32E-4A83-AC0B-FC430F3E1D39}" type="parTrans" cxnId="{4CD7ED88-D963-439F-8176-3523DB423947}">
      <dgm:prSet/>
      <dgm:spPr/>
      <dgm:t>
        <a:bodyPr/>
        <a:lstStyle/>
        <a:p>
          <a:endParaRPr lang="en-US"/>
        </a:p>
      </dgm:t>
    </dgm:pt>
    <dgm:pt modelId="{43D0085A-223F-48BA-9873-F48D082C2FCA}" type="sibTrans" cxnId="{4CD7ED88-D963-439F-8176-3523DB423947}">
      <dgm:prSet/>
      <dgm:spPr/>
      <dgm:t>
        <a:bodyPr/>
        <a:lstStyle/>
        <a:p>
          <a:endParaRPr lang="en-US"/>
        </a:p>
      </dgm:t>
    </dgm:pt>
    <dgm:pt modelId="{530C52B2-E8CE-465A-BDBE-4E35A9259CB8}">
      <dgm:prSet/>
      <dgm:spPr>
        <a:xfrm>
          <a:off x="0" y="1531500"/>
          <a:ext cx="7010400" cy="1212120"/>
        </a:xfrm>
      </dgm:spPr>
      <dgm:t>
        <a:bodyPr/>
        <a:lstStyle/>
        <a:p>
          <a:r>
            <a:rPr lang="en-US" baseline="0" dirty="0">
              <a:latin typeface="Segoe UI"/>
              <a:ea typeface="+mn-ea"/>
              <a:cs typeface="+mn-cs"/>
            </a:rPr>
            <a:t>GAMs and SGAMs are used to allocate the extent</a:t>
          </a:r>
          <a:endParaRPr lang="en-US" dirty="0">
            <a:latin typeface="Segoe UI"/>
            <a:ea typeface="+mn-ea"/>
            <a:cs typeface="+mn-cs"/>
          </a:endParaRPr>
        </a:p>
      </dgm:t>
    </dgm:pt>
    <dgm:pt modelId="{9C626B18-E115-4918-B4AF-105EFE7C0D3F}" type="parTrans" cxnId="{F5ACBDCC-B386-4646-896E-D47CB377DB4D}">
      <dgm:prSet/>
      <dgm:spPr/>
      <dgm:t>
        <a:bodyPr/>
        <a:lstStyle/>
        <a:p>
          <a:endParaRPr lang="en-US"/>
        </a:p>
      </dgm:t>
    </dgm:pt>
    <dgm:pt modelId="{16567E35-76A9-4660-9452-976CC20D4778}" type="sibTrans" cxnId="{F5ACBDCC-B386-4646-896E-D47CB377DB4D}">
      <dgm:prSet/>
      <dgm:spPr/>
      <dgm:t>
        <a:bodyPr/>
        <a:lstStyle/>
        <a:p>
          <a:endParaRPr lang="en-US"/>
        </a:p>
      </dgm:t>
    </dgm:pt>
    <dgm:pt modelId="{859C94D3-9667-4A59-8D15-F543AFE106FD}" type="pres">
      <dgm:prSet presAssocID="{1AA288B6-F025-4112-B1E4-9213B1C766FE}" presName="diagram" presStyleCnt="0">
        <dgm:presLayoutVars>
          <dgm:dir/>
          <dgm:resizeHandles val="exact"/>
        </dgm:presLayoutVars>
      </dgm:prSet>
      <dgm:spPr/>
    </dgm:pt>
    <dgm:pt modelId="{F9D81896-5617-4CC3-8571-40FC75A78D98}" type="pres">
      <dgm:prSet presAssocID="{FFBD2AE9-2FB2-4D8A-ADAD-61DAA6A4D0BC}" presName="node" presStyleLbl="node1" presStyleIdx="0" presStyleCnt="2">
        <dgm:presLayoutVars>
          <dgm:bulletEnabled val="1"/>
        </dgm:presLayoutVars>
      </dgm:prSet>
      <dgm:spPr>
        <a:prstGeom prst="roundRect">
          <a:avLst/>
        </a:prstGeom>
      </dgm:spPr>
    </dgm:pt>
    <dgm:pt modelId="{E34C307D-9544-4845-BD09-76E84AFFD872}" type="pres">
      <dgm:prSet presAssocID="{43D0085A-223F-48BA-9873-F48D082C2FCA}" presName="sibTrans" presStyleCnt="0"/>
      <dgm:spPr/>
    </dgm:pt>
    <dgm:pt modelId="{E7D5672E-1078-4242-B34A-3CB1D3C8E10B}" type="pres">
      <dgm:prSet presAssocID="{530C52B2-E8CE-465A-BDBE-4E35A9259CB8}" presName="node" presStyleLbl="node1" presStyleIdx="1" presStyleCnt="2">
        <dgm:presLayoutVars>
          <dgm:bulletEnabled val="1"/>
        </dgm:presLayoutVars>
      </dgm:prSet>
      <dgm:spPr>
        <a:prstGeom prst="roundRect">
          <a:avLst/>
        </a:prstGeom>
      </dgm:spPr>
    </dgm:pt>
  </dgm:ptLst>
  <dgm:cxnLst>
    <dgm:cxn modelId="{6AD6DD6E-6933-4CEA-921F-096634F8DF90}" type="presOf" srcId="{1AA288B6-F025-4112-B1E4-9213B1C766FE}" destId="{859C94D3-9667-4A59-8D15-F543AFE106FD}" srcOrd="0" destOrd="0" presId="urn:microsoft.com/office/officeart/2005/8/layout/default"/>
    <dgm:cxn modelId="{4CD7ED88-D963-439F-8176-3523DB423947}" srcId="{1AA288B6-F025-4112-B1E4-9213B1C766FE}" destId="{FFBD2AE9-2FB2-4D8A-ADAD-61DAA6A4D0BC}" srcOrd="0" destOrd="0" parTransId="{FBAD97CF-A32E-4A83-AC0B-FC430F3E1D39}" sibTransId="{43D0085A-223F-48BA-9873-F48D082C2FCA}"/>
    <dgm:cxn modelId="{8EB8B5AD-D541-49A7-9537-A2DAF040C2FC}" type="presOf" srcId="{FFBD2AE9-2FB2-4D8A-ADAD-61DAA6A4D0BC}" destId="{F9D81896-5617-4CC3-8571-40FC75A78D98}" srcOrd="0" destOrd="0" presId="urn:microsoft.com/office/officeart/2005/8/layout/default"/>
    <dgm:cxn modelId="{F5ACBDCC-B386-4646-896E-D47CB377DB4D}" srcId="{1AA288B6-F025-4112-B1E4-9213B1C766FE}" destId="{530C52B2-E8CE-465A-BDBE-4E35A9259CB8}" srcOrd="1" destOrd="0" parTransId="{9C626B18-E115-4918-B4AF-105EFE7C0D3F}" sibTransId="{16567E35-76A9-4660-9452-976CC20D4778}"/>
    <dgm:cxn modelId="{551EC8FE-31E0-4256-B333-DC7CF5309F1A}" type="presOf" srcId="{530C52B2-E8CE-465A-BDBE-4E35A9259CB8}" destId="{E7D5672E-1078-4242-B34A-3CB1D3C8E10B}" srcOrd="0" destOrd="0" presId="urn:microsoft.com/office/officeart/2005/8/layout/default"/>
    <dgm:cxn modelId="{6AB3AD41-BA9B-43AB-BE46-D49BDEB2ED6B}" type="presParOf" srcId="{859C94D3-9667-4A59-8D15-F543AFE106FD}" destId="{F9D81896-5617-4CC3-8571-40FC75A78D98}" srcOrd="0" destOrd="0" presId="urn:microsoft.com/office/officeart/2005/8/layout/default"/>
    <dgm:cxn modelId="{3BACCF81-0655-4DD1-874E-56FA5C27105E}" type="presParOf" srcId="{859C94D3-9667-4A59-8D15-F543AFE106FD}" destId="{E34C307D-9544-4845-BD09-76E84AFFD872}" srcOrd="1" destOrd="0" presId="urn:microsoft.com/office/officeart/2005/8/layout/default"/>
    <dgm:cxn modelId="{8C8FECE6-1721-46FA-879B-3F111D5B0504}" type="presParOf" srcId="{859C94D3-9667-4A59-8D15-F543AFE106FD}" destId="{E7D5672E-1078-4242-B34A-3CB1D3C8E10B}" srcOrd="2"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6C27B579-201C-453D-AD79-EE550645F001}"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494204D9-D84F-4879-AD13-AE7C35A4F483}">
      <dgm:prSet custT="1"/>
      <dgm:spPr/>
      <dgm:t>
        <a:bodyPr/>
        <a:lstStyle/>
        <a:p>
          <a:r>
            <a:rPr lang="en-US" sz="1800" baseline="0" dirty="0"/>
            <a:t>Page Free Space (PFS)</a:t>
          </a:r>
          <a:endParaRPr lang="en-US" sz="1800" dirty="0"/>
        </a:p>
      </dgm:t>
    </dgm:pt>
    <dgm:pt modelId="{11198DCD-E631-4B79-870C-78DB06D25631}" type="parTrans" cxnId="{385A0481-3D2B-4860-B699-40C25CC2F831}">
      <dgm:prSet/>
      <dgm:spPr/>
      <dgm:t>
        <a:bodyPr/>
        <a:lstStyle/>
        <a:p>
          <a:endParaRPr lang="en-US"/>
        </a:p>
      </dgm:t>
    </dgm:pt>
    <dgm:pt modelId="{B9B56087-FA8F-4471-AF9E-BDCDA76E229D}" type="sibTrans" cxnId="{385A0481-3D2B-4860-B699-40C25CC2F831}">
      <dgm:prSet/>
      <dgm:spPr/>
      <dgm:t>
        <a:bodyPr/>
        <a:lstStyle/>
        <a:p>
          <a:endParaRPr lang="en-US"/>
        </a:p>
      </dgm:t>
    </dgm:pt>
    <dgm:pt modelId="{EBE58DEA-5DAB-4106-9B99-DD165D918FEC}">
      <dgm:prSet/>
      <dgm:spPr/>
      <dgm:t>
        <a:bodyPr/>
        <a:lstStyle/>
        <a:p>
          <a:r>
            <a:rPr lang="en-US" baseline="0" dirty="0"/>
            <a:t>Tracks free space on a page uses 1 Byte/Page</a:t>
          </a:r>
          <a:endParaRPr lang="en-US" dirty="0"/>
        </a:p>
      </dgm:t>
    </dgm:pt>
    <dgm:pt modelId="{1ADE4576-AFCF-486B-A35E-6753E221CC49}" type="parTrans" cxnId="{8DE5C0E1-4682-4FF6-8070-240C66D85CC1}">
      <dgm:prSet/>
      <dgm:spPr/>
      <dgm:t>
        <a:bodyPr/>
        <a:lstStyle/>
        <a:p>
          <a:endParaRPr lang="en-US"/>
        </a:p>
      </dgm:t>
    </dgm:pt>
    <dgm:pt modelId="{2F4BA0BE-A199-4458-BF57-95932665C955}" type="sibTrans" cxnId="{8DE5C0E1-4682-4FF6-8070-240C66D85CC1}">
      <dgm:prSet/>
      <dgm:spPr/>
      <dgm:t>
        <a:bodyPr/>
        <a:lstStyle/>
        <a:p>
          <a:endParaRPr lang="en-US"/>
        </a:p>
      </dgm:t>
    </dgm:pt>
    <dgm:pt modelId="{F02CD790-47A8-41C9-8D96-248B3365BC8F}">
      <dgm:prSet/>
      <dgm:spPr/>
      <dgm:t>
        <a:bodyPr/>
        <a:lstStyle/>
        <a:p>
          <a:r>
            <a:rPr lang="en-US" baseline="0" dirty="0"/>
            <a:t>Covers 64 MB worth of pages</a:t>
          </a:r>
          <a:endParaRPr lang="en-US" dirty="0"/>
        </a:p>
      </dgm:t>
    </dgm:pt>
    <dgm:pt modelId="{F3DCA3C6-3B97-4D5F-8EB9-C898ED60269C}" type="parTrans" cxnId="{07261DAA-00C9-40A2-8015-36D6DDBF1861}">
      <dgm:prSet/>
      <dgm:spPr/>
      <dgm:t>
        <a:bodyPr/>
        <a:lstStyle/>
        <a:p>
          <a:endParaRPr lang="en-US"/>
        </a:p>
      </dgm:t>
    </dgm:pt>
    <dgm:pt modelId="{C4708D95-2614-48C4-83E0-75DBA53CF2B7}" type="sibTrans" cxnId="{07261DAA-00C9-40A2-8015-36D6DDBF1861}">
      <dgm:prSet/>
      <dgm:spPr/>
      <dgm:t>
        <a:bodyPr/>
        <a:lstStyle/>
        <a:p>
          <a:endParaRPr lang="en-US"/>
        </a:p>
      </dgm:t>
    </dgm:pt>
    <dgm:pt modelId="{4DD25A31-B209-4671-8C64-156B8B96974D}">
      <dgm:prSet custT="1"/>
      <dgm:spPr/>
      <dgm:t>
        <a:bodyPr/>
        <a:lstStyle/>
        <a:p>
          <a:r>
            <a:rPr lang="en-US" sz="1800" baseline="0" dirty="0"/>
            <a:t>Global Allocation Map (GAM)</a:t>
          </a:r>
          <a:endParaRPr lang="en-US" sz="1800" dirty="0"/>
        </a:p>
      </dgm:t>
    </dgm:pt>
    <dgm:pt modelId="{6E2AE1B6-5E54-414D-BD85-9366B973A802}" type="parTrans" cxnId="{7ACA844D-6485-4E7E-A3C5-64F8BBB09378}">
      <dgm:prSet/>
      <dgm:spPr/>
      <dgm:t>
        <a:bodyPr/>
        <a:lstStyle/>
        <a:p>
          <a:endParaRPr lang="en-US"/>
        </a:p>
      </dgm:t>
    </dgm:pt>
    <dgm:pt modelId="{CF8820BE-AF48-4612-9B2D-7A4F8D819909}" type="sibTrans" cxnId="{7ACA844D-6485-4E7E-A3C5-64F8BBB09378}">
      <dgm:prSet/>
      <dgm:spPr/>
      <dgm:t>
        <a:bodyPr/>
        <a:lstStyle/>
        <a:p>
          <a:endParaRPr lang="en-US"/>
        </a:p>
      </dgm:t>
    </dgm:pt>
    <dgm:pt modelId="{0EC3B0F7-71C9-4B09-88A1-E41EEB4EA8E1}">
      <dgm:prSet/>
      <dgm:spPr/>
      <dgm:t>
        <a:bodyPr/>
        <a:lstStyle/>
        <a:p>
          <a:r>
            <a:rPr lang="en-US" baseline="0" dirty="0"/>
            <a:t>Tracks Uniform extents that have been allocated</a:t>
          </a:r>
          <a:br>
            <a:rPr lang="en-US" baseline="0" dirty="0"/>
          </a:br>
          <a:r>
            <a:rPr lang="en-US" baseline="0" dirty="0"/>
            <a:t>uses 1 Bit/extent</a:t>
          </a:r>
          <a:endParaRPr lang="en-US" dirty="0"/>
        </a:p>
      </dgm:t>
    </dgm:pt>
    <dgm:pt modelId="{6DB4C0AE-5C26-468A-8C18-591B85DB266F}" type="parTrans" cxnId="{3CCFAFB8-641B-4E46-86B2-926161CB3F00}">
      <dgm:prSet/>
      <dgm:spPr/>
      <dgm:t>
        <a:bodyPr/>
        <a:lstStyle/>
        <a:p>
          <a:endParaRPr lang="en-US"/>
        </a:p>
      </dgm:t>
    </dgm:pt>
    <dgm:pt modelId="{528D9AA5-8FC1-4E9D-87B0-23774CB89E5F}" type="sibTrans" cxnId="{3CCFAFB8-641B-4E46-86B2-926161CB3F00}">
      <dgm:prSet/>
      <dgm:spPr/>
      <dgm:t>
        <a:bodyPr/>
        <a:lstStyle/>
        <a:p>
          <a:endParaRPr lang="en-US"/>
        </a:p>
      </dgm:t>
    </dgm:pt>
    <dgm:pt modelId="{7B3466DB-7B4E-4F68-ADF9-8FD5F463B8C4}">
      <dgm:prSet/>
      <dgm:spPr/>
      <dgm:t>
        <a:bodyPr/>
        <a:lstStyle/>
        <a:p>
          <a:r>
            <a:rPr lang="en-US" baseline="0" dirty="0"/>
            <a:t>Covers 64,000 extents (4 GB worth of data)</a:t>
          </a:r>
          <a:endParaRPr lang="en-US" dirty="0"/>
        </a:p>
      </dgm:t>
    </dgm:pt>
    <dgm:pt modelId="{EF26FDF6-79C2-470F-BCC1-160BC2B7A150}" type="parTrans" cxnId="{5E7E890A-02C8-4475-8670-4D4F47E63F53}">
      <dgm:prSet/>
      <dgm:spPr/>
      <dgm:t>
        <a:bodyPr/>
        <a:lstStyle/>
        <a:p>
          <a:endParaRPr lang="en-US"/>
        </a:p>
      </dgm:t>
    </dgm:pt>
    <dgm:pt modelId="{307A13C2-0B5F-4BCD-8F73-77E458082746}" type="sibTrans" cxnId="{5E7E890A-02C8-4475-8670-4D4F47E63F53}">
      <dgm:prSet/>
      <dgm:spPr/>
      <dgm:t>
        <a:bodyPr/>
        <a:lstStyle/>
        <a:p>
          <a:endParaRPr lang="en-US"/>
        </a:p>
      </dgm:t>
    </dgm:pt>
    <dgm:pt modelId="{173E91BA-4B1F-4368-A8D8-D8EAE605760C}">
      <dgm:prSet custT="1"/>
      <dgm:spPr/>
      <dgm:t>
        <a:bodyPr/>
        <a:lstStyle/>
        <a:p>
          <a:r>
            <a:rPr lang="en-US" sz="1800" baseline="0" dirty="0"/>
            <a:t>Shared Global Allocation Map (SGAM)</a:t>
          </a:r>
          <a:endParaRPr lang="en-US" sz="1800" dirty="0"/>
        </a:p>
      </dgm:t>
    </dgm:pt>
    <dgm:pt modelId="{98C94F74-0EAE-48B3-9EE4-DB6FAA52C721}" type="parTrans" cxnId="{CEB1DA61-B7AA-4E15-9DFE-CA163CF31DBA}">
      <dgm:prSet/>
      <dgm:spPr/>
      <dgm:t>
        <a:bodyPr/>
        <a:lstStyle/>
        <a:p>
          <a:endParaRPr lang="en-US"/>
        </a:p>
      </dgm:t>
    </dgm:pt>
    <dgm:pt modelId="{6D5A1626-3362-4EB1-80F6-C0EDE9BC0EC8}" type="sibTrans" cxnId="{CEB1DA61-B7AA-4E15-9DFE-CA163CF31DBA}">
      <dgm:prSet/>
      <dgm:spPr/>
      <dgm:t>
        <a:bodyPr/>
        <a:lstStyle/>
        <a:p>
          <a:endParaRPr lang="en-US"/>
        </a:p>
      </dgm:t>
    </dgm:pt>
    <dgm:pt modelId="{A1575CC9-AE14-4410-B48F-41C89E23D6D2}">
      <dgm:prSet/>
      <dgm:spPr/>
      <dgm:t>
        <a:bodyPr/>
        <a:lstStyle/>
        <a:p>
          <a:r>
            <a:rPr lang="en-US" baseline="0" dirty="0"/>
            <a:t>Tracks Mixed extents that have all 8 pages allocated</a:t>
          </a:r>
          <a:br>
            <a:rPr lang="en-US" baseline="0" dirty="0"/>
          </a:br>
          <a:r>
            <a:rPr lang="en-US" baseline="0" dirty="0"/>
            <a:t>uses 1 Bit/extent</a:t>
          </a:r>
          <a:endParaRPr lang="en-US" dirty="0"/>
        </a:p>
      </dgm:t>
    </dgm:pt>
    <dgm:pt modelId="{EB4A0B4F-1987-4E0B-B8B1-8854E991832D}" type="parTrans" cxnId="{44B87886-7ED3-4EBD-AB6E-5CB705B818FC}">
      <dgm:prSet/>
      <dgm:spPr/>
      <dgm:t>
        <a:bodyPr/>
        <a:lstStyle/>
        <a:p>
          <a:endParaRPr lang="en-US"/>
        </a:p>
      </dgm:t>
    </dgm:pt>
    <dgm:pt modelId="{AD43642F-643B-4BA6-A187-E44FD999E990}" type="sibTrans" cxnId="{44B87886-7ED3-4EBD-AB6E-5CB705B818FC}">
      <dgm:prSet/>
      <dgm:spPr/>
      <dgm:t>
        <a:bodyPr/>
        <a:lstStyle/>
        <a:p>
          <a:endParaRPr lang="en-US"/>
        </a:p>
      </dgm:t>
    </dgm:pt>
    <dgm:pt modelId="{A4127F4F-F527-45B3-8609-B21D814D0051}">
      <dgm:prSet/>
      <dgm:spPr/>
      <dgm:t>
        <a:bodyPr/>
        <a:lstStyle/>
        <a:p>
          <a:r>
            <a:rPr lang="en-US" baseline="0" dirty="0"/>
            <a:t>Covers 64,000 extents (4 GB worth of data)</a:t>
          </a:r>
          <a:endParaRPr lang="en-US" dirty="0"/>
        </a:p>
      </dgm:t>
    </dgm:pt>
    <dgm:pt modelId="{3CC6D229-5DDC-4C59-9114-12440771D0B7}" type="parTrans" cxnId="{D20E1D56-9F1C-4433-9732-1CBC8927D5F3}">
      <dgm:prSet/>
      <dgm:spPr/>
      <dgm:t>
        <a:bodyPr/>
        <a:lstStyle/>
        <a:p>
          <a:endParaRPr lang="en-US"/>
        </a:p>
      </dgm:t>
    </dgm:pt>
    <dgm:pt modelId="{B003CDC2-FE9A-4E1B-8FCA-28DBDAA888F8}" type="sibTrans" cxnId="{D20E1D56-9F1C-4433-9732-1CBC8927D5F3}">
      <dgm:prSet/>
      <dgm:spPr/>
      <dgm:t>
        <a:bodyPr/>
        <a:lstStyle/>
        <a:p>
          <a:endParaRPr lang="en-US"/>
        </a:p>
      </dgm:t>
    </dgm:pt>
    <dgm:pt modelId="{ED3C308D-8798-4F2C-ADBD-36A347D93FF9}">
      <dgm:prSet custT="1"/>
      <dgm:spPr/>
      <dgm:t>
        <a:bodyPr/>
        <a:lstStyle/>
        <a:p>
          <a:r>
            <a:rPr lang="en-US" sz="1800" baseline="0" dirty="0"/>
            <a:t>Index Allocation Map (IAM)</a:t>
          </a:r>
          <a:endParaRPr lang="en-US" sz="1800" dirty="0"/>
        </a:p>
      </dgm:t>
    </dgm:pt>
    <dgm:pt modelId="{E040D640-364F-423D-8425-0C704C2063B5}" type="parTrans" cxnId="{64877185-F2EF-4FF9-953A-CC00EBFD8D2F}">
      <dgm:prSet/>
      <dgm:spPr/>
      <dgm:t>
        <a:bodyPr/>
        <a:lstStyle/>
        <a:p>
          <a:endParaRPr lang="en-US"/>
        </a:p>
      </dgm:t>
    </dgm:pt>
    <dgm:pt modelId="{BEC3A3CA-8E87-43E0-A18A-E52878015456}" type="sibTrans" cxnId="{64877185-F2EF-4FF9-953A-CC00EBFD8D2F}">
      <dgm:prSet/>
      <dgm:spPr/>
      <dgm:t>
        <a:bodyPr/>
        <a:lstStyle/>
        <a:p>
          <a:endParaRPr lang="en-US"/>
        </a:p>
      </dgm:t>
    </dgm:pt>
    <dgm:pt modelId="{35427682-A828-42A0-BDBB-2D4F3A0C2195}">
      <dgm:prSet/>
      <dgm:spPr/>
      <dgm:t>
        <a:bodyPr/>
        <a:lstStyle/>
        <a:p>
          <a:r>
            <a:rPr lang="en-US" baseline="0" dirty="0"/>
            <a:t>Tracks extents that are allocated to an allocation unit</a:t>
          </a:r>
          <a:endParaRPr lang="en-US" dirty="0"/>
        </a:p>
      </dgm:t>
    </dgm:pt>
    <dgm:pt modelId="{65DDE713-D37B-4482-AA80-BAF9BAB93404}" type="parTrans" cxnId="{9DA8AA68-1B01-495C-8946-238AA9B7D4F8}">
      <dgm:prSet/>
      <dgm:spPr/>
      <dgm:t>
        <a:bodyPr/>
        <a:lstStyle/>
        <a:p>
          <a:endParaRPr lang="en-US"/>
        </a:p>
      </dgm:t>
    </dgm:pt>
    <dgm:pt modelId="{3E6188B2-D532-4D3A-B3AF-CA5C6AA06AC3}" type="sibTrans" cxnId="{9DA8AA68-1B01-495C-8946-238AA9B7D4F8}">
      <dgm:prSet/>
      <dgm:spPr/>
      <dgm:t>
        <a:bodyPr/>
        <a:lstStyle/>
        <a:p>
          <a:endParaRPr lang="en-US"/>
        </a:p>
      </dgm:t>
    </dgm:pt>
    <dgm:pt modelId="{6CED49F6-113B-4353-B6E5-0AA58429E032}">
      <dgm:prSet/>
      <dgm:spPr/>
      <dgm:t>
        <a:bodyPr/>
        <a:lstStyle/>
        <a:p>
          <a:r>
            <a:rPr lang="en-US" baseline="0" dirty="0"/>
            <a:t>Covers 4 GB worth of data</a:t>
          </a:r>
          <a:endParaRPr lang="en-US" dirty="0"/>
        </a:p>
      </dgm:t>
    </dgm:pt>
    <dgm:pt modelId="{F9E2E512-9D47-4072-A6B7-369FF49324C8}" type="parTrans" cxnId="{5E20A0F2-8F96-4B7C-8580-A9EA573B9F2E}">
      <dgm:prSet/>
      <dgm:spPr/>
      <dgm:t>
        <a:bodyPr/>
        <a:lstStyle/>
        <a:p>
          <a:endParaRPr lang="en-US"/>
        </a:p>
      </dgm:t>
    </dgm:pt>
    <dgm:pt modelId="{CD6A4874-6F74-461D-B2F1-77D1E301C817}" type="sibTrans" cxnId="{5E20A0F2-8F96-4B7C-8580-A9EA573B9F2E}">
      <dgm:prSet/>
      <dgm:spPr/>
      <dgm:t>
        <a:bodyPr/>
        <a:lstStyle/>
        <a:p>
          <a:endParaRPr lang="en-US"/>
        </a:p>
      </dgm:t>
    </dgm:pt>
    <dgm:pt modelId="{096C94ED-E0C0-4CAF-9C96-652253E24257}">
      <dgm:prSet/>
      <dgm:spPr/>
      <dgm:t>
        <a:bodyPr/>
        <a:lstStyle/>
        <a:p>
          <a:r>
            <a:rPr lang="en-US" baseline="0" dirty="0"/>
            <a:t>One IAM chain per table, per index, per partition, per allocation unit type</a:t>
          </a:r>
          <a:endParaRPr lang="en-US" dirty="0"/>
        </a:p>
      </dgm:t>
    </dgm:pt>
    <dgm:pt modelId="{8D514285-37B2-4CD0-9D25-3E68FB63CE53}" type="parTrans" cxnId="{4F90C4D3-CF47-496B-86CF-FF1611B52AE2}">
      <dgm:prSet/>
      <dgm:spPr/>
      <dgm:t>
        <a:bodyPr/>
        <a:lstStyle/>
        <a:p>
          <a:endParaRPr lang="en-US"/>
        </a:p>
      </dgm:t>
    </dgm:pt>
    <dgm:pt modelId="{455956A8-42FA-42C3-A2DB-C1E2FE974FBD}" type="sibTrans" cxnId="{4F90C4D3-CF47-496B-86CF-FF1611B52AE2}">
      <dgm:prSet/>
      <dgm:spPr/>
      <dgm:t>
        <a:bodyPr/>
        <a:lstStyle/>
        <a:p>
          <a:endParaRPr lang="en-US"/>
        </a:p>
      </dgm:t>
    </dgm:pt>
    <dgm:pt modelId="{5ECBD16C-41D3-4ECA-AFA4-F8B7724F4B7F}" type="pres">
      <dgm:prSet presAssocID="{6C27B579-201C-453D-AD79-EE550645F001}" presName="Name0" presStyleCnt="0">
        <dgm:presLayoutVars>
          <dgm:dir/>
          <dgm:animLvl val="lvl"/>
          <dgm:resizeHandles val="exact"/>
        </dgm:presLayoutVars>
      </dgm:prSet>
      <dgm:spPr/>
    </dgm:pt>
    <dgm:pt modelId="{84CCD5CE-B0A3-459A-A81F-AC1A93D3E0CD}" type="pres">
      <dgm:prSet presAssocID="{494204D9-D84F-4879-AD13-AE7C35A4F483}" presName="composite" presStyleCnt="0"/>
      <dgm:spPr/>
    </dgm:pt>
    <dgm:pt modelId="{3AC990E7-EC36-47FB-AF8A-D4BF7B5CB066}" type="pres">
      <dgm:prSet presAssocID="{494204D9-D84F-4879-AD13-AE7C35A4F483}" presName="parTx" presStyleLbl="alignNode1" presStyleIdx="0" presStyleCnt="4">
        <dgm:presLayoutVars>
          <dgm:chMax val="0"/>
          <dgm:chPref val="0"/>
          <dgm:bulletEnabled val="1"/>
        </dgm:presLayoutVars>
      </dgm:prSet>
      <dgm:spPr/>
    </dgm:pt>
    <dgm:pt modelId="{E7C774AA-542E-48C3-A864-EEA7245BD745}" type="pres">
      <dgm:prSet presAssocID="{494204D9-D84F-4879-AD13-AE7C35A4F483}" presName="desTx" presStyleLbl="alignAccFollowNode1" presStyleIdx="0" presStyleCnt="4">
        <dgm:presLayoutVars>
          <dgm:bulletEnabled val="1"/>
        </dgm:presLayoutVars>
      </dgm:prSet>
      <dgm:spPr/>
    </dgm:pt>
    <dgm:pt modelId="{AE04A8A7-1A08-42EB-BBF6-63788E9E3FB5}" type="pres">
      <dgm:prSet presAssocID="{B9B56087-FA8F-4471-AF9E-BDCDA76E229D}" presName="space" presStyleCnt="0"/>
      <dgm:spPr/>
    </dgm:pt>
    <dgm:pt modelId="{233D5A24-957B-4CD4-B2D0-1FBB426CE76C}" type="pres">
      <dgm:prSet presAssocID="{4DD25A31-B209-4671-8C64-156B8B96974D}" presName="composite" presStyleCnt="0"/>
      <dgm:spPr/>
    </dgm:pt>
    <dgm:pt modelId="{9FA250F5-EE59-4D85-8E94-4338AF834BF2}" type="pres">
      <dgm:prSet presAssocID="{4DD25A31-B209-4671-8C64-156B8B96974D}" presName="parTx" presStyleLbl="alignNode1" presStyleIdx="1" presStyleCnt="4">
        <dgm:presLayoutVars>
          <dgm:chMax val="0"/>
          <dgm:chPref val="0"/>
          <dgm:bulletEnabled val="1"/>
        </dgm:presLayoutVars>
      </dgm:prSet>
      <dgm:spPr/>
    </dgm:pt>
    <dgm:pt modelId="{AD3AE9D9-53BB-496E-A3E4-EF036CF514D2}" type="pres">
      <dgm:prSet presAssocID="{4DD25A31-B209-4671-8C64-156B8B96974D}" presName="desTx" presStyleLbl="alignAccFollowNode1" presStyleIdx="1" presStyleCnt="4">
        <dgm:presLayoutVars>
          <dgm:bulletEnabled val="1"/>
        </dgm:presLayoutVars>
      </dgm:prSet>
      <dgm:spPr/>
    </dgm:pt>
    <dgm:pt modelId="{DA898E7E-D522-4D07-98B4-5689DF650A1C}" type="pres">
      <dgm:prSet presAssocID="{CF8820BE-AF48-4612-9B2D-7A4F8D819909}" presName="space" presStyleCnt="0"/>
      <dgm:spPr/>
    </dgm:pt>
    <dgm:pt modelId="{69E8B990-1A97-430F-8646-CF590F907EF8}" type="pres">
      <dgm:prSet presAssocID="{173E91BA-4B1F-4368-A8D8-D8EAE605760C}" presName="composite" presStyleCnt="0"/>
      <dgm:spPr/>
    </dgm:pt>
    <dgm:pt modelId="{580B96B5-8BC4-454D-B4D6-22D2C7BBC512}" type="pres">
      <dgm:prSet presAssocID="{173E91BA-4B1F-4368-A8D8-D8EAE605760C}" presName="parTx" presStyleLbl="alignNode1" presStyleIdx="2" presStyleCnt="4">
        <dgm:presLayoutVars>
          <dgm:chMax val="0"/>
          <dgm:chPref val="0"/>
          <dgm:bulletEnabled val="1"/>
        </dgm:presLayoutVars>
      </dgm:prSet>
      <dgm:spPr/>
    </dgm:pt>
    <dgm:pt modelId="{403F8695-450D-4790-878E-6F6D6F842041}" type="pres">
      <dgm:prSet presAssocID="{173E91BA-4B1F-4368-A8D8-D8EAE605760C}" presName="desTx" presStyleLbl="alignAccFollowNode1" presStyleIdx="2" presStyleCnt="4">
        <dgm:presLayoutVars>
          <dgm:bulletEnabled val="1"/>
        </dgm:presLayoutVars>
      </dgm:prSet>
      <dgm:spPr/>
    </dgm:pt>
    <dgm:pt modelId="{C553B6CB-50F9-4B1C-94AB-F4B2395E7F9E}" type="pres">
      <dgm:prSet presAssocID="{6D5A1626-3362-4EB1-80F6-C0EDE9BC0EC8}" presName="space" presStyleCnt="0"/>
      <dgm:spPr/>
    </dgm:pt>
    <dgm:pt modelId="{6F232813-E236-4386-823B-19ABDBC6427B}" type="pres">
      <dgm:prSet presAssocID="{ED3C308D-8798-4F2C-ADBD-36A347D93FF9}" presName="composite" presStyleCnt="0"/>
      <dgm:spPr/>
    </dgm:pt>
    <dgm:pt modelId="{7D0E2B34-C1FF-4757-9556-4EBE8E8751BA}" type="pres">
      <dgm:prSet presAssocID="{ED3C308D-8798-4F2C-ADBD-36A347D93FF9}" presName="parTx" presStyleLbl="alignNode1" presStyleIdx="3" presStyleCnt="4">
        <dgm:presLayoutVars>
          <dgm:chMax val="0"/>
          <dgm:chPref val="0"/>
          <dgm:bulletEnabled val="1"/>
        </dgm:presLayoutVars>
      </dgm:prSet>
      <dgm:spPr/>
    </dgm:pt>
    <dgm:pt modelId="{7849064C-C948-4E3B-AB3A-3790921E0E33}" type="pres">
      <dgm:prSet presAssocID="{ED3C308D-8798-4F2C-ADBD-36A347D93FF9}" presName="desTx" presStyleLbl="alignAccFollowNode1" presStyleIdx="3" presStyleCnt="4">
        <dgm:presLayoutVars>
          <dgm:bulletEnabled val="1"/>
        </dgm:presLayoutVars>
      </dgm:prSet>
      <dgm:spPr/>
    </dgm:pt>
  </dgm:ptLst>
  <dgm:cxnLst>
    <dgm:cxn modelId="{5E7E890A-02C8-4475-8670-4D4F47E63F53}" srcId="{4DD25A31-B209-4671-8C64-156B8B96974D}" destId="{7B3466DB-7B4E-4F68-ADF9-8FD5F463B8C4}" srcOrd="1" destOrd="0" parTransId="{EF26FDF6-79C2-470F-BCC1-160BC2B7A150}" sibTransId="{307A13C2-0B5F-4BCD-8F73-77E458082746}"/>
    <dgm:cxn modelId="{B16C060C-347A-40B7-8680-77808A9DB2F3}" type="presOf" srcId="{494204D9-D84F-4879-AD13-AE7C35A4F483}" destId="{3AC990E7-EC36-47FB-AF8A-D4BF7B5CB066}" srcOrd="0" destOrd="0" presId="urn:microsoft.com/office/officeart/2005/8/layout/hList1"/>
    <dgm:cxn modelId="{4C65D323-50E1-4FB5-93C7-03516B4ED109}" type="presOf" srcId="{ED3C308D-8798-4F2C-ADBD-36A347D93FF9}" destId="{7D0E2B34-C1FF-4757-9556-4EBE8E8751BA}" srcOrd="0" destOrd="0" presId="urn:microsoft.com/office/officeart/2005/8/layout/hList1"/>
    <dgm:cxn modelId="{C5BEFD29-810C-4E78-88CC-CFDC6555F13B}" type="presOf" srcId="{A1575CC9-AE14-4410-B48F-41C89E23D6D2}" destId="{403F8695-450D-4790-878E-6F6D6F842041}" srcOrd="0" destOrd="0" presId="urn:microsoft.com/office/officeart/2005/8/layout/hList1"/>
    <dgm:cxn modelId="{DA11C23B-97A9-4211-8930-565C7E4720E0}" type="presOf" srcId="{6C27B579-201C-453D-AD79-EE550645F001}" destId="{5ECBD16C-41D3-4ECA-AFA4-F8B7724F4B7F}" srcOrd="0" destOrd="0" presId="urn:microsoft.com/office/officeart/2005/8/layout/hList1"/>
    <dgm:cxn modelId="{B0A6883F-2BB9-41B3-9268-43DABA53F034}" type="presOf" srcId="{F02CD790-47A8-41C9-8D96-248B3365BC8F}" destId="{E7C774AA-542E-48C3-A864-EEA7245BD745}" srcOrd="0" destOrd="1" presId="urn:microsoft.com/office/officeart/2005/8/layout/hList1"/>
    <dgm:cxn modelId="{34BF825E-BD08-495A-9864-BE76E86A71B7}" type="presOf" srcId="{173E91BA-4B1F-4368-A8D8-D8EAE605760C}" destId="{580B96B5-8BC4-454D-B4D6-22D2C7BBC512}" srcOrd="0" destOrd="0" presId="urn:microsoft.com/office/officeart/2005/8/layout/hList1"/>
    <dgm:cxn modelId="{CEB1DA61-B7AA-4E15-9DFE-CA163CF31DBA}" srcId="{6C27B579-201C-453D-AD79-EE550645F001}" destId="{173E91BA-4B1F-4368-A8D8-D8EAE605760C}" srcOrd="2" destOrd="0" parTransId="{98C94F74-0EAE-48B3-9EE4-DB6FAA52C721}" sibTransId="{6D5A1626-3362-4EB1-80F6-C0EDE9BC0EC8}"/>
    <dgm:cxn modelId="{9DA8AA68-1B01-495C-8946-238AA9B7D4F8}" srcId="{ED3C308D-8798-4F2C-ADBD-36A347D93FF9}" destId="{35427682-A828-42A0-BDBB-2D4F3A0C2195}" srcOrd="0" destOrd="0" parTransId="{65DDE713-D37B-4482-AA80-BAF9BAB93404}" sibTransId="{3E6188B2-D532-4D3A-B3AF-CA5C6AA06AC3}"/>
    <dgm:cxn modelId="{7ACA844D-6485-4E7E-A3C5-64F8BBB09378}" srcId="{6C27B579-201C-453D-AD79-EE550645F001}" destId="{4DD25A31-B209-4671-8C64-156B8B96974D}" srcOrd="1" destOrd="0" parTransId="{6E2AE1B6-5E54-414D-BD85-9366B973A802}" sibTransId="{CF8820BE-AF48-4612-9B2D-7A4F8D819909}"/>
    <dgm:cxn modelId="{1048C473-C2E3-4C98-8F1D-32245469A2DD}" type="presOf" srcId="{EBE58DEA-5DAB-4106-9B99-DD165D918FEC}" destId="{E7C774AA-542E-48C3-A864-EEA7245BD745}" srcOrd="0" destOrd="0" presId="urn:microsoft.com/office/officeart/2005/8/layout/hList1"/>
    <dgm:cxn modelId="{D20E1D56-9F1C-4433-9732-1CBC8927D5F3}" srcId="{173E91BA-4B1F-4368-A8D8-D8EAE605760C}" destId="{A4127F4F-F527-45B3-8609-B21D814D0051}" srcOrd="1" destOrd="0" parTransId="{3CC6D229-5DDC-4C59-9114-12440771D0B7}" sibTransId="{B003CDC2-FE9A-4E1B-8FCA-28DBDAA888F8}"/>
    <dgm:cxn modelId="{385A0481-3D2B-4860-B699-40C25CC2F831}" srcId="{6C27B579-201C-453D-AD79-EE550645F001}" destId="{494204D9-D84F-4879-AD13-AE7C35A4F483}" srcOrd="0" destOrd="0" parTransId="{11198DCD-E631-4B79-870C-78DB06D25631}" sibTransId="{B9B56087-FA8F-4471-AF9E-BDCDA76E229D}"/>
    <dgm:cxn modelId="{64877185-F2EF-4FF9-953A-CC00EBFD8D2F}" srcId="{6C27B579-201C-453D-AD79-EE550645F001}" destId="{ED3C308D-8798-4F2C-ADBD-36A347D93FF9}" srcOrd="3" destOrd="0" parTransId="{E040D640-364F-423D-8425-0C704C2063B5}" sibTransId="{BEC3A3CA-8E87-43E0-A18A-E52878015456}"/>
    <dgm:cxn modelId="{44B87886-7ED3-4EBD-AB6E-5CB705B818FC}" srcId="{173E91BA-4B1F-4368-A8D8-D8EAE605760C}" destId="{A1575CC9-AE14-4410-B48F-41C89E23D6D2}" srcOrd="0" destOrd="0" parTransId="{EB4A0B4F-1987-4E0B-B8B1-8854E991832D}" sibTransId="{AD43642F-643B-4BA6-A187-E44FD999E990}"/>
    <dgm:cxn modelId="{848AC98B-9D8F-4EFD-AFFC-5C13802FF66C}" type="presOf" srcId="{6CED49F6-113B-4353-B6E5-0AA58429E032}" destId="{7849064C-C948-4E3B-AB3A-3790921E0E33}" srcOrd="0" destOrd="1" presId="urn:microsoft.com/office/officeart/2005/8/layout/hList1"/>
    <dgm:cxn modelId="{1DC9CA98-DADB-4D5B-AB30-83FD7912857A}" type="presOf" srcId="{0EC3B0F7-71C9-4B09-88A1-E41EEB4EA8E1}" destId="{AD3AE9D9-53BB-496E-A3E4-EF036CF514D2}" srcOrd="0" destOrd="0" presId="urn:microsoft.com/office/officeart/2005/8/layout/hList1"/>
    <dgm:cxn modelId="{07261DAA-00C9-40A2-8015-36D6DDBF1861}" srcId="{494204D9-D84F-4879-AD13-AE7C35A4F483}" destId="{F02CD790-47A8-41C9-8D96-248B3365BC8F}" srcOrd="1" destOrd="0" parTransId="{F3DCA3C6-3B97-4D5F-8EB9-C898ED60269C}" sibTransId="{C4708D95-2614-48C4-83E0-75DBA53CF2B7}"/>
    <dgm:cxn modelId="{3868ADB5-6886-424F-B7F2-FEF7D65A5F72}" type="presOf" srcId="{096C94ED-E0C0-4CAF-9C96-652253E24257}" destId="{7849064C-C948-4E3B-AB3A-3790921E0E33}" srcOrd="0" destOrd="2" presId="urn:microsoft.com/office/officeart/2005/8/layout/hList1"/>
    <dgm:cxn modelId="{3CCFAFB8-641B-4E46-86B2-926161CB3F00}" srcId="{4DD25A31-B209-4671-8C64-156B8B96974D}" destId="{0EC3B0F7-71C9-4B09-88A1-E41EEB4EA8E1}" srcOrd="0" destOrd="0" parTransId="{6DB4C0AE-5C26-468A-8C18-591B85DB266F}" sibTransId="{528D9AA5-8FC1-4E9D-87B0-23774CB89E5F}"/>
    <dgm:cxn modelId="{7E117ED0-C324-4BCB-B7C6-9FFF7501F61D}" type="presOf" srcId="{4DD25A31-B209-4671-8C64-156B8B96974D}" destId="{9FA250F5-EE59-4D85-8E94-4338AF834BF2}" srcOrd="0" destOrd="0" presId="urn:microsoft.com/office/officeart/2005/8/layout/hList1"/>
    <dgm:cxn modelId="{4F90C4D3-CF47-496B-86CF-FF1611B52AE2}" srcId="{ED3C308D-8798-4F2C-ADBD-36A347D93FF9}" destId="{096C94ED-E0C0-4CAF-9C96-652253E24257}" srcOrd="2" destOrd="0" parTransId="{8D514285-37B2-4CD0-9D25-3E68FB63CE53}" sibTransId="{455956A8-42FA-42C3-A2DB-C1E2FE974FBD}"/>
    <dgm:cxn modelId="{24A53CD6-B3D6-4504-94B9-64765DBF3665}" type="presOf" srcId="{A4127F4F-F527-45B3-8609-B21D814D0051}" destId="{403F8695-450D-4790-878E-6F6D6F842041}" srcOrd="0" destOrd="1" presId="urn:microsoft.com/office/officeart/2005/8/layout/hList1"/>
    <dgm:cxn modelId="{FF885EE1-F708-4C6C-9E6E-1DC2BBBB8B5A}" type="presOf" srcId="{7B3466DB-7B4E-4F68-ADF9-8FD5F463B8C4}" destId="{AD3AE9D9-53BB-496E-A3E4-EF036CF514D2}" srcOrd="0" destOrd="1" presId="urn:microsoft.com/office/officeart/2005/8/layout/hList1"/>
    <dgm:cxn modelId="{8DE5C0E1-4682-4FF6-8070-240C66D85CC1}" srcId="{494204D9-D84F-4879-AD13-AE7C35A4F483}" destId="{EBE58DEA-5DAB-4106-9B99-DD165D918FEC}" srcOrd="0" destOrd="0" parTransId="{1ADE4576-AFCF-486B-A35E-6753E221CC49}" sibTransId="{2F4BA0BE-A199-4458-BF57-95932665C955}"/>
    <dgm:cxn modelId="{5E20A0F2-8F96-4B7C-8580-A9EA573B9F2E}" srcId="{ED3C308D-8798-4F2C-ADBD-36A347D93FF9}" destId="{6CED49F6-113B-4353-B6E5-0AA58429E032}" srcOrd="1" destOrd="0" parTransId="{F9E2E512-9D47-4072-A6B7-369FF49324C8}" sibTransId="{CD6A4874-6F74-461D-B2F1-77D1E301C817}"/>
    <dgm:cxn modelId="{5A387DFA-C482-4A4C-BBFB-FD87C4859629}" type="presOf" srcId="{35427682-A828-42A0-BDBB-2D4F3A0C2195}" destId="{7849064C-C948-4E3B-AB3A-3790921E0E33}" srcOrd="0" destOrd="0" presId="urn:microsoft.com/office/officeart/2005/8/layout/hList1"/>
    <dgm:cxn modelId="{66017E5D-A041-4D77-8DC0-F41AD9C4E563}" type="presParOf" srcId="{5ECBD16C-41D3-4ECA-AFA4-F8B7724F4B7F}" destId="{84CCD5CE-B0A3-459A-A81F-AC1A93D3E0CD}" srcOrd="0" destOrd="0" presId="urn:microsoft.com/office/officeart/2005/8/layout/hList1"/>
    <dgm:cxn modelId="{F6612A73-C6BB-483F-94E9-763211F6866A}" type="presParOf" srcId="{84CCD5CE-B0A3-459A-A81F-AC1A93D3E0CD}" destId="{3AC990E7-EC36-47FB-AF8A-D4BF7B5CB066}" srcOrd="0" destOrd="0" presId="urn:microsoft.com/office/officeart/2005/8/layout/hList1"/>
    <dgm:cxn modelId="{68BD4881-C90A-4003-A099-14D8D50E9967}" type="presParOf" srcId="{84CCD5CE-B0A3-459A-A81F-AC1A93D3E0CD}" destId="{E7C774AA-542E-48C3-A864-EEA7245BD745}" srcOrd="1" destOrd="0" presId="urn:microsoft.com/office/officeart/2005/8/layout/hList1"/>
    <dgm:cxn modelId="{BA323D1C-2854-4826-A6F9-5006C393D79B}" type="presParOf" srcId="{5ECBD16C-41D3-4ECA-AFA4-F8B7724F4B7F}" destId="{AE04A8A7-1A08-42EB-BBF6-63788E9E3FB5}" srcOrd="1" destOrd="0" presId="urn:microsoft.com/office/officeart/2005/8/layout/hList1"/>
    <dgm:cxn modelId="{9B822A31-1542-401E-8520-CA9B55AC7AD6}" type="presParOf" srcId="{5ECBD16C-41D3-4ECA-AFA4-F8B7724F4B7F}" destId="{233D5A24-957B-4CD4-B2D0-1FBB426CE76C}" srcOrd="2" destOrd="0" presId="urn:microsoft.com/office/officeart/2005/8/layout/hList1"/>
    <dgm:cxn modelId="{45E503D6-EE1B-468B-A096-68D60F310F1B}" type="presParOf" srcId="{233D5A24-957B-4CD4-B2D0-1FBB426CE76C}" destId="{9FA250F5-EE59-4D85-8E94-4338AF834BF2}" srcOrd="0" destOrd="0" presId="urn:microsoft.com/office/officeart/2005/8/layout/hList1"/>
    <dgm:cxn modelId="{0290EB9F-7D87-49A1-A3D0-F9A2B11B3EC2}" type="presParOf" srcId="{233D5A24-957B-4CD4-B2D0-1FBB426CE76C}" destId="{AD3AE9D9-53BB-496E-A3E4-EF036CF514D2}" srcOrd="1" destOrd="0" presId="urn:microsoft.com/office/officeart/2005/8/layout/hList1"/>
    <dgm:cxn modelId="{24C5B404-D1AC-4825-8818-9EED2C4BAB7B}" type="presParOf" srcId="{5ECBD16C-41D3-4ECA-AFA4-F8B7724F4B7F}" destId="{DA898E7E-D522-4D07-98B4-5689DF650A1C}" srcOrd="3" destOrd="0" presId="urn:microsoft.com/office/officeart/2005/8/layout/hList1"/>
    <dgm:cxn modelId="{5F6367B9-F45B-489A-A76C-5EF0E50D3D1B}" type="presParOf" srcId="{5ECBD16C-41D3-4ECA-AFA4-F8B7724F4B7F}" destId="{69E8B990-1A97-430F-8646-CF590F907EF8}" srcOrd="4" destOrd="0" presId="urn:microsoft.com/office/officeart/2005/8/layout/hList1"/>
    <dgm:cxn modelId="{937257A5-5B4A-4729-9C60-6AB0175D400A}" type="presParOf" srcId="{69E8B990-1A97-430F-8646-CF590F907EF8}" destId="{580B96B5-8BC4-454D-B4D6-22D2C7BBC512}" srcOrd="0" destOrd="0" presId="urn:microsoft.com/office/officeart/2005/8/layout/hList1"/>
    <dgm:cxn modelId="{78A97D21-9B06-43EC-9B8F-EA11DBC09EB2}" type="presParOf" srcId="{69E8B990-1A97-430F-8646-CF590F907EF8}" destId="{403F8695-450D-4790-878E-6F6D6F842041}" srcOrd="1" destOrd="0" presId="urn:microsoft.com/office/officeart/2005/8/layout/hList1"/>
    <dgm:cxn modelId="{2D03EB25-E7F9-4BE0-BB5F-CA18D5388F27}" type="presParOf" srcId="{5ECBD16C-41D3-4ECA-AFA4-F8B7724F4B7F}" destId="{C553B6CB-50F9-4B1C-94AB-F4B2395E7F9E}" srcOrd="5" destOrd="0" presId="urn:microsoft.com/office/officeart/2005/8/layout/hList1"/>
    <dgm:cxn modelId="{5B6374A5-D49A-4D90-B19D-EA5742FEAC61}" type="presParOf" srcId="{5ECBD16C-41D3-4ECA-AFA4-F8B7724F4B7F}" destId="{6F232813-E236-4386-823B-19ABDBC6427B}" srcOrd="6" destOrd="0" presId="urn:microsoft.com/office/officeart/2005/8/layout/hList1"/>
    <dgm:cxn modelId="{A4241D1F-214B-4091-8940-6B19F84D9433}" type="presParOf" srcId="{6F232813-E236-4386-823B-19ABDBC6427B}" destId="{7D0E2B34-C1FF-4757-9556-4EBE8E8751BA}" srcOrd="0" destOrd="0" presId="urn:microsoft.com/office/officeart/2005/8/layout/hList1"/>
    <dgm:cxn modelId="{1BA807BB-F9B5-43A1-BF95-AF33EC75C9D6}" type="presParOf" srcId="{6F232813-E236-4386-823B-19ABDBC6427B}" destId="{7849064C-C948-4E3B-AB3A-3790921E0E3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6D02CA96-1536-4206-B387-E64B77A9B944}"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67C196C1-479D-493A-86F7-906E346B0E64}">
      <dgm:prSet custT="1"/>
      <dgm:spPr/>
      <dgm:t>
        <a:bodyPr/>
        <a:lstStyle/>
        <a:p>
          <a:r>
            <a:rPr lang="en-US" sz="2400" dirty="0"/>
            <a:t>Starting with SQL Server 2016 (13.x)</a:t>
          </a:r>
        </a:p>
      </dgm:t>
    </dgm:pt>
    <dgm:pt modelId="{31E724A6-EEF5-4B01-AF00-D43049EDFFF5}" type="parTrans" cxnId="{E7475E76-A6BF-4FF7-9D5E-4B393E09A66E}">
      <dgm:prSet/>
      <dgm:spPr/>
      <dgm:t>
        <a:bodyPr/>
        <a:lstStyle/>
        <a:p>
          <a:endParaRPr lang="en-US"/>
        </a:p>
      </dgm:t>
    </dgm:pt>
    <dgm:pt modelId="{7B38B9B2-8EA9-480F-8028-9AF917BB834F}" type="sibTrans" cxnId="{E7475E76-A6BF-4FF7-9D5E-4B393E09A66E}">
      <dgm:prSet/>
      <dgm:spPr/>
      <dgm:t>
        <a:bodyPr/>
        <a:lstStyle/>
        <a:p>
          <a:endParaRPr lang="en-US"/>
        </a:p>
      </dgm:t>
    </dgm:pt>
    <dgm:pt modelId="{2B1EA572-1D39-4812-8794-0DE22AB57DEB}">
      <dgm:prSet custT="1"/>
      <dgm:spPr/>
      <dgm:t>
        <a:bodyPr/>
        <a:lstStyle/>
        <a:p>
          <a:r>
            <a:rPr lang="en-US" sz="2400" dirty="0"/>
            <a:t>Decreases contention on SGAM objects</a:t>
          </a:r>
        </a:p>
      </dgm:t>
    </dgm:pt>
    <dgm:pt modelId="{28444F7B-7F50-491A-90CA-F93A3BE1FD63}" type="parTrans" cxnId="{FFCA05E4-BFED-4539-920C-B3D3C4D39551}">
      <dgm:prSet/>
      <dgm:spPr/>
      <dgm:t>
        <a:bodyPr/>
        <a:lstStyle/>
        <a:p>
          <a:endParaRPr lang="en-US"/>
        </a:p>
      </dgm:t>
    </dgm:pt>
    <dgm:pt modelId="{55EB91EC-04EA-47DF-A975-F774913CCD5A}" type="sibTrans" cxnId="{FFCA05E4-BFED-4539-920C-B3D3C4D39551}">
      <dgm:prSet/>
      <dgm:spPr/>
      <dgm:t>
        <a:bodyPr/>
        <a:lstStyle/>
        <a:p>
          <a:endParaRPr lang="en-US"/>
        </a:p>
      </dgm:t>
    </dgm:pt>
    <dgm:pt modelId="{D50B1C1D-23F0-4D8E-A49D-C685AB8355E6}">
      <dgm:prSet custT="1"/>
      <dgm:spPr/>
      <dgm:t>
        <a:bodyPr/>
        <a:lstStyle/>
        <a:p>
          <a:r>
            <a:rPr lang="en-US" sz="2400" dirty="0"/>
            <a:t>Default for allocations in the database is Uniform extents for Data pages</a:t>
          </a:r>
        </a:p>
      </dgm:t>
    </dgm:pt>
    <dgm:pt modelId="{154DDF9A-2346-4598-A6B0-4B679273AA11}" type="parTrans" cxnId="{DB15CBC5-DDD0-4038-A3AF-D978A594E0A7}">
      <dgm:prSet/>
      <dgm:spPr/>
      <dgm:t>
        <a:bodyPr/>
        <a:lstStyle/>
        <a:p>
          <a:endParaRPr lang="en-US"/>
        </a:p>
      </dgm:t>
    </dgm:pt>
    <dgm:pt modelId="{63A512F0-9E7D-44B6-9CEE-0951D7A11727}" type="sibTrans" cxnId="{DB15CBC5-DDD0-4038-A3AF-D978A594E0A7}">
      <dgm:prSet/>
      <dgm:spPr/>
      <dgm:t>
        <a:bodyPr/>
        <a:lstStyle/>
        <a:p>
          <a:endParaRPr lang="en-US"/>
        </a:p>
      </dgm:t>
    </dgm:pt>
    <dgm:pt modelId="{E31C9269-574D-40DC-8597-EF836EA6138D}">
      <dgm:prSet custT="1"/>
      <dgm:spPr/>
      <dgm:t>
        <a:bodyPr/>
        <a:lstStyle/>
        <a:p>
          <a:r>
            <a:rPr lang="en-US" sz="2400" dirty="0"/>
            <a:t>Up to, and including, SQL Server 2014 (12.x)</a:t>
          </a:r>
        </a:p>
      </dgm:t>
    </dgm:pt>
    <dgm:pt modelId="{A531E8D6-CE11-40FF-9F60-13B47E301E86}" type="parTrans" cxnId="{CEA5AAFB-4AAA-4287-8D03-483D8A7D9C13}">
      <dgm:prSet/>
      <dgm:spPr/>
      <dgm:t>
        <a:bodyPr/>
        <a:lstStyle/>
        <a:p>
          <a:endParaRPr lang="en-US"/>
        </a:p>
      </dgm:t>
    </dgm:pt>
    <dgm:pt modelId="{27F9A033-BC0D-423A-835B-F4FDA9E8F73C}" type="sibTrans" cxnId="{CEA5AAFB-4AAA-4287-8D03-483D8A7D9C13}">
      <dgm:prSet/>
      <dgm:spPr/>
      <dgm:t>
        <a:bodyPr/>
        <a:lstStyle/>
        <a:p>
          <a:endParaRPr lang="en-US"/>
        </a:p>
      </dgm:t>
    </dgm:pt>
    <dgm:pt modelId="{83729096-D717-4A11-9F09-E3A127CAA486}">
      <dgm:prSet custT="1"/>
      <dgm:spPr/>
      <dgm:t>
        <a:bodyPr/>
        <a:lstStyle/>
        <a:p>
          <a:r>
            <a:rPr lang="en-US" sz="2400" dirty="0"/>
            <a:t>On object creation 2 pages from a mixed extents are allocated</a:t>
          </a:r>
        </a:p>
      </dgm:t>
    </dgm:pt>
    <dgm:pt modelId="{F36E1F41-9EBC-4505-8904-7271970DF5A8}" type="parTrans" cxnId="{511D38C5-E7AC-4A59-B4F2-5C682660D9E8}">
      <dgm:prSet/>
      <dgm:spPr/>
      <dgm:t>
        <a:bodyPr/>
        <a:lstStyle/>
        <a:p>
          <a:endParaRPr lang="en-US"/>
        </a:p>
      </dgm:t>
    </dgm:pt>
    <dgm:pt modelId="{D8CFC30E-B037-4636-B740-597D850A0147}" type="sibTrans" cxnId="{511D38C5-E7AC-4A59-B4F2-5C682660D9E8}">
      <dgm:prSet/>
      <dgm:spPr/>
      <dgm:t>
        <a:bodyPr/>
        <a:lstStyle/>
        <a:p>
          <a:endParaRPr lang="en-US"/>
        </a:p>
      </dgm:t>
    </dgm:pt>
    <dgm:pt modelId="{90DD7FB7-59C3-4F67-95FB-1AC806B65FC7}">
      <dgm:prSet custT="1"/>
      <dgm:spPr/>
      <dgm:t>
        <a:bodyPr/>
        <a:lstStyle/>
        <a:p>
          <a:r>
            <a:rPr lang="en-US" sz="2400" dirty="0"/>
            <a:t>After 8 data pages,  new allocation comes from Uniform Extent</a:t>
          </a:r>
        </a:p>
      </dgm:t>
    </dgm:pt>
    <dgm:pt modelId="{5BE8EC6B-1058-45E7-81EA-D41E277C689F}" type="parTrans" cxnId="{002CD1C4-EB31-4F29-A506-078275CA38D2}">
      <dgm:prSet/>
      <dgm:spPr/>
      <dgm:t>
        <a:bodyPr/>
        <a:lstStyle/>
        <a:p>
          <a:endParaRPr lang="en-US"/>
        </a:p>
      </dgm:t>
    </dgm:pt>
    <dgm:pt modelId="{20A75602-F5CF-459F-8329-989DC4184F14}" type="sibTrans" cxnId="{002CD1C4-EB31-4F29-A506-078275CA38D2}">
      <dgm:prSet/>
      <dgm:spPr/>
      <dgm:t>
        <a:bodyPr/>
        <a:lstStyle/>
        <a:p>
          <a:endParaRPr lang="en-US"/>
        </a:p>
      </dgm:t>
    </dgm:pt>
    <dgm:pt modelId="{08B70DAC-320A-4DFB-AE24-D56786139EBC}" type="pres">
      <dgm:prSet presAssocID="{6D02CA96-1536-4206-B387-E64B77A9B944}" presName="linear" presStyleCnt="0">
        <dgm:presLayoutVars>
          <dgm:dir/>
          <dgm:animLvl val="lvl"/>
          <dgm:resizeHandles val="exact"/>
        </dgm:presLayoutVars>
      </dgm:prSet>
      <dgm:spPr/>
    </dgm:pt>
    <dgm:pt modelId="{C3F0E0A0-DB67-4CF5-8BB0-ABC4A68F0A4A}" type="pres">
      <dgm:prSet presAssocID="{E31C9269-574D-40DC-8597-EF836EA6138D}" presName="parentLin" presStyleCnt="0"/>
      <dgm:spPr/>
    </dgm:pt>
    <dgm:pt modelId="{A5F0B516-A2F6-4CE4-BEBA-89B39652612B}" type="pres">
      <dgm:prSet presAssocID="{E31C9269-574D-40DC-8597-EF836EA6138D}" presName="parentLeftMargin" presStyleLbl="node1" presStyleIdx="0" presStyleCnt="2"/>
      <dgm:spPr/>
    </dgm:pt>
    <dgm:pt modelId="{3AD40822-D0F7-405C-A43B-CE4D829B28CD}" type="pres">
      <dgm:prSet presAssocID="{E31C9269-574D-40DC-8597-EF836EA6138D}" presName="parentText" presStyleLbl="node1" presStyleIdx="0" presStyleCnt="2">
        <dgm:presLayoutVars>
          <dgm:chMax val="0"/>
          <dgm:bulletEnabled val="1"/>
        </dgm:presLayoutVars>
      </dgm:prSet>
      <dgm:spPr/>
    </dgm:pt>
    <dgm:pt modelId="{184D5C77-A416-4CC0-8ADD-9843A53F3EE7}" type="pres">
      <dgm:prSet presAssocID="{E31C9269-574D-40DC-8597-EF836EA6138D}" presName="negativeSpace" presStyleCnt="0"/>
      <dgm:spPr/>
    </dgm:pt>
    <dgm:pt modelId="{DE49C234-723A-4BDE-AC95-03F9FB295F41}" type="pres">
      <dgm:prSet presAssocID="{E31C9269-574D-40DC-8597-EF836EA6138D}" presName="childText" presStyleLbl="conFgAcc1" presStyleIdx="0" presStyleCnt="2">
        <dgm:presLayoutVars>
          <dgm:bulletEnabled val="1"/>
        </dgm:presLayoutVars>
      </dgm:prSet>
      <dgm:spPr/>
    </dgm:pt>
    <dgm:pt modelId="{2C0F0824-DE7E-439F-9C77-84FDAD889741}" type="pres">
      <dgm:prSet presAssocID="{27F9A033-BC0D-423A-835B-F4FDA9E8F73C}" presName="spaceBetweenRectangles" presStyleCnt="0"/>
      <dgm:spPr/>
    </dgm:pt>
    <dgm:pt modelId="{2682F373-D0E2-47DD-8D85-39A7347EAF66}" type="pres">
      <dgm:prSet presAssocID="{67C196C1-479D-493A-86F7-906E346B0E64}" presName="parentLin" presStyleCnt="0"/>
      <dgm:spPr/>
    </dgm:pt>
    <dgm:pt modelId="{EA306DFC-DA3B-4982-AE25-13956C56B7BB}" type="pres">
      <dgm:prSet presAssocID="{67C196C1-479D-493A-86F7-906E346B0E64}" presName="parentLeftMargin" presStyleLbl="node1" presStyleIdx="0" presStyleCnt="2"/>
      <dgm:spPr/>
    </dgm:pt>
    <dgm:pt modelId="{902416DC-60D1-44E1-A9BA-CB288DCD1D84}" type="pres">
      <dgm:prSet presAssocID="{67C196C1-479D-493A-86F7-906E346B0E64}" presName="parentText" presStyleLbl="node1" presStyleIdx="1" presStyleCnt="2">
        <dgm:presLayoutVars>
          <dgm:chMax val="0"/>
          <dgm:bulletEnabled val="1"/>
        </dgm:presLayoutVars>
      </dgm:prSet>
      <dgm:spPr/>
    </dgm:pt>
    <dgm:pt modelId="{BDBF67E1-C5D9-4A19-9951-A767C24AF6E2}" type="pres">
      <dgm:prSet presAssocID="{67C196C1-479D-493A-86F7-906E346B0E64}" presName="negativeSpace" presStyleCnt="0"/>
      <dgm:spPr/>
    </dgm:pt>
    <dgm:pt modelId="{F8D3E4B6-63BC-4D03-8AB8-DA50D9D29A49}" type="pres">
      <dgm:prSet presAssocID="{67C196C1-479D-493A-86F7-906E346B0E64}" presName="childText" presStyleLbl="conFgAcc1" presStyleIdx="1" presStyleCnt="2">
        <dgm:presLayoutVars>
          <dgm:bulletEnabled val="1"/>
        </dgm:presLayoutVars>
      </dgm:prSet>
      <dgm:spPr/>
    </dgm:pt>
  </dgm:ptLst>
  <dgm:cxnLst>
    <dgm:cxn modelId="{58088F0C-95E8-40D6-BD50-8AAFB51AB12E}" type="presOf" srcId="{E31C9269-574D-40DC-8597-EF836EA6138D}" destId="{3AD40822-D0F7-405C-A43B-CE4D829B28CD}" srcOrd="1" destOrd="0" presId="urn:microsoft.com/office/officeart/2005/8/layout/list1"/>
    <dgm:cxn modelId="{12F20221-4056-4011-A45F-E2EFF093B73F}" type="presOf" srcId="{67C196C1-479D-493A-86F7-906E346B0E64}" destId="{902416DC-60D1-44E1-A9BA-CB288DCD1D84}" srcOrd="1" destOrd="0" presId="urn:microsoft.com/office/officeart/2005/8/layout/list1"/>
    <dgm:cxn modelId="{AF36AD24-CC77-4E3A-8BF4-969A06371F73}" type="presOf" srcId="{90DD7FB7-59C3-4F67-95FB-1AC806B65FC7}" destId="{DE49C234-723A-4BDE-AC95-03F9FB295F41}" srcOrd="0" destOrd="1" presId="urn:microsoft.com/office/officeart/2005/8/layout/list1"/>
    <dgm:cxn modelId="{91B25833-A916-40C4-971C-30BC9EE3FA78}" type="presOf" srcId="{83729096-D717-4A11-9F09-E3A127CAA486}" destId="{DE49C234-723A-4BDE-AC95-03F9FB295F41}" srcOrd="0" destOrd="0" presId="urn:microsoft.com/office/officeart/2005/8/layout/list1"/>
    <dgm:cxn modelId="{40E2F167-0027-4556-B4AF-F2C9FA3EB436}" type="presOf" srcId="{6D02CA96-1536-4206-B387-E64B77A9B944}" destId="{08B70DAC-320A-4DFB-AE24-D56786139EBC}" srcOrd="0" destOrd="0" presId="urn:microsoft.com/office/officeart/2005/8/layout/list1"/>
    <dgm:cxn modelId="{4974D64A-EBD1-4DBC-A013-559A028C3726}" type="presOf" srcId="{67C196C1-479D-493A-86F7-906E346B0E64}" destId="{EA306DFC-DA3B-4982-AE25-13956C56B7BB}" srcOrd="0" destOrd="0" presId="urn:microsoft.com/office/officeart/2005/8/layout/list1"/>
    <dgm:cxn modelId="{E7475E76-A6BF-4FF7-9D5E-4B393E09A66E}" srcId="{6D02CA96-1536-4206-B387-E64B77A9B944}" destId="{67C196C1-479D-493A-86F7-906E346B0E64}" srcOrd="1" destOrd="0" parTransId="{31E724A6-EEF5-4B01-AF00-D43049EDFFF5}" sibTransId="{7B38B9B2-8EA9-480F-8028-9AF917BB834F}"/>
    <dgm:cxn modelId="{B54A54A9-6197-4DFB-8875-E025548C6612}" type="presOf" srcId="{E31C9269-574D-40DC-8597-EF836EA6138D}" destId="{A5F0B516-A2F6-4CE4-BEBA-89B39652612B}" srcOrd="0" destOrd="0" presId="urn:microsoft.com/office/officeart/2005/8/layout/list1"/>
    <dgm:cxn modelId="{485D3EAD-D690-4D0B-8A2B-402260BFE576}" type="presOf" srcId="{2B1EA572-1D39-4812-8794-0DE22AB57DEB}" destId="{F8D3E4B6-63BC-4D03-8AB8-DA50D9D29A49}" srcOrd="0" destOrd="1" presId="urn:microsoft.com/office/officeart/2005/8/layout/list1"/>
    <dgm:cxn modelId="{002CD1C4-EB31-4F29-A506-078275CA38D2}" srcId="{E31C9269-574D-40DC-8597-EF836EA6138D}" destId="{90DD7FB7-59C3-4F67-95FB-1AC806B65FC7}" srcOrd="1" destOrd="0" parTransId="{5BE8EC6B-1058-45E7-81EA-D41E277C689F}" sibTransId="{20A75602-F5CF-459F-8329-989DC4184F14}"/>
    <dgm:cxn modelId="{511D38C5-E7AC-4A59-B4F2-5C682660D9E8}" srcId="{E31C9269-574D-40DC-8597-EF836EA6138D}" destId="{83729096-D717-4A11-9F09-E3A127CAA486}" srcOrd="0" destOrd="0" parTransId="{F36E1F41-9EBC-4505-8904-7271970DF5A8}" sibTransId="{D8CFC30E-B037-4636-B740-597D850A0147}"/>
    <dgm:cxn modelId="{DB15CBC5-DDD0-4038-A3AF-D978A594E0A7}" srcId="{67C196C1-479D-493A-86F7-906E346B0E64}" destId="{D50B1C1D-23F0-4D8E-A49D-C685AB8355E6}" srcOrd="0" destOrd="0" parTransId="{154DDF9A-2346-4598-A6B0-4B679273AA11}" sibTransId="{63A512F0-9E7D-44B6-9CEE-0951D7A11727}"/>
    <dgm:cxn modelId="{FFCA05E4-BFED-4539-920C-B3D3C4D39551}" srcId="{67C196C1-479D-493A-86F7-906E346B0E64}" destId="{2B1EA572-1D39-4812-8794-0DE22AB57DEB}" srcOrd="1" destOrd="0" parTransId="{28444F7B-7F50-491A-90CA-F93A3BE1FD63}" sibTransId="{55EB91EC-04EA-47DF-A975-F774913CCD5A}"/>
    <dgm:cxn modelId="{2D6511E7-AA6F-4752-8BB4-938B658D75D0}" type="presOf" srcId="{D50B1C1D-23F0-4D8E-A49D-C685AB8355E6}" destId="{F8D3E4B6-63BC-4D03-8AB8-DA50D9D29A49}" srcOrd="0" destOrd="0" presId="urn:microsoft.com/office/officeart/2005/8/layout/list1"/>
    <dgm:cxn modelId="{CEA5AAFB-4AAA-4287-8D03-483D8A7D9C13}" srcId="{6D02CA96-1536-4206-B387-E64B77A9B944}" destId="{E31C9269-574D-40DC-8597-EF836EA6138D}" srcOrd="0" destOrd="0" parTransId="{A531E8D6-CE11-40FF-9F60-13B47E301E86}" sibTransId="{27F9A033-BC0D-423A-835B-F4FDA9E8F73C}"/>
    <dgm:cxn modelId="{92A5B395-CB17-4A96-84DA-2735A54B8AE7}" type="presParOf" srcId="{08B70DAC-320A-4DFB-AE24-D56786139EBC}" destId="{C3F0E0A0-DB67-4CF5-8BB0-ABC4A68F0A4A}" srcOrd="0" destOrd="0" presId="urn:microsoft.com/office/officeart/2005/8/layout/list1"/>
    <dgm:cxn modelId="{02B48D59-015E-4C0C-9018-3A1A43E1C399}" type="presParOf" srcId="{C3F0E0A0-DB67-4CF5-8BB0-ABC4A68F0A4A}" destId="{A5F0B516-A2F6-4CE4-BEBA-89B39652612B}" srcOrd="0" destOrd="0" presId="urn:microsoft.com/office/officeart/2005/8/layout/list1"/>
    <dgm:cxn modelId="{2179267F-10F4-4D07-B993-48EC7DF2DCCC}" type="presParOf" srcId="{C3F0E0A0-DB67-4CF5-8BB0-ABC4A68F0A4A}" destId="{3AD40822-D0F7-405C-A43B-CE4D829B28CD}" srcOrd="1" destOrd="0" presId="urn:microsoft.com/office/officeart/2005/8/layout/list1"/>
    <dgm:cxn modelId="{E7DA0E76-6680-45A6-80F1-BD79990030AB}" type="presParOf" srcId="{08B70DAC-320A-4DFB-AE24-D56786139EBC}" destId="{184D5C77-A416-4CC0-8ADD-9843A53F3EE7}" srcOrd="1" destOrd="0" presId="urn:microsoft.com/office/officeart/2005/8/layout/list1"/>
    <dgm:cxn modelId="{CC516943-B873-42EA-9EFC-62B6504F1984}" type="presParOf" srcId="{08B70DAC-320A-4DFB-AE24-D56786139EBC}" destId="{DE49C234-723A-4BDE-AC95-03F9FB295F41}" srcOrd="2" destOrd="0" presId="urn:microsoft.com/office/officeart/2005/8/layout/list1"/>
    <dgm:cxn modelId="{A1EA9B1A-E8F4-4956-BC80-ED04413697CD}" type="presParOf" srcId="{08B70DAC-320A-4DFB-AE24-D56786139EBC}" destId="{2C0F0824-DE7E-439F-9C77-84FDAD889741}" srcOrd="3" destOrd="0" presId="urn:microsoft.com/office/officeart/2005/8/layout/list1"/>
    <dgm:cxn modelId="{2FE754A0-4FEA-4C57-A935-5B704DADEE15}" type="presParOf" srcId="{08B70DAC-320A-4DFB-AE24-D56786139EBC}" destId="{2682F373-D0E2-47DD-8D85-39A7347EAF66}" srcOrd="4" destOrd="0" presId="urn:microsoft.com/office/officeart/2005/8/layout/list1"/>
    <dgm:cxn modelId="{4661C70D-7925-4EE6-BAB2-8DF50B4151D9}" type="presParOf" srcId="{2682F373-D0E2-47DD-8D85-39A7347EAF66}" destId="{EA306DFC-DA3B-4982-AE25-13956C56B7BB}" srcOrd="0" destOrd="0" presId="urn:microsoft.com/office/officeart/2005/8/layout/list1"/>
    <dgm:cxn modelId="{C09EF9D2-8540-4B32-9E4F-902603F49CD3}" type="presParOf" srcId="{2682F373-D0E2-47DD-8D85-39A7347EAF66}" destId="{902416DC-60D1-44E1-A9BA-CB288DCD1D84}" srcOrd="1" destOrd="0" presId="urn:microsoft.com/office/officeart/2005/8/layout/list1"/>
    <dgm:cxn modelId="{96FC8F0F-42CD-4DF4-8A40-20B799001C2E}" type="presParOf" srcId="{08B70DAC-320A-4DFB-AE24-D56786139EBC}" destId="{BDBF67E1-C5D9-4A19-9951-A767C24AF6E2}" srcOrd="5" destOrd="0" presId="urn:microsoft.com/office/officeart/2005/8/layout/list1"/>
    <dgm:cxn modelId="{119853EA-841C-47E2-BF6E-30A24C271DFC}" type="presParOf" srcId="{08B70DAC-320A-4DFB-AE24-D56786139EBC}" destId="{F8D3E4B6-63BC-4D03-8AB8-DA50D9D29A49}"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3FC17F7E-8799-4FFE-A1EE-C810F4CC96E3}"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7AAA4C43-D9DB-4F29-97D7-E3B947716ECF}">
      <dgm:prSet/>
      <dgm:spPr/>
      <dgm:t>
        <a:bodyPr/>
        <a:lstStyle/>
        <a:p>
          <a:r>
            <a:rPr lang="en-US" dirty="0"/>
            <a:t>Up to, and including, SQL Server 2014 (12.x)</a:t>
          </a:r>
        </a:p>
      </dgm:t>
    </dgm:pt>
    <dgm:pt modelId="{4466761A-BD17-4C28-940B-C28E21B379A0}" type="parTrans" cxnId="{DB9DC1ED-1FE5-4FB1-967B-2C9C8724B23E}">
      <dgm:prSet/>
      <dgm:spPr/>
      <dgm:t>
        <a:bodyPr/>
        <a:lstStyle/>
        <a:p>
          <a:endParaRPr lang="en-US"/>
        </a:p>
      </dgm:t>
    </dgm:pt>
    <dgm:pt modelId="{D18106D1-A459-4BFF-A2BA-6425E46DBD38}" type="sibTrans" cxnId="{DB9DC1ED-1FE5-4FB1-967B-2C9C8724B23E}">
      <dgm:prSet/>
      <dgm:spPr/>
      <dgm:t>
        <a:bodyPr/>
        <a:lstStyle/>
        <a:p>
          <a:endParaRPr lang="en-US"/>
        </a:p>
      </dgm:t>
    </dgm:pt>
    <dgm:pt modelId="{5445597E-6F6D-483D-8CAA-595C87CE0824}">
      <dgm:prSet/>
      <dgm:spPr/>
      <dgm:t>
        <a:bodyPr/>
        <a:lstStyle/>
        <a:p>
          <a:r>
            <a:rPr lang="en-US" dirty="0"/>
            <a:t>Trace flag 1118 is used to change default allocation to use uniform extents</a:t>
          </a:r>
        </a:p>
      </dgm:t>
    </dgm:pt>
    <dgm:pt modelId="{C1E45238-B037-4233-A442-01B7335DFA58}" type="parTrans" cxnId="{9386FBEF-21C8-4AC4-A18A-639D5263B30D}">
      <dgm:prSet/>
      <dgm:spPr/>
      <dgm:t>
        <a:bodyPr/>
        <a:lstStyle/>
        <a:p>
          <a:endParaRPr lang="en-US"/>
        </a:p>
      </dgm:t>
    </dgm:pt>
    <dgm:pt modelId="{5945E832-22AE-4E33-815C-7DC34A4E92E3}" type="sibTrans" cxnId="{9386FBEF-21C8-4AC4-A18A-639D5263B30D}">
      <dgm:prSet/>
      <dgm:spPr/>
      <dgm:t>
        <a:bodyPr/>
        <a:lstStyle/>
        <a:p>
          <a:endParaRPr lang="en-US"/>
        </a:p>
      </dgm:t>
    </dgm:pt>
    <dgm:pt modelId="{7F5C0123-C219-49A7-818E-E9F625B5AD27}">
      <dgm:prSet/>
      <dgm:spPr/>
      <dgm:t>
        <a:bodyPr/>
        <a:lstStyle/>
        <a:p>
          <a:r>
            <a:rPr lang="en-US" dirty="0"/>
            <a:t>Starting with SQL Server 2016 (13.x) </a:t>
          </a:r>
        </a:p>
      </dgm:t>
    </dgm:pt>
    <dgm:pt modelId="{F3DB191E-AEC5-4206-8F75-B71379240DA3}" type="parTrans" cxnId="{768C19B3-3739-41E3-BA1E-0C897DF8E18C}">
      <dgm:prSet/>
      <dgm:spPr/>
      <dgm:t>
        <a:bodyPr/>
        <a:lstStyle/>
        <a:p>
          <a:endParaRPr lang="en-US"/>
        </a:p>
      </dgm:t>
    </dgm:pt>
    <dgm:pt modelId="{A7F08836-D840-4C82-A6F1-E8FCB0F2341D}" type="sibTrans" cxnId="{768C19B3-3739-41E3-BA1E-0C897DF8E18C}">
      <dgm:prSet/>
      <dgm:spPr/>
      <dgm:t>
        <a:bodyPr/>
        <a:lstStyle/>
        <a:p>
          <a:endParaRPr lang="en-US"/>
        </a:p>
      </dgm:t>
    </dgm:pt>
    <dgm:pt modelId="{0BEAA0A9-341B-4934-A45F-5E87E1EDFD82}">
      <dgm:prSet/>
      <dgm:spPr/>
      <dgm:t>
        <a:bodyPr/>
        <a:lstStyle/>
        <a:p>
          <a:r>
            <a:rPr lang="en-US" dirty="0"/>
            <a:t>For TempDB: TF 1118 functionality is automatically enabled. </a:t>
          </a:r>
        </a:p>
      </dgm:t>
    </dgm:pt>
    <dgm:pt modelId="{8DC7011F-D8AD-445D-BD69-222D3242E28F}" type="parTrans" cxnId="{01A970F7-EB66-4EFD-B44C-0A836F8B623A}">
      <dgm:prSet/>
      <dgm:spPr/>
      <dgm:t>
        <a:bodyPr/>
        <a:lstStyle/>
        <a:p>
          <a:endParaRPr lang="en-US"/>
        </a:p>
      </dgm:t>
    </dgm:pt>
    <dgm:pt modelId="{5EC97181-A796-47A0-A144-2F3FEF7879B5}" type="sibTrans" cxnId="{01A970F7-EB66-4EFD-B44C-0A836F8B623A}">
      <dgm:prSet/>
      <dgm:spPr/>
      <dgm:t>
        <a:bodyPr/>
        <a:lstStyle/>
        <a:p>
          <a:endParaRPr lang="en-US"/>
        </a:p>
      </dgm:t>
    </dgm:pt>
    <dgm:pt modelId="{ECFB797F-F6BF-4101-9F19-26C04A0EF732}">
      <dgm:prSet/>
      <dgm:spPr/>
      <dgm:t>
        <a:bodyPr/>
        <a:lstStyle/>
        <a:p>
          <a:r>
            <a:rPr lang="en-US" dirty="0"/>
            <a:t>For user databases: behavior controlled with SET MIXED_PAGE_ALLOCATION option of ALTER DATABASE </a:t>
          </a:r>
        </a:p>
      </dgm:t>
    </dgm:pt>
    <dgm:pt modelId="{0D75F6B4-DD2A-4716-9B40-DBB23F0726F5}" type="parTrans" cxnId="{A20E608C-EB31-4EA8-9B59-B044C18E5D6B}">
      <dgm:prSet/>
      <dgm:spPr/>
      <dgm:t>
        <a:bodyPr/>
        <a:lstStyle/>
        <a:p>
          <a:endParaRPr lang="en-US"/>
        </a:p>
      </dgm:t>
    </dgm:pt>
    <dgm:pt modelId="{87011633-9995-4869-AE85-D69022ED095A}" type="sibTrans" cxnId="{A20E608C-EB31-4EA8-9B59-B044C18E5D6B}">
      <dgm:prSet/>
      <dgm:spPr/>
      <dgm:t>
        <a:bodyPr/>
        <a:lstStyle/>
        <a:p>
          <a:endParaRPr lang="en-US"/>
        </a:p>
      </dgm:t>
    </dgm:pt>
    <dgm:pt modelId="{48EF91F3-48BA-4279-A0D7-32A74644C3BD}">
      <dgm:prSet/>
      <dgm:spPr/>
      <dgm:t>
        <a:bodyPr/>
        <a:lstStyle/>
        <a:p>
          <a:r>
            <a:rPr lang="en-US" dirty="0"/>
            <a:t>default value set to OFF</a:t>
          </a:r>
        </a:p>
      </dgm:t>
    </dgm:pt>
    <dgm:pt modelId="{758B058A-5D08-490D-B5FB-737D79F8AAD9}" type="parTrans" cxnId="{A513893A-07B1-4C6A-961C-99CB194FE3A6}">
      <dgm:prSet/>
      <dgm:spPr/>
      <dgm:t>
        <a:bodyPr/>
        <a:lstStyle/>
        <a:p>
          <a:endParaRPr lang="en-US"/>
        </a:p>
      </dgm:t>
    </dgm:pt>
    <dgm:pt modelId="{A9505A1C-B97A-40C6-BE35-8CCEC8CBE37A}" type="sibTrans" cxnId="{A513893A-07B1-4C6A-961C-99CB194FE3A6}">
      <dgm:prSet/>
      <dgm:spPr/>
      <dgm:t>
        <a:bodyPr/>
        <a:lstStyle/>
        <a:p>
          <a:endParaRPr lang="en-US"/>
        </a:p>
      </dgm:t>
    </dgm:pt>
    <dgm:pt modelId="{80F9227B-93EC-4240-B4E6-B48E94D84F7F}">
      <dgm:prSet/>
      <dgm:spPr/>
      <dgm:t>
        <a:bodyPr/>
        <a:lstStyle/>
        <a:p>
          <a:r>
            <a:rPr lang="en-US" dirty="0"/>
            <a:t>TF 1118 has no effect. </a:t>
          </a:r>
        </a:p>
      </dgm:t>
    </dgm:pt>
    <dgm:pt modelId="{127EC1CD-F8BE-4B42-BD5A-CBE212853D92}" type="parTrans" cxnId="{6AC7B767-1EF7-4E04-B391-6218559687AF}">
      <dgm:prSet/>
      <dgm:spPr/>
      <dgm:t>
        <a:bodyPr/>
        <a:lstStyle/>
        <a:p>
          <a:endParaRPr lang="en-US"/>
        </a:p>
      </dgm:t>
    </dgm:pt>
    <dgm:pt modelId="{F0A5A055-7567-4CEE-B944-31068F19BFA6}" type="sibTrans" cxnId="{6AC7B767-1EF7-4E04-B391-6218559687AF}">
      <dgm:prSet/>
      <dgm:spPr/>
      <dgm:t>
        <a:bodyPr/>
        <a:lstStyle/>
        <a:p>
          <a:endParaRPr lang="en-US"/>
        </a:p>
      </dgm:t>
    </dgm:pt>
    <dgm:pt modelId="{8EAE4144-476E-4E43-A493-21D0BD4D4553}" type="pres">
      <dgm:prSet presAssocID="{3FC17F7E-8799-4FFE-A1EE-C810F4CC96E3}" presName="linear" presStyleCnt="0">
        <dgm:presLayoutVars>
          <dgm:dir/>
          <dgm:animLvl val="lvl"/>
          <dgm:resizeHandles val="exact"/>
        </dgm:presLayoutVars>
      </dgm:prSet>
      <dgm:spPr/>
    </dgm:pt>
    <dgm:pt modelId="{58AEB30C-265E-4A68-862B-B8BFCFBB49AF}" type="pres">
      <dgm:prSet presAssocID="{7AAA4C43-D9DB-4F29-97D7-E3B947716ECF}" presName="parentLin" presStyleCnt="0"/>
      <dgm:spPr/>
    </dgm:pt>
    <dgm:pt modelId="{7C5D412E-EC6A-4D9B-8054-38C3BFA5DCC3}" type="pres">
      <dgm:prSet presAssocID="{7AAA4C43-D9DB-4F29-97D7-E3B947716ECF}" presName="parentLeftMargin" presStyleLbl="node1" presStyleIdx="0" presStyleCnt="2"/>
      <dgm:spPr/>
    </dgm:pt>
    <dgm:pt modelId="{8C141144-BE9A-4ADC-8E56-27B68CEDA7A5}" type="pres">
      <dgm:prSet presAssocID="{7AAA4C43-D9DB-4F29-97D7-E3B947716ECF}" presName="parentText" presStyleLbl="node1" presStyleIdx="0" presStyleCnt="2">
        <dgm:presLayoutVars>
          <dgm:chMax val="0"/>
          <dgm:bulletEnabled val="1"/>
        </dgm:presLayoutVars>
      </dgm:prSet>
      <dgm:spPr/>
    </dgm:pt>
    <dgm:pt modelId="{B6BB2708-00C5-4F13-B9CE-4536541B3523}" type="pres">
      <dgm:prSet presAssocID="{7AAA4C43-D9DB-4F29-97D7-E3B947716ECF}" presName="negativeSpace" presStyleCnt="0"/>
      <dgm:spPr/>
    </dgm:pt>
    <dgm:pt modelId="{3926BE7E-BB42-40A4-8B14-2BC2362B0DA7}" type="pres">
      <dgm:prSet presAssocID="{7AAA4C43-D9DB-4F29-97D7-E3B947716ECF}" presName="childText" presStyleLbl="conFgAcc1" presStyleIdx="0" presStyleCnt="2">
        <dgm:presLayoutVars>
          <dgm:bulletEnabled val="1"/>
        </dgm:presLayoutVars>
      </dgm:prSet>
      <dgm:spPr/>
    </dgm:pt>
    <dgm:pt modelId="{9338B91D-26E6-46E2-8736-6ACE584B81E8}" type="pres">
      <dgm:prSet presAssocID="{D18106D1-A459-4BFF-A2BA-6425E46DBD38}" presName="spaceBetweenRectangles" presStyleCnt="0"/>
      <dgm:spPr/>
    </dgm:pt>
    <dgm:pt modelId="{4DAEA224-E93B-4988-B4B9-B139491598B5}" type="pres">
      <dgm:prSet presAssocID="{7F5C0123-C219-49A7-818E-E9F625B5AD27}" presName="parentLin" presStyleCnt="0"/>
      <dgm:spPr/>
    </dgm:pt>
    <dgm:pt modelId="{9F446210-9B41-4CA0-AC4D-0B862685452A}" type="pres">
      <dgm:prSet presAssocID="{7F5C0123-C219-49A7-818E-E9F625B5AD27}" presName="parentLeftMargin" presStyleLbl="node1" presStyleIdx="0" presStyleCnt="2"/>
      <dgm:spPr/>
    </dgm:pt>
    <dgm:pt modelId="{164A6808-8EE2-47A5-93C4-FA0FBCBBA633}" type="pres">
      <dgm:prSet presAssocID="{7F5C0123-C219-49A7-818E-E9F625B5AD27}" presName="parentText" presStyleLbl="node1" presStyleIdx="1" presStyleCnt="2">
        <dgm:presLayoutVars>
          <dgm:chMax val="0"/>
          <dgm:bulletEnabled val="1"/>
        </dgm:presLayoutVars>
      </dgm:prSet>
      <dgm:spPr/>
    </dgm:pt>
    <dgm:pt modelId="{4F4C6E12-71C2-48B6-A5FA-3768193F5C27}" type="pres">
      <dgm:prSet presAssocID="{7F5C0123-C219-49A7-818E-E9F625B5AD27}" presName="negativeSpace" presStyleCnt="0"/>
      <dgm:spPr/>
    </dgm:pt>
    <dgm:pt modelId="{87CA896E-F38B-413B-8D64-35A7D0637E54}" type="pres">
      <dgm:prSet presAssocID="{7F5C0123-C219-49A7-818E-E9F625B5AD27}" presName="childText" presStyleLbl="conFgAcc1" presStyleIdx="1" presStyleCnt="2">
        <dgm:presLayoutVars>
          <dgm:bulletEnabled val="1"/>
        </dgm:presLayoutVars>
      </dgm:prSet>
      <dgm:spPr/>
    </dgm:pt>
  </dgm:ptLst>
  <dgm:cxnLst>
    <dgm:cxn modelId="{0B3B0901-534F-4D29-B231-1F606E8A6E8E}" type="presOf" srcId="{7AAA4C43-D9DB-4F29-97D7-E3B947716ECF}" destId="{7C5D412E-EC6A-4D9B-8054-38C3BFA5DCC3}" srcOrd="0" destOrd="0" presId="urn:microsoft.com/office/officeart/2005/8/layout/list1"/>
    <dgm:cxn modelId="{915E2F16-929D-4395-9BB1-4C77A68C97A9}" type="presOf" srcId="{7F5C0123-C219-49A7-818E-E9F625B5AD27}" destId="{164A6808-8EE2-47A5-93C4-FA0FBCBBA633}" srcOrd="1" destOrd="0" presId="urn:microsoft.com/office/officeart/2005/8/layout/list1"/>
    <dgm:cxn modelId="{C2C6572E-2D3A-4208-B398-A2585418B285}" type="presOf" srcId="{7F5C0123-C219-49A7-818E-E9F625B5AD27}" destId="{9F446210-9B41-4CA0-AC4D-0B862685452A}" srcOrd="0" destOrd="0" presId="urn:microsoft.com/office/officeart/2005/8/layout/list1"/>
    <dgm:cxn modelId="{09216A35-86EC-4FA8-BC49-FF0061EABFB8}" type="presOf" srcId="{80F9227B-93EC-4240-B4E6-B48E94D84F7F}" destId="{87CA896E-F38B-413B-8D64-35A7D0637E54}" srcOrd="0" destOrd="3" presId="urn:microsoft.com/office/officeart/2005/8/layout/list1"/>
    <dgm:cxn modelId="{A513893A-07B1-4C6A-961C-99CB194FE3A6}" srcId="{ECFB797F-F6BF-4101-9F19-26C04A0EF732}" destId="{48EF91F3-48BA-4279-A0D7-32A74644C3BD}" srcOrd="0" destOrd="0" parTransId="{758B058A-5D08-490D-B5FB-737D79F8AAD9}" sibTransId="{A9505A1C-B97A-40C6-BE35-8CCEC8CBE37A}"/>
    <dgm:cxn modelId="{9AAB775F-4776-4843-82FB-32B99FBD7B26}" type="presOf" srcId="{7AAA4C43-D9DB-4F29-97D7-E3B947716ECF}" destId="{8C141144-BE9A-4ADC-8E56-27B68CEDA7A5}" srcOrd="1" destOrd="0" presId="urn:microsoft.com/office/officeart/2005/8/layout/list1"/>
    <dgm:cxn modelId="{6AC7B767-1EF7-4E04-B391-6218559687AF}" srcId="{ECFB797F-F6BF-4101-9F19-26C04A0EF732}" destId="{80F9227B-93EC-4240-B4E6-B48E94D84F7F}" srcOrd="1" destOrd="0" parTransId="{127EC1CD-F8BE-4B42-BD5A-CBE212853D92}" sibTransId="{F0A5A055-7567-4CEE-B944-31068F19BFA6}"/>
    <dgm:cxn modelId="{7DD45674-6F70-4FFC-9755-12B4F241FF84}" type="presOf" srcId="{ECFB797F-F6BF-4101-9F19-26C04A0EF732}" destId="{87CA896E-F38B-413B-8D64-35A7D0637E54}" srcOrd="0" destOrd="1" presId="urn:microsoft.com/office/officeart/2005/8/layout/list1"/>
    <dgm:cxn modelId="{2A61AC5A-C2F9-4B9D-ACFE-4292BA0D63A3}" type="presOf" srcId="{0BEAA0A9-341B-4934-A45F-5E87E1EDFD82}" destId="{87CA896E-F38B-413B-8D64-35A7D0637E54}" srcOrd="0" destOrd="0" presId="urn:microsoft.com/office/officeart/2005/8/layout/list1"/>
    <dgm:cxn modelId="{A20E608C-EB31-4EA8-9B59-B044C18E5D6B}" srcId="{7F5C0123-C219-49A7-818E-E9F625B5AD27}" destId="{ECFB797F-F6BF-4101-9F19-26C04A0EF732}" srcOrd="1" destOrd="0" parTransId="{0D75F6B4-DD2A-4716-9B40-DBB23F0726F5}" sibTransId="{87011633-9995-4869-AE85-D69022ED095A}"/>
    <dgm:cxn modelId="{902F3FA6-06D4-466F-84F6-EBE1E029E909}" type="presOf" srcId="{5445597E-6F6D-483D-8CAA-595C87CE0824}" destId="{3926BE7E-BB42-40A4-8B14-2BC2362B0DA7}" srcOrd="0" destOrd="0" presId="urn:microsoft.com/office/officeart/2005/8/layout/list1"/>
    <dgm:cxn modelId="{768C19B3-3739-41E3-BA1E-0C897DF8E18C}" srcId="{3FC17F7E-8799-4FFE-A1EE-C810F4CC96E3}" destId="{7F5C0123-C219-49A7-818E-E9F625B5AD27}" srcOrd="1" destOrd="0" parTransId="{F3DB191E-AEC5-4206-8F75-B71379240DA3}" sibTransId="{A7F08836-D840-4C82-A6F1-E8FCB0F2341D}"/>
    <dgm:cxn modelId="{DB38E5C1-B5B5-4C6C-9214-681F0FF58738}" type="presOf" srcId="{3FC17F7E-8799-4FFE-A1EE-C810F4CC96E3}" destId="{8EAE4144-476E-4E43-A493-21D0BD4D4553}" srcOrd="0" destOrd="0" presId="urn:microsoft.com/office/officeart/2005/8/layout/list1"/>
    <dgm:cxn modelId="{C2A724EA-7C6A-465D-8236-90410E86CD58}" type="presOf" srcId="{48EF91F3-48BA-4279-A0D7-32A74644C3BD}" destId="{87CA896E-F38B-413B-8D64-35A7D0637E54}" srcOrd="0" destOrd="2" presId="urn:microsoft.com/office/officeart/2005/8/layout/list1"/>
    <dgm:cxn modelId="{DB9DC1ED-1FE5-4FB1-967B-2C9C8724B23E}" srcId="{3FC17F7E-8799-4FFE-A1EE-C810F4CC96E3}" destId="{7AAA4C43-D9DB-4F29-97D7-E3B947716ECF}" srcOrd="0" destOrd="0" parTransId="{4466761A-BD17-4C28-940B-C28E21B379A0}" sibTransId="{D18106D1-A459-4BFF-A2BA-6425E46DBD38}"/>
    <dgm:cxn modelId="{9386FBEF-21C8-4AC4-A18A-639D5263B30D}" srcId="{7AAA4C43-D9DB-4F29-97D7-E3B947716ECF}" destId="{5445597E-6F6D-483D-8CAA-595C87CE0824}" srcOrd="0" destOrd="0" parTransId="{C1E45238-B037-4233-A442-01B7335DFA58}" sibTransId="{5945E832-22AE-4E33-815C-7DC34A4E92E3}"/>
    <dgm:cxn modelId="{01A970F7-EB66-4EFD-B44C-0A836F8B623A}" srcId="{7F5C0123-C219-49A7-818E-E9F625B5AD27}" destId="{0BEAA0A9-341B-4934-A45F-5E87E1EDFD82}" srcOrd="0" destOrd="0" parTransId="{8DC7011F-D8AD-445D-BD69-222D3242E28F}" sibTransId="{5EC97181-A796-47A0-A144-2F3FEF7879B5}"/>
    <dgm:cxn modelId="{D0695E84-1959-461E-AF62-A75B3E7F50B1}" type="presParOf" srcId="{8EAE4144-476E-4E43-A493-21D0BD4D4553}" destId="{58AEB30C-265E-4A68-862B-B8BFCFBB49AF}" srcOrd="0" destOrd="0" presId="urn:microsoft.com/office/officeart/2005/8/layout/list1"/>
    <dgm:cxn modelId="{B440AE2C-5F0E-4EA9-AEE6-AAFBAC96765A}" type="presParOf" srcId="{58AEB30C-265E-4A68-862B-B8BFCFBB49AF}" destId="{7C5D412E-EC6A-4D9B-8054-38C3BFA5DCC3}" srcOrd="0" destOrd="0" presId="urn:microsoft.com/office/officeart/2005/8/layout/list1"/>
    <dgm:cxn modelId="{383E2630-7C3B-4872-BA9B-0A2048FC07A9}" type="presParOf" srcId="{58AEB30C-265E-4A68-862B-B8BFCFBB49AF}" destId="{8C141144-BE9A-4ADC-8E56-27B68CEDA7A5}" srcOrd="1" destOrd="0" presId="urn:microsoft.com/office/officeart/2005/8/layout/list1"/>
    <dgm:cxn modelId="{CF5B96DF-A205-41B0-B496-FB2375B08AFD}" type="presParOf" srcId="{8EAE4144-476E-4E43-A493-21D0BD4D4553}" destId="{B6BB2708-00C5-4F13-B9CE-4536541B3523}" srcOrd="1" destOrd="0" presId="urn:microsoft.com/office/officeart/2005/8/layout/list1"/>
    <dgm:cxn modelId="{853D63F3-0735-48C7-B877-564B54D7403F}" type="presParOf" srcId="{8EAE4144-476E-4E43-A493-21D0BD4D4553}" destId="{3926BE7E-BB42-40A4-8B14-2BC2362B0DA7}" srcOrd="2" destOrd="0" presId="urn:microsoft.com/office/officeart/2005/8/layout/list1"/>
    <dgm:cxn modelId="{0EBF8A5F-4408-4D27-9BE0-AE8D8C9B7FD5}" type="presParOf" srcId="{8EAE4144-476E-4E43-A493-21D0BD4D4553}" destId="{9338B91D-26E6-46E2-8736-6ACE584B81E8}" srcOrd="3" destOrd="0" presId="urn:microsoft.com/office/officeart/2005/8/layout/list1"/>
    <dgm:cxn modelId="{8BCAEFFA-9DBC-4D86-98A9-3CB27DB49915}" type="presParOf" srcId="{8EAE4144-476E-4E43-A493-21D0BD4D4553}" destId="{4DAEA224-E93B-4988-B4B9-B139491598B5}" srcOrd="4" destOrd="0" presId="urn:microsoft.com/office/officeart/2005/8/layout/list1"/>
    <dgm:cxn modelId="{E6CCCD1A-646F-4564-9BD2-BB182ACC76AF}" type="presParOf" srcId="{4DAEA224-E93B-4988-B4B9-B139491598B5}" destId="{9F446210-9B41-4CA0-AC4D-0B862685452A}" srcOrd="0" destOrd="0" presId="urn:microsoft.com/office/officeart/2005/8/layout/list1"/>
    <dgm:cxn modelId="{71100A71-AE7B-4CC4-AA3A-7FA34DA5D023}" type="presParOf" srcId="{4DAEA224-E93B-4988-B4B9-B139491598B5}" destId="{164A6808-8EE2-47A5-93C4-FA0FBCBBA633}" srcOrd="1" destOrd="0" presId="urn:microsoft.com/office/officeart/2005/8/layout/list1"/>
    <dgm:cxn modelId="{D4745C0C-5DAD-4AB9-9E4E-AFFE433ADFAE}" type="presParOf" srcId="{8EAE4144-476E-4E43-A493-21D0BD4D4553}" destId="{4F4C6E12-71C2-48B6-A5FA-3768193F5C27}" srcOrd="5" destOrd="0" presId="urn:microsoft.com/office/officeart/2005/8/layout/list1"/>
    <dgm:cxn modelId="{74F94143-8934-4F99-A22B-0FC3F586E4C3}" type="presParOf" srcId="{8EAE4144-476E-4E43-A493-21D0BD4D4553}" destId="{87CA896E-F38B-413B-8D64-35A7D0637E54}"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A44A496D-BE87-4E12-A35E-5EFBE4B06F53}" type="doc">
      <dgm:prSet loTypeId="urn:microsoft.com/office/officeart/2005/8/layout/vList2" loCatId="list" qsTypeId="urn:microsoft.com/office/officeart/2005/8/quickstyle/simple1" qsCatId="simple" csTypeId="urn:microsoft.com/office/officeart/2005/8/colors/accent2_5" csCatId="accent2"/>
      <dgm:spPr/>
      <dgm:t>
        <a:bodyPr/>
        <a:lstStyle/>
        <a:p>
          <a:endParaRPr lang="en-US"/>
        </a:p>
      </dgm:t>
    </dgm:pt>
    <dgm:pt modelId="{D533C6D7-3C7E-4329-A917-6A1D1A39A955}">
      <dgm:prSet custT="1"/>
      <dgm:spPr/>
      <dgm:t>
        <a:bodyPr/>
        <a:lstStyle/>
        <a:p>
          <a:r>
            <a:rPr lang="en-US" sz="1400" dirty="0"/>
            <a:t>Although BCM pages appear in all databases, they are only relevant when the database is using the bulk-logged recovery model.</a:t>
          </a:r>
        </a:p>
      </dgm:t>
    </dgm:pt>
    <dgm:pt modelId="{5748877B-BCD9-40E1-81E3-F9C6FAC1C661}" type="parTrans" cxnId="{AF7C164F-695B-4934-AC5C-9916AB22A303}">
      <dgm:prSet/>
      <dgm:spPr/>
      <dgm:t>
        <a:bodyPr/>
        <a:lstStyle/>
        <a:p>
          <a:endParaRPr lang="en-US"/>
        </a:p>
      </dgm:t>
    </dgm:pt>
    <dgm:pt modelId="{8C846523-F9BC-482A-A28D-99372CD731B0}" type="sibTrans" cxnId="{AF7C164F-695B-4934-AC5C-9916AB22A303}">
      <dgm:prSet/>
      <dgm:spPr/>
      <dgm:t>
        <a:bodyPr/>
        <a:lstStyle/>
        <a:p>
          <a:endParaRPr lang="en-US"/>
        </a:p>
      </dgm:t>
    </dgm:pt>
    <dgm:pt modelId="{BB840DDB-1274-43EC-A9B7-E3C50FAA3566}" type="pres">
      <dgm:prSet presAssocID="{A44A496D-BE87-4E12-A35E-5EFBE4B06F53}" presName="linear" presStyleCnt="0">
        <dgm:presLayoutVars>
          <dgm:animLvl val="lvl"/>
          <dgm:resizeHandles val="exact"/>
        </dgm:presLayoutVars>
      </dgm:prSet>
      <dgm:spPr/>
    </dgm:pt>
    <dgm:pt modelId="{9A4671BD-453B-4DC7-AB38-1927A49795DB}" type="pres">
      <dgm:prSet presAssocID="{D533C6D7-3C7E-4329-A917-6A1D1A39A955}" presName="parentText" presStyleLbl="node1" presStyleIdx="0" presStyleCnt="1" custLinFactNeighborY="18013">
        <dgm:presLayoutVars>
          <dgm:chMax val="0"/>
          <dgm:bulletEnabled val="1"/>
        </dgm:presLayoutVars>
      </dgm:prSet>
      <dgm:spPr/>
    </dgm:pt>
  </dgm:ptLst>
  <dgm:cxnLst>
    <dgm:cxn modelId="{90D5CF2F-E8B1-4A36-BC62-8A5B7ABC4CC8}" type="presOf" srcId="{D533C6D7-3C7E-4329-A917-6A1D1A39A955}" destId="{9A4671BD-453B-4DC7-AB38-1927A49795DB}" srcOrd="0" destOrd="0" presId="urn:microsoft.com/office/officeart/2005/8/layout/vList2"/>
    <dgm:cxn modelId="{AF7C164F-695B-4934-AC5C-9916AB22A303}" srcId="{A44A496D-BE87-4E12-A35E-5EFBE4B06F53}" destId="{D533C6D7-3C7E-4329-A917-6A1D1A39A955}" srcOrd="0" destOrd="0" parTransId="{5748877B-BCD9-40E1-81E3-F9C6FAC1C661}" sibTransId="{8C846523-F9BC-482A-A28D-99372CD731B0}"/>
    <dgm:cxn modelId="{EBFC09FD-FC71-4360-953C-D968445E200C}" type="presOf" srcId="{A44A496D-BE87-4E12-A35E-5EFBE4B06F53}" destId="{BB840DDB-1274-43EC-A9B7-E3C50FAA3566}" srcOrd="0" destOrd="0" presId="urn:microsoft.com/office/officeart/2005/8/layout/vList2"/>
    <dgm:cxn modelId="{CF58E7B7-1CDF-4F7D-B078-A8684E7F1630}" type="presParOf" srcId="{BB840DDB-1274-43EC-A9B7-E3C50FAA3566}" destId="{9A4671BD-453B-4DC7-AB38-1927A49795DB}"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67C3D060-4C6A-4541-BF2F-6E0231E13AEF}" type="doc">
      <dgm:prSet loTypeId="urn:microsoft.com/office/officeart/2008/layout/VerticalCurvedList" loCatId="list" qsTypeId="urn:microsoft.com/office/officeart/2005/8/quickstyle/simple1" qsCatId="simple" csTypeId="urn:microsoft.com/office/officeart/2005/8/colors/colorful2" csCatId="colorful" phldr="1"/>
      <dgm:spPr/>
      <dgm:t>
        <a:bodyPr/>
        <a:lstStyle/>
        <a:p>
          <a:endParaRPr lang="en-US"/>
        </a:p>
      </dgm:t>
    </dgm:pt>
    <dgm:pt modelId="{14689F11-C203-4BE1-96C4-6C3E3107FC71}">
      <dgm:prSet/>
      <dgm:spPr/>
      <dgm:t>
        <a:bodyPr/>
        <a:lstStyle/>
        <a:p>
          <a:r>
            <a:rPr lang="en-US" dirty="0"/>
            <a:t>One .ldf file per database</a:t>
          </a:r>
        </a:p>
      </dgm:t>
    </dgm:pt>
    <dgm:pt modelId="{92A494D4-D862-4D2A-A2E9-B8EA44A8F33A}" type="parTrans" cxnId="{FD01D657-D196-4644-80C8-E484EE5CC606}">
      <dgm:prSet/>
      <dgm:spPr/>
      <dgm:t>
        <a:bodyPr/>
        <a:lstStyle/>
        <a:p>
          <a:endParaRPr lang="en-US"/>
        </a:p>
      </dgm:t>
    </dgm:pt>
    <dgm:pt modelId="{07C15CCD-45A4-4AC7-B601-92C58B79E4E0}" type="sibTrans" cxnId="{FD01D657-D196-4644-80C8-E484EE5CC606}">
      <dgm:prSet/>
      <dgm:spPr/>
      <dgm:t>
        <a:bodyPr/>
        <a:lstStyle/>
        <a:p>
          <a:endParaRPr lang="en-US"/>
        </a:p>
      </dgm:t>
    </dgm:pt>
    <dgm:pt modelId="{143AAB39-CFBB-4016-83C5-231E444DA3EC}">
      <dgm:prSet/>
      <dgm:spPr/>
      <dgm:t>
        <a:bodyPr/>
        <a:lstStyle/>
        <a:p>
          <a:r>
            <a:rPr lang="en-US" dirty="0"/>
            <a:t>Sequential reads and writes</a:t>
          </a:r>
        </a:p>
      </dgm:t>
    </dgm:pt>
    <dgm:pt modelId="{E638C5C4-90DB-4758-8B9D-79506308AEC9}" type="parTrans" cxnId="{CDC87E36-A4AA-4314-B8ED-E9281BC145ED}">
      <dgm:prSet/>
      <dgm:spPr/>
      <dgm:t>
        <a:bodyPr/>
        <a:lstStyle/>
        <a:p>
          <a:endParaRPr lang="en-US"/>
        </a:p>
      </dgm:t>
    </dgm:pt>
    <dgm:pt modelId="{FF4814A7-F598-46A7-AE46-3EA0F11BE055}" type="sibTrans" cxnId="{CDC87E36-A4AA-4314-B8ED-E9281BC145ED}">
      <dgm:prSet/>
      <dgm:spPr/>
      <dgm:t>
        <a:bodyPr/>
        <a:lstStyle/>
        <a:p>
          <a:endParaRPr lang="en-US"/>
        </a:p>
      </dgm:t>
    </dgm:pt>
    <dgm:pt modelId="{780059AB-DF52-40F8-808E-2E9416259547}">
      <dgm:prSet/>
      <dgm:spPr/>
      <dgm:t>
        <a:bodyPr/>
        <a:lstStyle/>
        <a:p>
          <a:r>
            <a:rPr lang="en-US" dirty="0"/>
            <a:t>Write activity during the log buffer flush operations</a:t>
          </a:r>
        </a:p>
      </dgm:t>
    </dgm:pt>
    <dgm:pt modelId="{7DAE21FC-E0DB-49FC-BB51-632A8740205B}" type="parTrans" cxnId="{673D0B1B-8843-4728-947B-A990209636F4}">
      <dgm:prSet/>
      <dgm:spPr/>
      <dgm:t>
        <a:bodyPr/>
        <a:lstStyle/>
        <a:p>
          <a:endParaRPr lang="en-US"/>
        </a:p>
      </dgm:t>
    </dgm:pt>
    <dgm:pt modelId="{0C1CFA90-2BF0-4BC0-9FE6-D6B5B531350B}" type="sibTrans" cxnId="{673D0B1B-8843-4728-947B-A990209636F4}">
      <dgm:prSet/>
      <dgm:spPr/>
      <dgm:t>
        <a:bodyPr/>
        <a:lstStyle/>
        <a:p>
          <a:endParaRPr lang="en-US"/>
        </a:p>
      </dgm:t>
    </dgm:pt>
    <dgm:pt modelId="{AD91E9CA-E574-4F0D-888A-ECA6B521D722}">
      <dgm:prSet/>
      <dgm:spPr/>
      <dgm:t>
        <a:bodyPr/>
        <a:lstStyle/>
        <a:p>
          <a:r>
            <a:rPr lang="en-US" dirty="0"/>
            <a:t>Read activity during checkpoints, backups, and recovery</a:t>
          </a:r>
        </a:p>
      </dgm:t>
    </dgm:pt>
    <dgm:pt modelId="{8F9FBF36-F8E0-438E-A8F0-0F7A97CDB3EC}" type="parTrans" cxnId="{574DB480-B0E2-479D-9A03-7ED1408B08F5}">
      <dgm:prSet/>
      <dgm:spPr/>
      <dgm:t>
        <a:bodyPr/>
        <a:lstStyle/>
        <a:p>
          <a:endParaRPr lang="en-US"/>
        </a:p>
      </dgm:t>
    </dgm:pt>
    <dgm:pt modelId="{83754F5F-C1D6-47F3-B30A-7041A3BFF0DB}" type="sibTrans" cxnId="{574DB480-B0E2-479D-9A03-7ED1408B08F5}">
      <dgm:prSet/>
      <dgm:spPr/>
      <dgm:t>
        <a:bodyPr/>
        <a:lstStyle/>
        <a:p>
          <a:endParaRPr lang="en-US"/>
        </a:p>
      </dgm:t>
    </dgm:pt>
    <dgm:pt modelId="{5471454B-BFAC-43D1-B7F5-EFE2C3C6D9B0}">
      <dgm:prSet/>
      <dgm:spPr/>
      <dgm:t>
        <a:bodyPr/>
        <a:lstStyle/>
        <a:p>
          <a:r>
            <a:rPr lang="en-US" dirty="0"/>
            <a:t>Features such as database mirroring and replication will increase read and write activity</a:t>
          </a:r>
        </a:p>
      </dgm:t>
    </dgm:pt>
    <dgm:pt modelId="{D4456C17-51AE-4586-B555-E41D74E55463}" type="parTrans" cxnId="{B8384336-6D6C-4A7F-A4D6-70E1FC4CBCEC}">
      <dgm:prSet/>
      <dgm:spPr/>
      <dgm:t>
        <a:bodyPr/>
        <a:lstStyle/>
        <a:p>
          <a:endParaRPr lang="en-US"/>
        </a:p>
      </dgm:t>
    </dgm:pt>
    <dgm:pt modelId="{6E7DAC68-43A1-41C0-BEFA-E3C2CDCDE6E1}" type="sibTrans" cxnId="{B8384336-6D6C-4A7F-A4D6-70E1FC4CBCEC}">
      <dgm:prSet/>
      <dgm:spPr/>
      <dgm:t>
        <a:bodyPr/>
        <a:lstStyle/>
        <a:p>
          <a:endParaRPr lang="en-US"/>
        </a:p>
      </dgm:t>
    </dgm:pt>
    <dgm:pt modelId="{B46134EC-9658-41BF-86F8-AF2EA102C3BD}" type="pres">
      <dgm:prSet presAssocID="{67C3D060-4C6A-4541-BF2F-6E0231E13AEF}" presName="Name0" presStyleCnt="0">
        <dgm:presLayoutVars>
          <dgm:chMax val="7"/>
          <dgm:chPref val="7"/>
          <dgm:dir/>
        </dgm:presLayoutVars>
      </dgm:prSet>
      <dgm:spPr/>
    </dgm:pt>
    <dgm:pt modelId="{862F238E-7AAC-4A89-86EF-4FBA759C82BB}" type="pres">
      <dgm:prSet presAssocID="{67C3D060-4C6A-4541-BF2F-6E0231E13AEF}" presName="Name1" presStyleCnt="0"/>
      <dgm:spPr/>
    </dgm:pt>
    <dgm:pt modelId="{846385BC-17D7-41E8-B064-D420CAE22700}" type="pres">
      <dgm:prSet presAssocID="{67C3D060-4C6A-4541-BF2F-6E0231E13AEF}" presName="cycle" presStyleCnt="0"/>
      <dgm:spPr/>
    </dgm:pt>
    <dgm:pt modelId="{D47C51E9-149A-4288-A30A-9BC046473F0D}" type="pres">
      <dgm:prSet presAssocID="{67C3D060-4C6A-4541-BF2F-6E0231E13AEF}" presName="srcNode" presStyleLbl="node1" presStyleIdx="0" presStyleCnt="5"/>
      <dgm:spPr/>
    </dgm:pt>
    <dgm:pt modelId="{166B62B5-D21B-4577-8B59-54E4FBFB3336}" type="pres">
      <dgm:prSet presAssocID="{67C3D060-4C6A-4541-BF2F-6E0231E13AEF}" presName="conn" presStyleLbl="parChTrans1D2" presStyleIdx="0" presStyleCnt="1"/>
      <dgm:spPr/>
    </dgm:pt>
    <dgm:pt modelId="{FD0517FA-FE97-4495-9554-F14BCDF7A692}" type="pres">
      <dgm:prSet presAssocID="{67C3D060-4C6A-4541-BF2F-6E0231E13AEF}" presName="extraNode" presStyleLbl="node1" presStyleIdx="0" presStyleCnt="5"/>
      <dgm:spPr/>
    </dgm:pt>
    <dgm:pt modelId="{D5DBC6BF-61B5-4863-AAD5-89738792C303}" type="pres">
      <dgm:prSet presAssocID="{67C3D060-4C6A-4541-BF2F-6E0231E13AEF}" presName="dstNode" presStyleLbl="node1" presStyleIdx="0" presStyleCnt="5"/>
      <dgm:spPr/>
    </dgm:pt>
    <dgm:pt modelId="{7E59AC26-1B75-4199-BB4D-634808FCADB0}" type="pres">
      <dgm:prSet presAssocID="{14689F11-C203-4BE1-96C4-6C3E3107FC71}" presName="text_1" presStyleLbl="node1" presStyleIdx="0" presStyleCnt="5">
        <dgm:presLayoutVars>
          <dgm:bulletEnabled val="1"/>
        </dgm:presLayoutVars>
      </dgm:prSet>
      <dgm:spPr/>
    </dgm:pt>
    <dgm:pt modelId="{E4ED8FCF-8B28-4CA4-845A-8093B2D83238}" type="pres">
      <dgm:prSet presAssocID="{14689F11-C203-4BE1-96C4-6C3E3107FC71}" presName="accent_1" presStyleCnt="0"/>
      <dgm:spPr/>
    </dgm:pt>
    <dgm:pt modelId="{861DC932-751C-424A-875F-E4841DC99BA3}" type="pres">
      <dgm:prSet presAssocID="{14689F11-C203-4BE1-96C4-6C3E3107FC71}" presName="accentRepeatNode" presStyleLbl="solidFgAcc1" presStyleIdx="0" presStyleCnt="5"/>
      <dgm:spPr/>
    </dgm:pt>
    <dgm:pt modelId="{EB45A9AB-CA98-4D96-8E24-FDEA17711EF4}" type="pres">
      <dgm:prSet presAssocID="{143AAB39-CFBB-4016-83C5-231E444DA3EC}" presName="text_2" presStyleLbl="node1" presStyleIdx="1" presStyleCnt="5">
        <dgm:presLayoutVars>
          <dgm:bulletEnabled val="1"/>
        </dgm:presLayoutVars>
      </dgm:prSet>
      <dgm:spPr/>
    </dgm:pt>
    <dgm:pt modelId="{9AC5970D-8C1E-4674-8AB0-247F5FB7D6B7}" type="pres">
      <dgm:prSet presAssocID="{143AAB39-CFBB-4016-83C5-231E444DA3EC}" presName="accent_2" presStyleCnt="0"/>
      <dgm:spPr/>
    </dgm:pt>
    <dgm:pt modelId="{57DAF8D8-8318-4562-BBB2-9B9DA1499FFD}" type="pres">
      <dgm:prSet presAssocID="{143AAB39-CFBB-4016-83C5-231E444DA3EC}" presName="accentRepeatNode" presStyleLbl="solidFgAcc1" presStyleIdx="1" presStyleCnt="5"/>
      <dgm:spPr/>
    </dgm:pt>
    <dgm:pt modelId="{F704E7CE-CEA4-491B-BF18-7827E2BB1B97}" type="pres">
      <dgm:prSet presAssocID="{780059AB-DF52-40F8-808E-2E9416259547}" presName="text_3" presStyleLbl="node1" presStyleIdx="2" presStyleCnt="5">
        <dgm:presLayoutVars>
          <dgm:bulletEnabled val="1"/>
        </dgm:presLayoutVars>
      </dgm:prSet>
      <dgm:spPr/>
    </dgm:pt>
    <dgm:pt modelId="{6DD0BBA1-7C67-4CE1-B3F0-740E6ECC5EED}" type="pres">
      <dgm:prSet presAssocID="{780059AB-DF52-40F8-808E-2E9416259547}" presName="accent_3" presStyleCnt="0"/>
      <dgm:spPr/>
    </dgm:pt>
    <dgm:pt modelId="{8D2A7DFF-22BB-40E1-A924-137C6AC119F2}" type="pres">
      <dgm:prSet presAssocID="{780059AB-DF52-40F8-808E-2E9416259547}" presName="accentRepeatNode" presStyleLbl="solidFgAcc1" presStyleIdx="2" presStyleCnt="5"/>
      <dgm:spPr/>
    </dgm:pt>
    <dgm:pt modelId="{7972774F-A97B-425D-8CDF-1B57EC9EA72A}" type="pres">
      <dgm:prSet presAssocID="{AD91E9CA-E574-4F0D-888A-ECA6B521D722}" presName="text_4" presStyleLbl="node1" presStyleIdx="3" presStyleCnt="5">
        <dgm:presLayoutVars>
          <dgm:bulletEnabled val="1"/>
        </dgm:presLayoutVars>
      </dgm:prSet>
      <dgm:spPr/>
    </dgm:pt>
    <dgm:pt modelId="{3A7819FC-37E1-4088-9592-AFC689C86C22}" type="pres">
      <dgm:prSet presAssocID="{AD91E9CA-E574-4F0D-888A-ECA6B521D722}" presName="accent_4" presStyleCnt="0"/>
      <dgm:spPr/>
    </dgm:pt>
    <dgm:pt modelId="{51597AEA-5E7F-4B28-98B4-4CA4F42CB811}" type="pres">
      <dgm:prSet presAssocID="{AD91E9CA-E574-4F0D-888A-ECA6B521D722}" presName="accentRepeatNode" presStyleLbl="solidFgAcc1" presStyleIdx="3" presStyleCnt="5"/>
      <dgm:spPr/>
    </dgm:pt>
    <dgm:pt modelId="{D49EF4B7-CC55-43EA-AF5E-19D2E8D7A578}" type="pres">
      <dgm:prSet presAssocID="{5471454B-BFAC-43D1-B7F5-EFE2C3C6D9B0}" presName="text_5" presStyleLbl="node1" presStyleIdx="4" presStyleCnt="5">
        <dgm:presLayoutVars>
          <dgm:bulletEnabled val="1"/>
        </dgm:presLayoutVars>
      </dgm:prSet>
      <dgm:spPr/>
    </dgm:pt>
    <dgm:pt modelId="{7FC0CA22-8C3B-406F-AC57-BF0ED1C2C345}" type="pres">
      <dgm:prSet presAssocID="{5471454B-BFAC-43D1-B7F5-EFE2C3C6D9B0}" presName="accent_5" presStyleCnt="0"/>
      <dgm:spPr/>
    </dgm:pt>
    <dgm:pt modelId="{B4557B4E-2930-43D2-97CA-B1759C6FB054}" type="pres">
      <dgm:prSet presAssocID="{5471454B-BFAC-43D1-B7F5-EFE2C3C6D9B0}" presName="accentRepeatNode" presStyleLbl="solidFgAcc1" presStyleIdx="4" presStyleCnt="5"/>
      <dgm:spPr/>
    </dgm:pt>
  </dgm:ptLst>
  <dgm:cxnLst>
    <dgm:cxn modelId="{673D0B1B-8843-4728-947B-A990209636F4}" srcId="{67C3D060-4C6A-4541-BF2F-6E0231E13AEF}" destId="{780059AB-DF52-40F8-808E-2E9416259547}" srcOrd="2" destOrd="0" parTransId="{7DAE21FC-E0DB-49FC-BB51-632A8740205B}" sibTransId="{0C1CFA90-2BF0-4BC0-9FE6-D6B5B531350B}"/>
    <dgm:cxn modelId="{B8384336-6D6C-4A7F-A4D6-70E1FC4CBCEC}" srcId="{67C3D060-4C6A-4541-BF2F-6E0231E13AEF}" destId="{5471454B-BFAC-43D1-B7F5-EFE2C3C6D9B0}" srcOrd="4" destOrd="0" parTransId="{D4456C17-51AE-4586-B555-E41D74E55463}" sibTransId="{6E7DAC68-43A1-41C0-BEFA-E3C2CDCDE6E1}"/>
    <dgm:cxn modelId="{CDC87E36-A4AA-4314-B8ED-E9281BC145ED}" srcId="{67C3D060-4C6A-4541-BF2F-6E0231E13AEF}" destId="{143AAB39-CFBB-4016-83C5-231E444DA3EC}" srcOrd="1" destOrd="0" parTransId="{E638C5C4-90DB-4758-8B9D-79506308AEC9}" sibTransId="{FF4814A7-F598-46A7-AE46-3EA0F11BE055}"/>
    <dgm:cxn modelId="{952CAA3C-D885-4AAE-BD15-0778394561BB}" type="presOf" srcId="{67C3D060-4C6A-4541-BF2F-6E0231E13AEF}" destId="{B46134EC-9658-41BF-86F8-AF2EA102C3BD}" srcOrd="0" destOrd="0" presId="urn:microsoft.com/office/officeart/2008/layout/VerticalCurvedList"/>
    <dgm:cxn modelId="{7C58735B-3D8E-4E7A-A8DD-3E76C1B40C69}" type="presOf" srcId="{14689F11-C203-4BE1-96C4-6C3E3107FC71}" destId="{7E59AC26-1B75-4199-BB4D-634808FCADB0}" srcOrd="0" destOrd="0" presId="urn:microsoft.com/office/officeart/2008/layout/VerticalCurvedList"/>
    <dgm:cxn modelId="{C00EA175-D486-49F9-9B88-FF23B13F15D8}" type="presOf" srcId="{AD91E9CA-E574-4F0D-888A-ECA6B521D722}" destId="{7972774F-A97B-425D-8CDF-1B57EC9EA72A}" srcOrd="0" destOrd="0" presId="urn:microsoft.com/office/officeart/2008/layout/VerticalCurvedList"/>
    <dgm:cxn modelId="{FD01D657-D196-4644-80C8-E484EE5CC606}" srcId="{67C3D060-4C6A-4541-BF2F-6E0231E13AEF}" destId="{14689F11-C203-4BE1-96C4-6C3E3107FC71}" srcOrd="0" destOrd="0" parTransId="{92A494D4-D862-4D2A-A2E9-B8EA44A8F33A}" sibTransId="{07C15CCD-45A4-4AC7-B601-92C58B79E4E0}"/>
    <dgm:cxn modelId="{574DB480-B0E2-479D-9A03-7ED1408B08F5}" srcId="{67C3D060-4C6A-4541-BF2F-6E0231E13AEF}" destId="{AD91E9CA-E574-4F0D-888A-ECA6B521D722}" srcOrd="3" destOrd="0" parTransId="{8F9FBF36-F8E0-438E-A8F0-0F7A97CDB3EC}" sibTransId="{83754F5F-C1D6-47F3-B30A-7041A3BFF0DB}"/>
    <dgm:cxn modelId="{DFFE20B4-E911-4386-98AA-8D4759AA52D6}" type="presOf" srcId="{5471454B-BFAC-43D1-B7F5-EFE2C3C6D9B0}" destId="{D49EF4B7-CC55-43EA-AF5E-19D2E8D7A578}" srcOrd="0" destOrd="0" presId="urn:microsoft.com/office/officeart/2008/layout/VerticalCurvedList"/>
    <dgm:cxn modelId="{DDB8FBCA-E38B-461F-AD80-3D82582896D7}" type="presOf" srcId="{780059AB-DF52-40F8-808E-2E9416259547}" destId="{F704E7CE-CEA4-491B-BF18-7827E2BB1B97}" srcOrd="0" destOrd="0" presId="urn:microsoft.com/office/officeart/2008/layout/VerticalCurvedList"/>
    <dgm:cxn modelId="{C2D9BCD4-E7DE-4E2F-AD42-D5C9C705F477}" type="presOf" srcId="{07C15CCD-45A4-4AC7-B601-92C58B79E4E0}" destId="{166B62B5-D21B-4577-8B59-54E4FBFB3336}" srcOrd="0" destOrd="0" presId="urn:microsoft.com/office/officeart/2008/layout/VerticalCurvedList"/>
    <dgm:cxn modelId="{7D238FE5-8132-45A3-8C0B-A42B585E6481}" type="presOf" srcId="{143AAB39-CFBB-4016-83C5-231E444DA3EC}" destId="{EB45A9AB-CA98-4D96-8E24-FDEA17711EF4}" srcOrd="0" destOrd="0" presId="urn:microsoft.com/office/officeart/2008/layout/VerticalCurvedList"/>
    <dgm:cxn modelId="{5B8065A2-5604-4422-B8A7-D63889CCA0C8}" type="presParOf" srcId="{B46134EC-9658-41BF-86F8-AF2EA102C3BD}" destId="{862F238E-7AAC-4A89-86EF-4FBA759C82BB}" srcOrd="0" destOrd="0" presId="urn:microsoft.com/office/officeart/2008/layout/VerticalCurvedList"/>
    <dgm:cxn modelId="{37B72BAB-C3EE-49AF-8934-971E8D930861}" type="presParOf" srcId="{862F238E-7AAC-4A89-86EF-4FBA759C82BB}" destId="{846385BC-17D7-41E8-B064-D420CAE22700}" srcOrd="0" destOrd="0" presId="urn:microsoft.com/office/officeart/2008/layout/VerticalCurvedList"/>
    <dgm:cxn modelId="{07009ADF-8B68-410E-B93A-C1BF42CE190A}" type="presParOf" srcId="{846385BC-17D7-41E8-B064-D420CAE22700}" destId="{D47C51E9-149A-4288-A30A-9BC046473F0D}" srcOrd="0" destOrd="0" presId="urn:microsoft.com/office/officeart/2008/layout/VerticalCurvedList"/>
    <dgm:cxn modelId="{DC1AE8F6-46A4-48B4-BE53-DF521F97A553}" type="presParOf" srcId="{846385BC-17D7-41E8-B064-D420CAE22700}" destId="{166B62B5-D21B-4577-8B59-54E4FBFB3336}" srcOrd="1" destOrd="0" presId="urn:microsoft.com/office/officeart/2008/layout/VerticalCurvedList"/>
    <dgm:cxn modelId="{6C4B77D2-234E-453D-B7C6-74FC17FF18EE}" type="presParOf" srcId="{846385BC-17D7-41E8-B064-D420CAE22700}" destId="{FD0517FA-FE97-4495-9554-F14BCDF7A692}" srcOrd="2" destOrd="0" presId="urn:microsoft.com/office/officeart/2008/layout/VerticalCurvedList"/>
    <dgm:cxn modelId="{5A21BAF4-B3C8-4483-B159-DA15CC03BC97}" type="presParOf" srcId="{846385BC-17D7-41E8-B064-D420CAE22700}" destId="{D5DBC6BF-61B5-4863-AAD5-89738792C303}" srcOrd="3" destOrd="0" presId="urn:microsoft.com/office/officeart/2008/layout/VerticalCurvedList"/>
    <dgm:cxn modelId="{A6DC3DF6-A8F9-4A8D-8CA1-4EA6303A18EC}" type="presParOf" srcId="{862F238E-7AAC-4A89-86EF-4FBA759C82BB}" destId="{7E59AC26-1B75-4199-BB4D-634808FCADB0}" srcOrd="1" destOrd="0" presId="urn:microsoft.com/office/officeart/2008/layout/VerticalCurvedList"/>
    <dgm:cxn modelId="{F46C211A-C3F8-41E4-9016-5B689447F899}" type="presParOf" srcId="{862F238E-7AAC-4A89-86EF-4FBA759C82BB}" destId="{E4ED8FCF-8B28-4CA4-845A-8093B2D83238}" srcOrd="2" destOrd="0" presId="urn:microsoft.com/office/officeart/2008/layout/VerticalCurvedList"/>
    <dgm:cxn modelId="{298101F7-1C1F-4048-AC80-E0094868403F}" type="presParOf" srcId="{E4ED8FCF-8B28-4CA4-845A-8093B2D83238}" destId="{861DC932-751C-424A-875F-E4841DC99BA3}" srcOrd="0" destOrd="0" presId="urn:microsoft.com/office/officeart/2008/layout/VerticalCurvedList"/>
    <dgm:cxn modelId="{1E3FFE94-32EA-4229-9A20-3AF76DE68A73}" type="presParOf" srcId="{862F238E-7AAC-4A89-86EF-4FBA759C82BB}" destId="{EB45A9AB-CA98-4D96-8E24-FDEA17711EF4}" srcOrd="3" destOrd="0" presId="urn:microsoft.com/office/officeart/2008/layout/VerticalCurvedList"/>
    <dgm:cxn modelId="{73E0EF20-4688-4D8D-9571-95B46C5B7B1A}" type="presParOf" srcId="{862F238E-7AAC-4A89-86EF-4FBA759C82BB}" destId="{9AC5970D-8C1E-4674-8AB0-247F5FB7D6B7}" srcOrd="4" destOrd="0" presId="urn:microsoft.com/office/officeart/2008/layout/VerticalCurvedList"/>
    <dgm:cxn modelId="{224945F1-5D32-4442-8B69-BDA2089DB00D}" type="presParOf" srcId="{9AC5970D-8C1E-4674-8AB0-247F5FB7D6B7}" destId="{57DAF8D8-8318-4562-BBB2-9B9DA1499FFD}" srcOrd="0" destOrd="0" presId="urn:microsoft.com/office/officeart/2008/layout/VerticalCurvedList"/>
    <dgm:cxn modelId="{20E3C875-125D-45B1-8419-3FE4A1179775}" type="presParOf" srcId="{862F238E-7AAC-4A89-86EF-4FBA759C82BB}" destId="{F704E7CE-CEA4-491B-BF18-7827E2BB1B97}" srcOrd="5" destOrd="0" presId="urn:microsoft.com/office/officeart/2008/layout/VerticalCurvedList"/>
    <dgm:cxn modelId="{7F08C853-2236-48E6-96FF-7AC7D19CF182}" type="presParOf" srcId="{862F238E-7AAC-4A89-86EF-4FBA759C82BB}" destId="{6DD0BBA1-7C67-4CE1-B3F0-740E6ECC5EED}" srcOrd="6" destOrd="0" presId="urn:microsoft.com/office/officeart/2008/layout/VerticalCurvedList"/>
    <dgm:cxn modelId="{A421347D-43FB-4DE9-8AF3-CF98EA52CDF2}" type="presParOf" srcId="{6DD0BBA1-7C67-4CE1-B3F0-740E6ECC5EED}" destId="{8D2A7DFF-22BB-40E1-A924-137C6AC119F2}" srcOrd="0" destOrd="0" presId="urn:microsoft.com/office/officeart/2008/layout/VerticalCurvedList"/>
    <dgm:cxn modelId="{3D4D121E-8B98-42BA-8CD4-17E30ED180E4}" type="presParOf" srcId="{862F238E-7AAC-4A89-86EF-4FBA759C82BB}" destId="{7972774F-A97B-425D-8CDF-1B57EC9EA72A}" srcOrd="7" destOrd="0" presId="urn:microsoft.com/office/officeart/2008/layout/VerticalCurvedList"/>
    <dgm:cxn modelId="{E89F0163-75F2-4A08-9CF7-FECAE6F06BF2}" type="presParOf" srcId="{862F238E-7AAC-4A89-86EF-4FBA759C82BB}" destId="{3A7819FC-37E1-4088-9592-AFC689C86C22}" srcOrd="8" destOrd="0" presId="urn:microsoft.com/office/officeart/2008/layout/VerticalCurvedList"/>
    <dgm:cxn modelId="{A43A211C-24C8-46CA-AF3F-2DABF29E0119}" type="presParOf" srcId="{3A7819FC-37E1-4088-9592-AFC689C86C22}" destId="{51597AEA-5E7F-4B28-98B4-4CA4F42CB811}" srcOrd="0" destOrd="0" presId="urn:microsoft.com/office/officeart/2008/layout/VerticalCurvedList"/>
    <dgm:cxn modelId="{D6C18C13-6501-4C84-8E8C-58D817B41E3A}" type="presParOf" srcId="{862F238E-7AAC-4A89-86EF-4FBA759C82BB}" destId="{D49EF4B7-CC55-43EA-AF5E-19D2E8D7A578}" srcOrd="9" destOrd="0" presId="urn:microsoft.com/office/officeart/2008/layout/VerticalCurvedList"/>
    <dgm:cxn modelId="{F6552786-9CB0-42FE-87EA-E18FE8DD2F4C}" type="presParOf" srcId="{862F238E-7AAC-4A89-86EF-4FBA759C82BB}" destId="{7FC0CA22-8C3B-406F-AC57-BF0ED1C2C345}" srcOrd="10" destOrd="0" presId="urn:microsoft.com/office/officeart/2008/layout/VerticalCurvedList"/>
    <dgm:cxn modelId="{E30DE260-AC79-4404-BCCA-4323F21E4EA1}" type="presParOf" srcId="{7FC0CA22-8C3B-406F-AC57-BF0ED1C2C345}" destId="{B4557B4E-2930-43D2-97CA-B1759C6FB054}"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0195313D-0556-45D8-AA7C-8AAEEB1DCCF3}" type="doc">
      <dgm:prSet loTypeId="urn:microsoft.com/office/officeart/2005/8/layout/vList2" loCatId="list" qsTypeId="urn:microsoft.com/office/officeart/2005/8/quickstyle/simple1" qsCatId="simple" csTypeId="urn:microsoft.com/office/officeart/2005/8/colors/accent3_3" csCatId="accent3" phldr="1"/>
      <dgm:spPr/>
      <dgm:t>
        <a:bodyPr/>
        <a:lstStyle/>
        <a:p>
          <a:endParaRPr lang="en-US"/>
        </a:p>
      </dgm:t>
    </dgm:pt>
    <dgm:pt modelId="{84A8B878-5E54-4A04-987C-B186B37A6D18}" type="pres">
      <dgm:prSet presAssocID="{0195313D-0556-45D8-AA7C-8AAEEB1DCCF3}" presName="linear" presStyleCnt="0">
        <dgm:presLayoutVars>
          <dgm:animLvl val="lvl"/>
          <dgm:resizeHandles val="exact"/>
        </dgm:presLayoutVars>
      </dgm:prSet>
      <dgm:spPr/>
    </dgm:pt>
  </dgm:ptLst>
  <dgm:cxnLst>
    <dgm:cxn modelId="{F93E6E0A-48E3-4A3E-8442-DA114A88506D}" type="presOf" srcId="{0195313D-0556-45D8-AA7C-8AAEEB1DCCF3}" destId="{84A8B878-5E54-4A04-987C-B186B37A6D18}" srcOrd="0"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9A4C2F51-3B3E-47C7-A8E9-939CADF7C7A5}"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72E5AEF3-EB76-4DBD-9D9F-EA59B88382FA}">
      <dgm:prSet/>
      <dgm:spPr/>
      <dgm:t>
        <a:bodyPr/>
        <a:lstStyle/>
        <a:p>
          <a:r>
            <a:rPr lang="en-US" dirty="0"/>
            <a:t>Sequence of log records contained in one or more physical files</a:t>
          </a:r>
        </a:p>
      </dgm:t>
    </dgm:pt>
    <dgm:pt modelId="{24A382AC-CA56-41E3-AA6B-43F175C8C4E4}" type="parTrans" cxnId="{6140656E-9ED4-42CB-B4FE-88852BC3A382}">
      <dgm:prSet/>
      <dgm:spPr/>
      <dgm:t>
        <a:bodyPr/>
        <a:lstStyle/>
        <a:p>
          <a:endParaRPr lang="en-US"/>
        </a:p>
      </dgm:t>
    </dgm:pt>
    <dgm:pt modelId="{844B8A17-188B-46C8-A847-432ABA649977}" type="sibTrans" cxnId="{6140656E-9ED4-42CB-B4FE-88852BC3A382}">
      <dgm:prSet/>
      <dgm:spPr/>
      <dgm:t>
        <a:bodyPr/>
        <a:lstStyle/>
        <a:p>
          <a:endParaRPr lang="en-US"/>
        </a:p>
      </dgm:t>
    </dgm:pt>
    <dgm:pt modelId="{56599ECF-F277-4F80-8DC8-989D2384246E}">
      <dgm:prSet/>
      <dgm:spPr/>
      <dgm:t>
        <a:bodyPr/>
        <a:lstStyle/>
        <a:p>
          <a:r>
            <a:rPr lang="en-US" dirty="0"/>
            <a:t>Records identified by increasing Logical Sequence Numbers (LSNs)</a:t>
          </a:r>
        </a:p>
      </dgm:t>
    </dgm:pt>
    <dgm:pt modelId="{5006F55C-A6FC-4AE8-B360-A0E147408B63}" type="parTrans" cxnId="{32B032E7-1153-4614-A649-62AC1FAA49B7}">
      <dgm:prSet/>
      <dgm:spPr/>
      <dgm:t>
        <a:bodyPr/>
        <a:lstStyle/>
        <a:p>
          <a:endParaRPr lang="en-US"/>
        </a:p>
      </dgm:t>
    </dgm:pt>
    <dgm:pt modelId="{DC7C86C7-6455-405A-8A46-C1FF8FBB8CE4}" type="sibTrans" cxnId="{32B032E7-1153-4614-A649-62AC1FAA49B7}">
      <dgm:prSet/>
      <dgm:spPr/>
      <dgm:t>
        <a:bodyPr/>
        <a:lstStyle/>
        <a:p>
          <a:endParaRPr lang="en-US"/>
        </a:p>
      </dgm:t>
    </dgm:pt>
    <dgm:pt modelId="{F8FCF762-9C20-4417-93FC-A4EB5CA6E100}">
      <dgm:prSet/>
      <dgm:spPr/>
      <dgm:t>
        <a:bodyPr/>
        <a:lstStyle/>
        <a:p>
          <a:r>
            <a:rPr lang="en-US" dirty="0"/>
            <a:t>Recorded operations:</a:t>
          </a:r>
        </a:p>
      </dgm:t>
    </dgm:pt>
    <dgm:pt modelId="{ECBD64AB-4CE1-4F04-9B42-BEE8DFC26A3A}" type="parTrans" cxnId="{951FBD89-3051-45E1-89CE-4742B5FD923F}">
      <dgm:prSet/>
      <dgm:spPr/>
      <dgm:t>
        <a:bodyPr/>
        <a:lstStyle/>
        <a:p>
          <a:endParaRPr lang="en-US"/>
        </a:p>
      </dgm:t>
    </dgm:pt>
    <dgm:pt modelId="{ACA003DC-BDEE-4386-8964-DC6F2DFCB6CA}" type="sibTrans" cxnId="{951FBD89-3051-45E1-89CE-4742B5FD923F}">
      <dgm:prSet/>
      <dgm:spPr/>
      <dgm:t>
        <a:bodyPr/>
        <a:lstStyle/>
        <a:p>
          <a:endParaRPr lang="en-US"/>
        </a:p>
      </dgm:t>
    </dgm:pt>
    <dgm:pt modelId="{4353CEA6-FAA4-48D9-BCD0-00692E4E5B4B}">
      <dgm:prSet/>
      <dgm:spPr/>
      <dgm:t>
        <a:bodyPr/>
        <a:lstStyle/>
        <a:p>
          <a:r>
            <a:rPr lang="en-US" dirty="0"/>
            <a:t>Start and end of each transaction</a:t>
          </a:r>
        </a:p>
      </dgm:t>
    </dgm:pt>
    <dgm:pt modelId="{FB9034CA-B724-4ADB-9071-0ABE7EBFC6C6}" type="parTrans" cxnId="{BC701080-AC89-4B4A-B424-B17B64A6EF1F}">
      <dgm:prSet/>
      <dgm:spPr/>
      <dgm:t>
        <a:bodyPr/>
        <a:lstStyle/>
        <a:p>
          <a:endParaRPr lang="en-US"/>
        </a:p>
      </dgm:t>
    </dgm:pt>
    <dgm:pt modelId="{8859F724-E8D6-4D86-85C4-42F97D082E30}" type="sibTrans" cxnId="{BC701080-AC89-4B4A-B424-B17B64A6EF1F}">
      <dgm:prSet/>
      <dgm:spPr/>
      <dgm:t>
        <a:bodyPr/>
        <a:lstStyle/>
        <a:p>
          <a:endParaRPr lang="en-US"/>
        </a:p>
      </dgm:t>
    </dgm:pt>
    <dgm:pt modelId="{B9A3CA45-DADA-4ADA-872D-3B212A630E62}">
      <dgm:prSet/>
      <dgm:spPr/>
      <dgm:t>
        <a:bodyPr/>
        <a:lstStyle/>
        <a:p>
          <a:r>
            <a:rPr lang="en-US" dirty="0"/>
            <a:t>All database modifications</a:t>
          </a:r>
        </a:p>
      </dgm:t>
    </dgm:pt>
    <dgm:pt modelId="{F90C8573-ECE4-42EA-BDAA-9D89F667F600}" type="parTrans" cxnId="{BEC91496-C9F3-41F2-A9BF-770BF7E4A94F}">
      <dgm:prSet/>
      <dgm:spPr/>
      <dgm:t>
        <a:bodyPr/>
        <a:lstStyle/>
        <a:p>
          <a:endParaRPr lang="en-US"/>
        </a:p>
      </dgm:t>
    </dgm:pt>
    <dgm:pt modelId="{8455F99D-9561-4276-A254-7AC594A5C833}" type="sibTrans" cxnId="{BEC91496-C9F3-41F2-A9BF-770BF7E4A94F}">
      <dgm:prSet/>
      <dgm:spPr/>
      <dgm:t>
        <a:bodyPr/>
        <a:lstStyle/>
        <a:p>
          <a:endParaRPr lang="en-US"/>
        </a:p>
      </dgm:t>
    </dgm:pt>
    <dgm:pt modelId="{5EAC3381-8F82-4D87-AB56-580AB0511237}">
      <dgm:prSet/>
      <dgm:spPr/>
      <dgm:t>
        <a:bodyPr/>
        <a:lstStyle/>
        <a:p>
          <a:r>
            <a:rPr lang="en-US" dirty="0"/>
            <a:t>Extent and page allocation or deallocation</a:t>
          </a:r>
        </a:p>
      </dgm:t>
    </dgm:pt>
    <dgm:pt modelId="{0924CAB0-8E61-418B-A972-CE527861593A}" type="parTrans" cxnId="{17D95493-770C-46F1-9CB4-BFDE8A95D990}">
      <dgm:prSet/>
      <dgm:spPr/>
      <dgm:t>
        <a:bodyPr/>
        <a:lstStyle/>
        <a:p>
          <a:endParaRPr lang="en-US"/>
        </a:p>
      </dgm:t>
    </dgm:pt>
    <dgm:pt modelId="{A9A2EDBC-F9F9-44CC-AA62-61F3360B335C}" type="sibTrans" cxnId="{17D95493-770C-46F1-9CB4-BFDE8A95D990}">
      <dgm:prSet/>
      <dgm:spPr/>
      <dgm:t>
        <a:bodyPr/>
        <a:lstStyle/>
        <a:p>
          <a:endParaRPr lang="en-US"/>
        </a:p>
      </dgm:t>
    </dgm:pt>
    <dgm:pt modelId="{3AC927AE-853C-47A6-BD59-6DEC8DDFF034}">
      <dgm:prSet/>
      <dgm:spPr/>
      <dgm:t>
        <a:bodyPr/>
        <a:lstStyle/>
        <a:p>
          <a:r>
            <a:rPr lang="en-US" dirty="0"/>
            <a:t>Creating and dropping objects</a:t>
          </a:r>
        </a:p>
      </dgm:t>
    </dgm:pt>
    <dgm:pt modelId="{28592308-96D0-495E-B88E-63E28217B3D2}" type="parTrans" cxnId="{7C15C748-7716-42E7-AAD1-78763781043E}">
      <dgm:prSet/>
      <dgm:spPr/>
      <dgm:t>
        <a:bodyPr/>
        <a:lstStyle/>
        <a:p>
          <a:endParaRPr lang="en-US"/>
        </a:p>
      </dgm:t>
    </dgm:pt>
    <dgm:pt modelId="{83CCB4DF-5FBA-4EE5-AF10-D6EC0F672FF2}" type="sibTrans" cxnId="{7C15C748-7716-42E7-AAD1-78763781043E}">
      <dgm:prSet/>
      <dgm:spPr/>
      <dgm:t>
        <a:bodyPr/>
        <a:lstStyle/>
        <a:p>
          <a:endParaRPr lang="en-US"/>
        </a:p>
      </dgm:t>
    </dgm:pt>
    <dgm:pt modelId="{3DA225F7-E0C8-472E-914E-8E05AFC3B3F3}" type="pres">
      <dgm:prSet presAssocID="{9A4C2F51-3B3E-47C7-A8E9-939CADF7C7A5}" presName="linear" presStyleCnt="0">
        <dgm:presLayoutVars>
          <dgm:animLvl val="lvl"/>
          <dgm:resizeHandles val="exact"/>
        </dgm:presLayoutVars>
      </dgm:prSet>
      <dgm:spPr/>
    </dgm:pt>
    <dgm:pt modelId="{CE0EC126-B54C-4A39-B43E-00AAA6C88407}" type="pres">
      <dgm:prSet presAssocID="{72E5AEF3-EB76-4DBD-9D9F-EA59B88382FA}" presName="parentText" presStyleLbl="node1" presStyleIdx="0" presStyleCnt="3" custLinFactY="-1891" custLinFactNeighborY="-100000">
        <dgm:presLayoutVars>
          <dgm:chMax val="0"/>
          <dgm:bulletEnabled val="1"/>
        </dgm:presLayoutVars>
      </dgm:prSet>
      <dgm:spPr/>
    </dgm:pt>
    <dgm:pt modelId="{A8EF9125-A583-4EFF-B64A-D978C0BE18D7}" type="pres">
      <dgm:prSet presAssocID="{844B8A17-188B-46C8-A847-432ABA649977}" presName="spacer" presStyleCnt="0"/>
      <dgm:spPr/>
    </dgm:pt>
    <dgm:pt modelId="{4C9A9914-DD0A-4C91-B538-3977C68EC542}" type="pres">
      <dgm:prSet presAssocID="{56599ECF-F277-4F80-8DC8-989D2384246E}" presName="parentText" presStyleLbl="node1" presStyleIdx="1" presStyleCnt="3" custLinFactY="-1891" custLinFactNeighborY="-100000">
        <dgm:presLayoutVars>
          <dgm:chMax val="0"/>
          <dgm:bulletEnabled val="1"/>
        </dgm:presLayoutVars>
      </dgm:prSet>
      <dgm:spPr/>
    </dgm:pt>
    <dgm:pt modelId="{C488B894-1D0F-4DD7-9EB8-A7D85C5D4FDD}" type="pres">
      <dgm:prSet presAssocID="{DC7C86C7-6455-405A-8A46-C1FF8FBB8CE4}" presName="spacer" presStyleCnt="0"/>
      <dgm:spPr/>
    </dgm:pt>
    <dgm:pt modelId="{1F29812F-2C73-41C3-BCDF-E3337FCE8F80}" type="pres">
      <dgm:prSet presAssocID="{F8FCF762-9C20-4417-93FC-A4EB5CA6E100}" presName="parentText" presStyleLbl="node1" presStyleIdx="2" presStyleCnt="3" custLinFactNeighborY="-5710">
        <dgm:presLayoutVars>
          <dgm:chMax val="0"/>
          <dgm:bulletEnabled val="1"/>
        </dgm:presLayoutVars>
      </dgm:prSet>
      <dgm:spPr/>
    </dgm:pt>
    <dgm:pt modelId="{9FDA6E21-A9D4-4B38-BB1E-F3989DB31312}" type="pres">
      <dgm:prSet presAssocID="{F8FCF762-9C20-4417-93FC-A4EB5CA6E100}" presName="childText" presStyleLbl="revTx" presStyleIdx="0" presStyleCnt="1">
        <dgm:presLayoutVars>
          <dgm:bulletEnabled val="1"/>
        </dgm:presLayoutVars>
      </dgm:prSet>
      <dgm:spPr/>
    </dgm:pt>
  </dgm:ptLst>
  <dgm:cxnLst>
    <dgm:cxn modelId="{C8EB1F06-BD3C-4D1A-933A-733D4A87EB9E}" type="presOf" srcId="{B9A3CA45-DADA-4ADA-872D-3B212A630E62}" destId="{9FDA6E21-A9D4-4B38-BB1E-F3989DB31312}" srcOrd="0" destOrd="1" presId="urn:microsoft.com/office/officeart/2005/8/layout/vList2"/>
    <dgm:cxn modelId="{07B04407-2652-4037-A47E-690CB86407C7}" type="presOf" srcId="{9A4C2F51-3B3E-47C7-A8E9-939CADF7C7A5}" destId="{3DA225F7-E0C8-472E-914E-8E05AFC3B3F3}" srcOrd="0" destOrd="0" presId="urn:microsoft.com/office/officeart/2005/8/layout/vList2"/>
    <dgm:cxn modelId="{1664AC2B-4865-4E3B-9E6E-E2C2711C893F}" type="presOf" srcId="{3AC927AE-853C-47A6-BD59-6DEC8DDFF034}" destId="{9FDA6E21-A9D4-4B38-BB1E-F3989DB31312}" srcOrd="0" destOrd="3" presId="urn:microsoft.com/office/officeart/2005/8/layout/vList2"/>
    <dgm:cxn modelId="{8B87A12D-8D11-41AE-9C19-51F528C07CBF}" type="presOf" srcId="{4353CEA6-FAA4-48D9-BCD0-00692E4E5B4B}" destId="{9FDA6E21-A9D4-4B38-BB1E-F3989DB31312}" srcOrd="0" destOrd="0" presId="urn:microsoft.com/office/officeart/2005/8/layout/vList2"/>
    <dgm:cxn modelId="{7C15C748-7716-42E7-AAD1-78763781043E}" srcId="{F8FCF762-9C20-4417-93FC-A4EB5CA6E100}" destId="{3AC927AE-853C-47A6-BD59-6DEC8DDFF034}" srcOrd="3" destOrd="0" parTransId="{28592308-96D0-495E-B88E-63E28217B3D2}" sibTransId="{83CCB4DF-5FBA-4EE5-AF10-D6EC0F672FF2}"/>
    <dgm:cxn modelId="{2ED54F4D-49D7-4BDB-B645-2E2B814A616E}" type="presOf" srcId="{72E5AEF3-EB76-4DBD-9D9F-EA59B88382FA}" destId="{CE0EC126-B54C-4A39-B43E-00AAA6C88407}" srcOrd="0" destOrd="0" presId="urn:microsoft.com/office/officeart/2005/8/layout/vList2"/>
    <dgm:cxn modelId="{6140656E-9ED4-42CB-B4FE-88852BC3A382}" srcId="{9A4C2F51-3B3E-47C7-A8E9-939CADF7C7A5}" destId="{72E5AEF3-EB76-4DBD-9D9F-EA59B88382FA}" srcOrd="0" destOrd="0" parTransId="{24A382AC-CA56-41E3-AA6B-43F175C8C4E4}" sibTransId="{844B8A17-188B-46C8-A847-432ABA649977}"/>
    <dgm:cxn modelId="{BC701080-AC89-4B4A-B424-B17B64A6EF1F}" srcId="{F8FCF762-9C20-4417-93FC-A4EB5CA6E100}" destId="{4353CEA6-FAA4-48D9-BCD0-00692E4E5B4B}" srcOrd="0" destOrd="0" parTransId="{FB9034CA-B724-4ADB-9071-0ABE7EBFC6C6}" sibTransId="{8859F724-E8D6-4D86-85C4-42F97D082E30}"/>
    <dgm:cxn modelId="{951FBD89-3051-45E1-89CE-4742B5FD923F}" srcId="{9A4C2F51-3B3E-47C7-A8E9-939CADF7C7A5}" destId="{F8FCF762-9C20-4417-93FC-A4EB5CA6E100}" srcOrd="2" destOrd="0" parTransId="{ECBD64AB-4CE1-4F04-9B42-BEE8DFC26A3A}" sibTransId="{ACA003DC-BDEE-4386-8964-DC6F2DFCB6CA}"/>
    <dgm:cxn modelId="{17D95493-770C-46F1-9CB4-BFDE8A95D990}" srcId="{F8FCF762-9C20-4417-93FC-A4EB5CA6E100}" destId="{5EAC3381-8F82-4D87-AB56-580AB0511237}" srcOrd="2" destOrd="0" parTransId="{0924CAB0-8E61-418B-A972-CE527861593A}" sibTransId="{A9A2EDBC-F9F9-44CC-AA62-61F3360B335C}"/>
    <dgm:cxn modelId="{BEC91496-C9F3-41F2-A9BF-770BF7E4A94F}" srcId="{F8FCF762-9C20-4417-93FC-A4EB5CA6E100}" destId="{B9A3CA45-DADA-4ADA-872D-3B212A630E62}" srcOrd="1" destOrd="0" parTransId="{F90C8573-ECE4-42EA-BDAA-9D89F667F600}" sibTransId="{8455F99D-9561-4276-A254-7AC594A5C833}"/>
    <dgm:cxn modelId="{429D1CBC-01AD-41C3-9781-708D88251FF9}" type="presOf" srcId="{F8FCF762-9C20-4417-93FC-A4EB5CA6E100}" destId="{1F29812F-2C73-41C3-BCDF-E3337FCE8F80}" srcOrd="0" destOrd="0" presId="urn:microsoft.com/office/officeart/2005/8/layout/vList2"/>
    <dgm:cxn modelId="{8B014CDD-BB84-4B07-B24E-46E4EDF7561D}" type="presOf" srcId="{5EAC3381-8F82-4D87-AB56-580AB0511237}" destId="{9FDA6E21-A9D4-4B38-BB1E-F3989DB31312}" srcOrd="0" destOrd="2" presId="urn:microsoft.com/office/officeart/2005/8/layout/vList2"/>
    <dgm:cxn modelId="{340956E1-EA39-4726-9E3D-BBCC0439A995}" type="presOf" srcId="{56599ECF-F277-4F80-8DC8-989D2384246E}" destId="{4C9A9914-DD0A-4C91-B538-3977C68EC542}" srcOrd="0" destOrd="0" presId="urn:microsoft.com/office/officeart/2005/8/layout/vList2"/>
    <dgm:cxn modelId="{32B032E7-1153-4614-A649-62AC1FAA49B7}" srcId="{9A4C2F51-3B3E-47C7-A8E9-939CADF7C7A5}" destId="{56599ECF-F277-4F80-8DC8-989D2384246E}" srcOrd="1" destOrd="0" parTransId="{5006F55C-A6FC-4AE8-B360-A0E147408B63}" sibTransId="{DC7C86C7-6455-405A-8A46-C1FF8FBB8CE4}"/>
    <dgm:cxn modelId="{55285153-7D39-4359-860B-A92C9EB7C3B1}" type="presParOf" srcId="{3DA225F7-E0C8-472E-914E-8E05AFC3B3F3}" destId="{CE0EC126-B54C-4A39-B43E-00AAA6C88407}" srcOrd="0" destOrd="0" presId="urn:microsoft.com/office/officeart/2005/8/layout/vList2"/>
    <dgm:cxn modelId="{55EB70C3-92EA-412E-811A-AA0563BEA249}" type="presParOf" srcId="{3DA225F7-E0C8-472E-914E-8E05AFC3B3F3}" destId="{A8EF9125-A583-4EFF-B64A-D978C0BE18D7}" srcOrd="1" destOrd="0" presId="urn:microsoft.com/office/officeart/2005/8/layout/vList2"/>
    <dgm:cxn modelId="{D75DE577-E544-4704-8E85-C08532069044}" type="presParOf" srcId="{3DA225F7-E0C8-472E-914E-8E05AFC3B3F3}" destId="{4C9A9914-DD0A-4C91-B538-3977C68EC542}" srcOrd="2" destOrd="0" presId="urn:microsoft.com/office/officeart/2005/8/layout/vList2"/>
    <dgm:cxn modelId="{C1BE85B4-ABD0-41EC-B2B5-CD9038650947}" type="presParOf" srcId="{3DA225F7-E0C8-472E-914E-8E05AFC3B3F3}" destId="{C488B894-1D0F-4DD7-9EB8-A7D85C5D4FDD}" srcOrd="3" destOrd="0" presId="urn:microsoft.com/office/officeart/2005/8/layout/vList2"/>
    <dgm:cxn modelId="{A005A179-EF74-4CA6-98FA-6A53BF67AA46}" type="presParOf" srcId="{3DA225F7-E0C8-472E-914E-8E05AFC3B3F3}" destId="{1F29812F-2C73-41C3-BCDF-E3337FCE8F80}" srcOrd="4" destOrd="0" presId="urn:microsoft.com/office/officeart/2005/8/layout/vList2"/>
    <dgm:cxn modelId="{A787C3F1-5E3F-47AF-B80C-634AD09662B2}" type="presParOf" srcId="{3DA225F7-E0C8-472E-914E-8E05AFC3B3F3}" destId="{9FDA6E21-A9D4-4B38-BB1E-F3989DB31312}"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AFDCFADA-56B1-47CE-99CB-A641F56F2586}"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9A1837C6-E739-4CC6-9152-9E9E1A2DFBF2}">
      <dgm:prSet custT="1"/>
      <dgm:spPr/>
      <dgm:t>
        <a:bodyPr/>
        <a:lstStyle/>
        <a:p>
          <a:pPr algn="ctr"/>
          <a:r>
            <a:rPr lang="en-US" sz="2200" dirty="0">
              <a:latin typeface="Segoe UI" panose="020B0502040204020203" pitchFamily="34" charset="0"/>
            </a:rPr>
            <a:t>VLF count T-LOG file creation</a:t>
          </a:r>
        </a:p>
      </dgm:t>
    </dgm:pt>
    <dgm:pt modelId="{5B41EF2B-74E0-4F9A-9838-FBAB727A42D0}" type="parTrans" cxnId="{5669CE81-FE0F-4D16-9A29-5205DA886C85}">
      <dgm:prSet/>
      <dgm:spPr/>
      <dgm:t>
        <a:bodyPr/>
        <a:lstStyle/>
        <a:p>
          <a:endParaRPr lang="en-US" sz="1600"/>
        </a:p>
      </dgm:t>
    </dgm:pt>
    <dgm:pt modelId="{AB4F7500-3413-42D2-B299-D0257C2BDD07}" type="sibTrans" cxnId="{5669CE81-FE0F-4D16-9A29-5205DA886C85}">
      <dgm:prSet/>
      <dgm:spPr/>
      <dgm:t>
        <a:bodyPr/>
        <a:lstStyle/>
        <a:p>
          <a:endParaRPr lang="en-US" sz="1600"/>
        </a:p>
      </dgm:t>
    </dgm:pt>
    <dgm:pt modelId="{365F8973-5127-40AB-9386-68F01623AE8C}">
      <dgm:prSet custT="1"/>
      <dgm:spPr/>
      <dgm:t>
        <a:bodyPr/>
        <a:lstStyle/>
        <a:p>
          <a:pPr algn="l">
            <a:buNone/>
          </a:pPr>
          <a:r>
            <a:rPr lang="en-US" sz="2200" baseline="0" dirty="0"/>
            <a:t>Size &lt;= 64 MB  </a:t>
          </a:r>
          <a:r>
            <a:rPr lang="en-US" sz="2200" baseline="0" dirty="0">
              <a:sym typeface="Wingdings" panose="05000000000000000000" pitchFamily="2" charset="2"/>
            </a:rPr>
            <a:t></a:t>
          </a:r>
          <a:r>
            <a:rPr lang="en-US" sz="2200" baseline="0" dirty="0"/>
            <a:t> 4 VLFs</a:t>
          </a:r>
          <a:endParaRPr lang="en-US" sz="2200" dirty="0"/>
        </a:p>
      </dgm:t>
    </dgm:pt>
    <dgm:pt modelId="{9B5D059B-30E5-42DA-B710-7CBDFF8BDEBC}" type="parTrans" cxnId="{9BB24839-DAAD-4A09-9948-C242485B7BF7}">
      <dgm:prSet/>
      <dgm:spPr/>
      <dgm:t>
        <a:bodyPr/>
        <a:lstStyle/>
        <a:p>
          <a:endParaRPr lang="en-US" sz="1600"/>
        </a:p>
      </dgm:t>
    </dgm:pt>
    <dgm:pt modelId="{F34A3055-5065-499F-BAF3-4AC7BA904E38}" type="sibTrans" cxnId="{9BB24839-DAAD-4A09-9948-C242485B7BF7}">
      <dgm:prSet/>
      <dgm:spPr/>
      <dgm:t>
        <a:bodyPr/>
        <a:lstStyle/>
        <a:p>
          <a:endParaRPr lang="en-US" sz="1600"/>
        </a:p>
      </dgm:t>
    </dgm:pt>
    <dgm:pt modelId="{E230F36B-B0C6-4F21-ACF9-381F97FAE93C}">
      <dgm:prSet custT="1"/>
      <dgm:spPr/>
      <dgm:t>
        <a:bodyPr/>
        <a:lstStyle/>
        <a:p>
          <a:pPr algn="ctr"/>
          <a:r>
            <a:rPr lang="en-US" sz="2200" baseline="0" dirty="0">
              <a:latin typeface="Segoe UI" panose="020B0502040204020203" pitchFamily="34" charset="0"/>
            </a:rPr>
            <a:t>VLF count at T-LOG file growth</a:t>
          </a:r>
          <a:endParaRPr lang="en-US" sz="2200" dirty="0">
            <a:latin typeface="Segoe UI" panose="020B0502040204020203" pitchFamily="34" charset="0"/>
          </a:endParaRPr>
        </a:p>
      </dgm:t>
    </dgm:pt>
    <dgm:pt modelId="{05A69560-E041-454F-99F0-FD3F2381C616}" type="parTrans" cxnId="{3916EA62-A8AD-4D8E-B6C1-7EC0BB6BAEE2}">
      <dgm:prSet/>
      <dgm:spPr/>
      <dgm:t>
        <a:bodyPr/>
        <a:lstStyle/>
        <a:p>
          <a:endParaRPr lang="en-US" sz="1600"/>
        </a:p>
      </dgm:t>
    </dgm:pt>
    <dgm:pt modelId="{CCEE8136-34FB-4FFD-A7C4-772C2605563B}" type="sibTrans" cxnId="{3916EA62-A8AD-4D8E-B6C1-7EC0BB6BAEE2}">
      <dgm:prSet/>
      <dgm:spPr/>
      <dgm:t>
        <a:bodyPr/>
        <a:lstStyle/>
        <a:p>
          <a:endParaRPr lang="en-US" sz="1600"/>
        </a:p>
      </dgm:t>
    </dgm:pt>
    <dgm:pt modelId="{17AF1611-A70F-43BF-8330-948C5EDD0E9E}">
      <dgm:prSet custT="1"/>
      <dgm:spPr/>
      <dgm:t>
        <a:bodyPr/>
        <a:lstStyle/>
        <a:p>
          <a:pPr>
            <a:buNone/>
          </a:pPr>
          <a:r>
            <a:rPr lang="en-US" sz="2400" baseline="0" dirty="0"/>
            <a:t>Growth &lt;= 64 MB </a:t>
          </a:r>
          <a:r>
            <a:rPr lang="en-US" sz="2400" baseline="0" dirty="0">
              <a:sym typeface="Wingdings" panose="05000000000000000000" pitchFamily="2" charset="2"/>
            </a:rPr>
            <a:t></a:t>
          </a:r>
          <a:r>
            <a:rPr lang="en-US" sz="2400" baseline="0" dirty="0"/>
            <a:t> 4 VLFs</a:t>
          </a:r>
          <a:endParaRPr lang="en-US" sz="2400" dirty="0"/>
        </a:p>
      </dgm:t>
    </dgm:pt>
    <dgm:pt modelId="{90238272-13B1-4D04-9EFB-C76CA0072FCB}" type="parTrans" cxnId="{6D824C2E-F594-4553-B390-EA332E5A9083}">
      <dgm:prSet/>
      <dgm:spPr/>
      <dgm:t>
        <a:bodyPr/>
        <a:lstStyle/>
        <a:p>
          <a:endParaRPr lang="en-US" sz="1600"/>
        </a:p>
      </dgm:t>
    </dgm:pt>
    <dgm:pt modelId="{60EFFDFE-8AF4-4DD3-BCC5-8551B49B83C6}" type="sibTrans" cxnId="{6D824C2E-F594-4553-B390-EA332E5A9083}">
      <dgm:prSet/>
      <dgm:spPr/>
      <dgm:t>
        <a:bodyPr/>
        <a:lstStyle/>
        <a:p>
          <a:endParaRPr lang="en-US" sz="1600"/>
        </a:p>
      </dgm:t>
    </dgm:pt>
    <dgm:pt modelId="{ED21E3C4-84B3-4493-A737-DE2FB038382D}">
      <dgm:prSet custT="1"/>
      <dgm:spPr/>
      <dgm:t>
        <a:bodyPr/>
        <a:lstStyle/>
        <a:p>
          <a:pPr algn="l">
            <a:buNone/>
          </a:pPr>
          <a:r>
            <a:rPr lang="en-US" sz="2200" baseline="0" dirty="0"/>
            <a:t>Between 64 MB and 1 GB </a:t>
          </a:r>
          <a:r>
            <a:rPr lang="en-US" sz="2200" baseline="0" dirty="0">
              <a:sym typeface="Wingdings" panose="05000000000000000000" pitchFamily="2" charset="2"/>
            </a:rPr>
            <a:t></a:t>
          </a:r>
          <a:r>
            <a:rPr lang="en-US" sz="2200" baseline="0" dirty="0"/>
            <a:t> 8 VLFs</a:t>
          </a:r>
          <a:endParaRPr lang="en-US" sz="2200" dirty="0"/>
        </a:p>
      </dgm:t>
    </dgm:pt>
    <dgm:pt modelId="{5DCE8501-0137-47A5-9EC1-5563ED47FB18}" type="parTrans" cxnId="{F6E49619-6227-47AC-8265-6BD4BFAD1365}">
      <dgm:prSet/>
      <dgm:spPr/>
      <dgm:t>
        <a:bodyPr/>
        <a:lstStyle/>
        <a:p>
          <a:endParaRPr lang="en-US"/>
        </a:p>
      </dgm:t>
    </dgm:pt>
    <dgm:pt modelId="{A8D64732-012D-4608-B2C7-0B613AC6313B}" type="sibTrans" cxnId="{F6E49619-6227-47AC-8265-6BD4BFAD1365}">
      <dgm:prSet/>
      <dgm:spPr/>
      <dgm:t>
        <a:bodyPr/>
        <a:lstStyle/>
        <a:p>
          <a:endParaRPr lang="en-US"/>
        </a:p>
      </dgm:t>
    </dgm:pt>
    <dgm:pt modelId="{049F28B7-C0D0-4FAF-96EF-5B4717CF9FF1}">
      <dgm:prSet custT="1"/>
      <dgm:spPr/>
      <dgm:t>
        <a:bodyPr/>
        <a:lstStyle/>
        <a:p>
          <a:pPr algn="l">
            <a:buNone/>
          </a:pPr>
          <a:r>
            <a:rPr lang="en-US" sz="2200" baseline="0" dirty="0"/>
            <a:t>Size &gt; 1GB </a:t>
          </a:r>
          <a:r>
            <a:rPr lang="en-US" sz="2200" baseline="0" dirty="0">
              <a:sym typeface="Wingdings" panose="05000000000000000000" pitchFamily="2" charset="2"/>
            </a:rPr>
            <a:t></a:t>
          </a:r>
          <a:r>
            <a:rPr lang="en-US" sz="2200" baseline="0" dirty="0"/>
            <a:t>16 VLFs</a:t>
          </a:r>
          <a:endParaRPr lang="en-US" sz="2200" dirty="0"/>
        </a:p>
      </dgm:t>
    </dgm:pt>
    <dgm:pt modelId="{86479D3C-A4E7-422A-8A33-C21CD0253F24}" type="parTrans" cxnId="{89E119B5-B91E-41F8-B558-153A61BCDB68}">
      <dgm:prSet/>
      <dgm:spPr/>
      <dgm:t>
        <a:bodyPr/>
        <a:lstStyle/>
        <a:p>
          <a:endParaRPr lang="en-US"/>
        </a:p>
      </dgm:t>
    </dgm:pt>
    <dgm:pt modelId="{6BE4F847-9F6F-41FD-883B-9F02D4EDF281}" type="sibTrans" cxnId="{89E119B5-B91E-41F8-B558-153A61BCDB68}">
      <dgm:prSet/>
      <dgm:spPr/>
      <dgm:t>
        <a:bodyPr/>
        <a:lstStyle/>
        <a:p>
          <a:endParaRPr lang="en-US"/>
        </a:p>
      </dgm:t>
    </dgm:pt>
    <dgm:pt modelId="{32DADCDB-1F04-436B-BF52-21C5D21A5DE8}">
      <dgm:prSet custT="1"/>
      <dgm:spPr/>
      <dgm:t>
        <a:bodyPr/>
        <a:lstStyle/>
        <a:p>
          <a:pPr>
            <a:buNone/>
          </a:pPr>
          <a:r>
            <a:rPr lang="en-US" sz="2400" baseline="0" dirty="0"/>
            <a:t>Between 64 MB and 1GB </a:t>
          </a:r>
          <a:r>
            <a:rPr lang="en-US" sz="2400" baseline="0" dirty="0">
              <a:sym typeface="Wingdings" panose="05000000000000000000" pitchFamily="2" charset="2"/>
            </a:rPr>
            <a:t></a:t>
          </a:r>
          <a:r>
            <a:rPr lang="en-US" sz="2400" baseline="0" dirty="0"/>
            <a:t> 8 VLFs</a:t>
          </a:r>
          <a:endParaRPr lang="en-US" sz="2400" dirty="0"/>
        </a:p>
      </dgm:t>
    </dgm:pt>
    <dgm:pt modelId="{8C978904-F3C4-4219-9634-300F59795C1D}" type="parTrans" cxnId="{6635DA19-CDD2-4B90-AA1F-80F4C910E836}">
      <dgm:prSet/>
      <dgm:spPr/>
      <dgm:t>
        <a:bodyPr/>
        <a:lstStyle/>
        <a:p>
          <a:endParaRPr lang="en-US"/>
        </a:p>
      </dgm:t>
    </dgm:pt>
    <dgm:pt modelId="{444FCC2D-2F38-4642-BD58-818664D78DBD}" type="sibTrans" cxnId="{6635DA19-CDD2-4B90-AA1F-80F4C910E836}">
      <dgm:prSet/>
      <dgm:spPr/>
      <dgm:t>
        <a:bodyPr/>
        <a:lstStyle/>
        <a:p>
          <a:endParaRPr lang="en-US"/>
        </a:p>
      </dgm:t>
    </dgm:pt>
    <dgm:pt modelId="{88C1F049-F4A7-484F-A909-9D56E74A004B}">
      <dgm:prSet custT="1"/>
      <dgm:spPr/>
      <dgm:t>
        <a:bodyPr/>
        <a:lstStyle/>
        <a:p>
          <a:pPr>
            <a:buNone/>
          </a:pPr>
          <a:r>
            <a:rPr lang="en-US" sz="2400" baseline="0" dirty="0"/>
            <a:t>Growth &gt; 1GB  </a:t>
          </a:r>
          <a:r>
            <a:rPr lang="en-US" sz="2400" baseline="0" dirty="0">
              <a:sym typeface="Wingdings" panose="05000000000000000000" pitchFamily="2" charset="2"/>
            </a:rPr>
            <a:t></a:t>
          </a:r>
          <a:r>
            <a:rPr lang="en-US" sz="2400" baseline="0" dirty="0"/>
            <a:t> 16 VLFs</a:t>
          </a:r>
          <a:endParaRPr lang="en-US" sz="2400" dirty="0"/>
        </a:p>
      </dgm:t>
    </dgm:pt>
    <dgm:pt modelId="{F623A4A1-200B-46C2-B698-4B2AA4575150}" type="parTrans" cxnId="{EA9DEF44-A1BA-4DFA-AFA3-DCCDC1100A2C}">
      <dgm:prSet/>
      <dgm:spPr/>
      <dgm:t>
        <a:bodyPr/>
        <a:lstStyle/>
        <a:p>
          <a:endParaRPr lang="en-US"/>
        </a:p>
      </dgm:t>
    </dgm:pt>
    <dgm:pt modelId="{01A241E3-A73F-4F06-9E03-38D4FDC2A080}" type="sibTrans" cxnId="{EA9DEF44-A1BA-4DFA-AFA3-DCCDC1100A2C}">
      <dgm:prSet/>
      <dgm:spPr/>
      <dgm:t>
        <a:bodyPr/>
        <a:lstStyle/>
        <a:p>
          <a:endParaRPr lang="en-US"/>
        </a:p>
      </dgm:t>
    </dgm:pt>
    <dgm:pt modelId="{A4BB8169-A4B6-424C-A014-029AFF6D3E1C}">
      <dgm:prSet custT="1"/>
      <dgm:spPr/>
      <dgm:t>
        <a:bodyPr/>
        <a:lstStyle/>
        <a:p>
          <a:pPr>
            <a:buNone/>
          </a:pPr>
          <a:r>
            <a:rPr lang="en-US" sz="2400" baseline="0" dirty="0"/>
            <a:t>If growth is less than 1/8th of current size </a:t>
          </a:r>
          <a:r>
            <a:rPr lang="en-US" sz="2400" baseline="0" dirty="0">
              <a:sym typeface="Wingdings" panose="05000000000000000000" pitchFamily="2" charset="2"/>
            </a:rPr>
            <a:t></a:t>
          </a:r>
          <a:r>
            <a:rPr lang="en-US" sz="2400" baseline="0" dirty="0"/>
            <a:t> add 1 VLF</a:t>
          </a:r>
          <a:endParaRPr lang="en-US" sz="2400" dirty="0"/>
        </a:p>
      </dgm:t>
    </dgm:pt>
    <dgm:pt modelId="{0CA8DDA5-B5C5-4E29-877C-EB7282487E7F}" type="parTrans" cxnId="{633167B5-C7E3-4BE9-8ED7-A13F394B34A6}">
      <dgm:prSet/>
      <dgm:spPr/>
      <dgm:t>
        <a:bodyPr/>
        <a:lstStyle/>
        <a:p>
          <a:endParaRPr lang="en-US"/>
        </a:p>
      </dgm:t>
    </dgm:pt>
    <dgm:pt modelId="{FD05F4DD-6C98-4219-800A-C94A73C8DBDF}" type="sibTrans" cxnId="{633167B5-C7E3-4BE9-8ED7-A13F394B34A6}">
      <dgm:prSet/>
      <dgm:spPr/>
      <dgm:t>
        <a:bodyPr/>
        <a:lstStyle/>
        <a:p>
          <a:endParaRPr lang="en-US"/>
        </a:p>
      </dgm:t>
    </dgm:pt>
    <dgm:pt modelId="{E375CFF9-1979-47BB-B761-6513F7C6D210}">
      <dgm:prSet custT="1"/>
      <dgm:spPr/>
      <dgm:t>
        <a:bodyPr/>
        <a:lstStyle/>
        <a:p>
          <a:pPr>
            <a:buNone/>
          </a:pPr>
          <a:endParaRPr lang="en-US" sz="2400" dirty="0"/>
        </a:p>
      </dgm:t>
    </dgm:pt>
    <dgm:pt modelId="{45E8EA2C-31DE-4D36-A60A-3679B00E3754}" type="parTrans" cxnId="{B65381EE-764D-434E-BFAF-C6CCB28AD376}">
      <dgm:prSet/>
      <dgm:spPr/>
      <dgm:t>
        <a:bodyPr/>
        <a:lstStyle/>
        <a:p>
          <a:endParaRPr lang="en-US"/>
        </a:p>
      </dgm:t>
    </dgm:pt>
    <dgm:pt modelId="{6FE0B01F-9E9D-4729-B45D-5D80C219EE07}" type="sibTrans" cxnId="{B65381EE-764D-434E-BFAF-C6CCB28AD376}">
      <dgm:prSet/>
      <dgm:spPr/>
      <dgm:t>
        <a:bodyPr/>
        <a:lstStyle/>
        <a:p>
          <a:endParaRPr lang="en-US"/>
        </a:p>
      </dgm:t>
    </dgm:pt>
    <dgm:pt modelId="{F122E3F4-6664-4F52-B1F5-0B19A6034406}">
      <dgm:prSet custT="1"/>
      <dgm:spPr/>
      <dgm:t>
        <a:bodyPr/>
        <a:lstStyle/>
        <a:p>
          <a:pPr>
            <a:buNone/>
          </a:pPr>
          <a:r>
            <a:rPr lang="en-US" sz="2400" baseline="0" dirty="0"/>
            <a:t>(SQL 2014 and higher)</a:t>
          </a:r>
          <a:endParaRPr lang="en-US" sz="2400" dirty="0"/>
        </a:p>
      </dgm:t>
    </dgm:pt>
    <dgm:pt modelId="{8FD3A94D-78CF-4F7D-A0BF-D13CB8C72FDA}" type="parTrans" cxnId="{1C80A8C3-5BA2-4C32-B26B-A6D3C37890E8}">
      <dgm:prSet/>
      <dgm:spPr/>
      <dgm:t>
        <a:bodyPr/>
        <a:lstStyle/>
        <a:p>
          <a:endParaRPr lang="en-US"/>
        </a:p>
      </dgm:t>
    </dgm:pt>
    <dgm:pt modelId="{1DC94117-8032-425B-B522-0601192BCEE7}" type="sibTrans" cxnId="{1C80A8C3-5BA2-4C32-B26B-A6D3C37890E8}">
      <dgm:prSet/>
      <dgm:spPr/>
      <dgm:t>
        <a:bodyPr/>
        <a:lstStyle/>
        <a:p>
          <a:endParaRPr lang="en-US"/>
        </a:p>
      </dgm:t>
    </dgm:pt>
    <dgm:pt modelId="{820C2D47-BCB3-4805-B3BD-BF9270C6F8EB}" type="pres">
      <dgm:prSet presAssocID="{AFDCFADA-56B1-47CE-99CB-A641F56F2586}" presName="Name0" presStyleCnt="0">
        <dgm:presLayoutVars>
          <dgm:dir/>
          <dgm:animLvl val="lvl"/>
          <dgm:resizeHandles val="exact"/>
        </dgm:presLayoutVars>
      </dgm:prSet>
      <dgm:spPr/>
    </dgm:pt>
    <dgm:pt modelId="{8B3EB5EE-A97F-45D5-AA20-B36E78805055}" type="pres">
      <dgm:prSet presAssocID="{9A1837C6-E739-4CC6-9152-9E9E1A2DFBF2}" presName="composite" presStyleCnt="0"/>
      <dgm:spPr/>
    </dgm:pt>
    <dgm:pt modelId="{9E857E30-CB40-4959-93BD-2B947737A584}" type="pres">
      <dgm:prSet presAssocID="{9A1837C6-E739-4CC6-9152-9E9E1A2DFBF2}" presName="parTx" presStyleLbl="alignNode1" presStyleIdx="0" presStyleCnt="2">
        <dgm:presLayoutVars>
          <dgm:chMax val="0"/>
          <dgm:chPref val="0"/>
          <dgm:bulletEnabled val="1"/>
        </dgm:presLayoutVars>
      </dgm:prSet>
      <dgm:spPr/>
    </dgm:pt>
    <dgm:pt modelId="{F818A7ED-A6B5-4A92-BE5F-15C48862F954}" type="pres">
      <dgm:prSet presAssocID="{9A1837C6-E739-4CC6-9152-9E9E1A2DFBF2}" presName="desTx" presStyleLbl="alignAccFollowNode1" presStyleIdx="0" presStyleCnt="2">
        <dgm:presLayoutVars>
          <dgm:bulletEnabled val="1"/>
        </dgm:presLayoutVars>
      </dgm:prSet>
      <dgm:spPr/>
    </dgm:pt>
    <dgm:pt modelId="{75B3A935-EC79-47BD-9FF3-341066892BFE}" type="pres">
      <dgm:prSet presAssocID="{AB4F7500-3413-42D2-B299-D0257C2BDD07}" presName="space" presStyleCnt="0"/>
      <dgm:spPr/>
    </dgm:pt>
    <dgm:pt modelId="{0F74DFC5-B17A-40E2-AC4A-D1B45CEE8348}" type="pres">
      <dgm:prSet presAssocID="{E230F36B-B0C6-4F21-ACF9-381F97FAE93C}" presName="composite" presStyleCnt="0"/>
      <dgm:spPr/>
    </dgm:pt>
    <dgm:pt modelId="{19250715-646C-42CC-A1A1-F71D9840618E}" type="pres">
      <dgm:prSet presAssocID="{E230F36B-B0C6-4F21-ACF9-381F97FAE93C}" presName="parTx" presStyleLbl="alignNode1" presStyleIdx="1" presStyleCnt="2">
        <dgm:presLayoutVars>
          <dgm:chMax val="0"/>
          <dgm:chPref val="0"/>
          <dgm:bulletEnabled val="1"/>
        </dgm:presLayoutVars>
      </dgm:prSet>
      <dgm:spPr/>
    </dgm:pt>
    <dgm:pt modelId="{99FF60BD-F326-4F24-B5CD-57346148E5AE}" type="pres">
      <dgm:prSet presAssocID="{E230F36B-B0C6-4F21-ACF9-381F97FAE93C}" presName="desTx" presStyleLbl="alignAccFollowNode1" presStyleIdx="1" presStyleCnt="2">
        <dgm:presLayoutVars>
          <dgm:bulletEnabled val="1"/>
        </dgm:presLayoutVars>
      </dgm:prSet>
      <dgm:spPr/>
    </dgm:pt>
  </dgm:ptLst>
  <dgm:cxnLst>
    <dgm:cxn modelId="{3A70DB0E-C2AC-48D5-A80B-E4D4EB68DF5B}" type="presOf" srcId="{ED21E3C4-84B3-4493-A737-DE2FB038382D}" destId="{F818A7ED-A6B5-4A92-BE5F-15C48862F954}" srcOrd="0" destOrd="1" presId="urn:microsoft.com/office/officeart/2005/8/layout/hList1"/>
    <dgm:cxn modelId="{15001D15-A2BF-441A-BBA3-FB280CAD58C0}" type="presOf" srcId="{88C1F049-F4A7-484F-A909-9D56E74A004B}" destId="{99FF60BD-F326-4F24-B5CD-57346148E5AE}" srcOrd="0" destOrd="2" presId="urn:microsoft.com/office/officeart/2005/8/layout/hList1"/>
    <dgm:cxn modelId="{F6E49619-6227-47AC-8265-6BD4BFAD1365}" srcId="{9A1837C6-E739-4CC6-9152-9E9E1A2DFBF2}" destId="{ED21E3C4-84B3-4493-A737-DE2FB038382D}" srcOrd="1" destOrd="0" parTransId="{5DCE8501-0137-47A5-9EC1-5563ED47FB18}" sibTransId="{A8D64732-012D-4608-B2C7-0B613AC6313B}"/>
    <dgm:cxn modelId="{6635DA19-CDD2-4B90-AA1F-80F4C910E836}" srcId="{E230F36B-B0C6-4F21-ACF9-381F97FAE93C}" destId="{32DADCDB-1F04-436B-BF52-21C5D21A5DE8}" srcOrd="1" destOrd="0" parTransId="{8C978904-F3C4-4219-9634-300F59795C1D}" sibTransId="{444FCC2D-2F38-4642-BD58-818664D78DBD}"/>
    <dgm:cxn modelId="{4BC42620-D04A-4D6B-83DD-23EB09D2BE59}" type="presOf" srcId="{A4BB8169-A4B6-424C-A014-029AFF6D3E1C}" destId="{99FF60BD-F326-4F24-B5CD-57346148E5AE}" srcOrd="0" destOrd="5" presId="urn:microsoft.com/office/officeart/2005/8/layout/hList1"/>
    <dgm:cxn modelId="{D43CD92A-89D8-4CBD-A3E3-AE52348E3782}" type="presOf" srcId="{E230F36B-B0C6-4F21-ACF9-381F97FAE93C}" destId="{19250715-646C-42CC-A1A1-F71D9840618E}" srcOrd="0" destOrd="0" presId="urn:microsoft.com/office/officeart/2005/8/layout/hList1"/>
    <dgm:cxn modelId="{6ECA452B-402A-4E8C-A2C3-C1B30A734401}" type="presOf" srcId="{049F28B7-C0D0-4FAF-96EF-5B4717CF9FF1}" destId="{F818A7ED-A6B5-4A92-BE5F-15C48862F954}" srcOrd="0" destOrd="2" presId="urn:microsoft.com/office/officeart/2005/8/layout/hList1"/>
    <dgm:cxn modelId="{6D824C2E-F594-4553-B390-EA332E5A9083}" srcId="{E230F36B-B0C6-4F21-ACF9-381F97FAE93C}" destId="{17AF1611-A70F-43BF-8330-948C5EDD0E9E}" srcOrd="0" destOrd="0" parTransId="{90238272-13B1-4D04-9EFB-C76CA0072FCB}" sibTransId="{60EFFDFE-8AF4-4DD3-BCC5-8551B49B83C6}"/>
    <dgm:cxn modelId="{68A1BB2F-5761-4D27-B755-17C7E8A1A360}" type="presOf" srcId="{F122E3F4-6664-4F52-B1F5-0B19A6034406}" destId="{99FF60BD-F326-4F24-B5CD-57346148E5AE}" srcOrd="0" destOrd="4" presId="urn:microsoft.com/office/officeart/2005/8/layout/hList1"/>
    <dgm:cxn modelId="{9BB24839-DAAD-4A09-9948-C242485B7BF7}" srcId="{9A1837C6-E739-4CC6-9152-9E9E1A2DFBF2}" destId="{365F8973-5127-40AB-9386-68F01623AE8C}" srcOrd="0" destOrd="0" parTransId="{9B5D059B-30E5-42DA-B710-7CBDFF8BDEBC}" sibTransId="{F34A3055-5065-499F-BAF3-4AC7BA904E38}"/>
    <dgm:cxn modelId="{F24C645C-DB2B-404D-9066-B8F1881094A3}" type="presOf" srcId="{365F8973-5127-40AB-9386-68F01623AE8C}" destId="{F818A7ED-A6B5-4A92-BE5F-15C48862F954}" srcOrd="0" destOrd="0" presId="urn:microsoft.com/office/officeart/2005/8/layout/hList1"/>
    <dgm:cxn modelId="{3916EA62-A8AD-4D8E-B6C1-7EC0BB6BAEE2}" srcId="{AFDCFADA-56B1-47CE-99CB-A641F56F2586}" destId="{E230F36B-B0C6-4F21-ACF9-381F97FAE93C}" srcOrd="1" destOrd="0" parTransId="{05A69560-E041-454F-99F0-FD3F2381C616}" sibTransId="{CCEE8136-34FB-4FFD-A7C4-772C2605563B}"/>
    <dgm:cxn modelId="{EA9DEF44-A1BA-4DFA-AFA3-DCCDC1100A2C}" srcId="{E230F36B-B0C6-4F21-ACF9-381F97FAE93C}" destId="{88C1F049-F4A7-484F-A909-9D56E74A004B}" srcOrd="2" destOrd="0" parTransId="{F623A4A1-200B-46C2-B698-4B2AA4575150}" sibTransId="{01A241E3-A73F-4F06-9E03-38D4FDC2A080}"/>
    <dgm:cxn modelId="{DA54ED46-A624-4E9E-9BDF-5EA6961E695D}" type="presOf" srcId="{9A1837C6-E739-4CC6-9152-9E9E1A2DFBF2}" destId="{9E857E30-CB40-4959-93BD-2B947737A584}" srcOrd="0" destOrd="0" presId="urn:microsoft.com/office/officeart/2005/8/layout/hList1"/>
    <dgm:cxn modelId="{5669CE81-FE0F-4D16-9A29-5205DA886C85}" srcId="{AFDCFADA-56B1-47CE-99CB-A641F56F2586}" destId="{9A1837C6-E739-4CC6-9152-9E9E1A2DFBF2}" srcOrd="0" destOrd="0" parTransId="{5B41EF2B-74E0-4F9A-9838-FBAB727A42D0}" sibTransId="{AB4F7500-3413-42D2-B299-D0257C2BDD07}"/>
    <dgm:cxn modelId="{1A978A9B-2CB5-4CFD-BB33-A2CD5267295F}" type="presOf" srcId="{E375CFF9-1979-47BB-B761-6513F7C6D210}" destId="{99FF60BD-F326-4F24-B5CD-57346148E5AE}" srcOrd="0" destOrd="3" presId="urn:microsoft.com/office/officeart/2005/8/layout/hList1"/>
    <dgm:cxn modelId="{B700B7AB-D70F-4D3A-BF75-99DE83BE6638}" type="presOf" srcId="{32DADCDB-1F04-436B-BF52-21C5D21A5DE8}" destId="{99FF60BD-F326-4F24-B5CD-57346148E5AE}" srcOrd="0" destOrd="1" presId="urn:microsoft.com/office/officeart/2005/8/layout/hList1"/>
    <dgm:cxn modelId="{89E119B5-B91E-41F8-B558-153A61BCDB68}" srcId="{9A1837C6-E739-4CC6-9152-9E9E1A2DFBF2}" destId="{049F28B7-C0D0-4FAF-96EF-5B4717CF9FF1}" srcOrd="2" destOrd="0" parTransId="{86479D3C-A4E7-422A-8A33-C21CD0253F24}" sibTransId="{6BE4F847-9F6F-41FD-883B-9F02D4EDF281}"/>
    <dgm:cxn modelId="{633167B5-C7E3-4BE9-8ED7-A13F394B34A6}" srcId="{E230F36B-B0C6-4F21-ACF9-381F97FAE93C}" destId="{A4BB8169-A4B6-424C-A014-029AFF6D3E1C}" srcOrd="5" destOrd="0" parTransId="{0CA8DDA5-B5C5-4E29-877C-EB7282487E7F}" sibTransId="{FD05F4DD-6C98-4219-800A-C94A73C8DBDF}"/>
    <dgm:cxn modelId="{1C80A8C3-5BA2-4C32-B26B-A6D3C37890E8}" srcId="{E230F36B-B0C6-4F21-ACF9-381F97FAE93C}" destId="{F122E3F4-6664-4F52-B1F5-0B19A6034406}" srcOrd="4" destOrd="0" parTransId="{8FD3A94D-78CF-4F7D-A0BF-D13CB8C72FDA}" sibTransId="{1DC94117-8032-425B-B522-0601192BCEE7}"/>
    <dgm:cxn modelId="{AEE5D7DD-C9B2-4CD3-8239-1FD458E916CF}" type="presOf" srcId="{AFDCFADA-56B1-47CE-99CB-A641F56F2586}" destId="{820C2D47-BCB3-4805-B3BD-BF9270C6F8EB}" srcOrd="0" destOrd="0" presId="urn:microsoft.com/office/officeart/2005/8/layout/hList1"/>
    <dgm:cxn modelId="{470257E4-AE23-4A58-9A9D-8FD05EDF571C}" type="presOf" srcId="{17AF1611-A70F-43BF-8330-948C5EDD0E9E}" destId="{99FF60BD-F326-4F24-B5CD-57346148E5AE}" srcOrd="0" destOrd="0" presId="urn:microsoft.com/office/officeart/2005/8/layout/hList1"/>
    <dgm:cxn modelId="{B65381EE-764D-434E-BFAF-C6CCB28AD376}" srcId="{E230F36B-B0C6-4F21-ACF9-381F97FAE93C}" destId="{E375CFF9-1979-47BB-B761-6513F7C6D210}" srcOrd="3" destOrd="0" parTransId="{45E8EA2C-31DE-4D36-A60A-3679B00E3754}" sibTransId="{6FE0B01F-9E9D-4729-B45D-5D80C219EE07}"/>
    <dgm:cxn modelId="{E75841A3-A4C4-49DA-8637-73389E279B73}" type="presParOf" srcId="{820C2D47-BCB3-4805-B3BD-BF9270C6F8EB}" destId="{8B3EB5EE-A97F-45D5-AA20-B36E78805055}" srcOrd="0" destOrd="0" presId="urn:microsoft.com/office/officeart/2005/8/layout/hList1"/>
    <dgm:cxn modelId="{5F0DE650-EB81-4190-85DD-C7CC269DD19D}" type="presParOf" srcId="{8B3EB5EE-A97F-45D5-AA20-B36E78805055}" destId="{9E857E30-CB40-4959-93BD-2B947737A584}" srcOrd="0" destOrd="0" presId="urn:microsoft.com/office/officeart/2005/8/layout/hList1"/>
    <dgm:cxn modelId="{CDBF4E7B-593B-4401-AD72-0E9C2FD0D145}" type="presParOf" srcId="{8B3EB5EE-A97F-45D5-AA20-B36E78805055}" destId="{F818A7ED-A6B5-4A92-BE5F-15C48862F954}" srcOrd="1" destOrd="0" presId="urn:microsoft.com/office/officeart/2005/8/layout/hList1"/>
    <dgm:cxn modelId="{A46F5DB1-5540-46DF-92A7-20FB6D50E259}" type="presParOf" srcId="{820C2D47-BCB3-4805-B3BD-BF9270C6F8EB}" destId="{75B3A935-EC79-47BD-9FF3-341066892BFE}" srcOrd="1" destOrd="0" presId="urn:microsoft.com/office/officeart/2005/8/layout/hList1"/>
    <dgm:cxn modelId="{A4A957CA-339E-4246-8849-8C92D76FC08B}" type="presParOf" srcId="{820C2D47-BCB3-4805-B3BD-BF9270C6F8EB}" destId="{0F74DFC5-B17A-40E2-AC4A-D1B45CEE8348}" srcOrd="2" destOrd="0" presId="urn:microsoft.com/office/officeart/2005/8/layout/hList1"/>
    <dgm:cxn modelId="{24647E1F-4703-4288-94FB-AD1E2F838026}" type="presParOf" srcId="{0F74DFC5-B17A-40E2-AC4A-D1B45CEE8348}" destId="{19250715-646C-42CC-A1A1-F71D9840618E}" srcOrd="0" destOrd="0" presId="urn:microsoft.com/office/officeart/2005/8/layout/hList1"/>
    <dgm:cxn modelId="{E91B384D-A9B1-4386-B6C9-6900F932239A}" type="presParOf" srcId="{0F74DFC5-B17A-40E2-AC4A-D1B45CEE8348}" destId="{99FF60BD-F326-4F24-B5CD-57346148E5AE}"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265FA74-4C76-4AA5-B436-B0DA5FA08A33}"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B2D613BE-44ED-4833-A9C1-1A3BE887CEBE}">
      <dgm:prSet custT="1"/>
      <dgm:spPr/>
      <dgm:t>
        <a:bodyPr/>
        <a:lstStyle/>
        <a:p>
          <a:r>
            <a:rPr lang="en-US" sz="2800" dirty="0">
              <a:latin typeface="Segoe UI" panose="020B0502040204020203" pitchFamily="34" charset="0"/>
            </a:rPr>
            <a:t>Data Files</a:t>
          </a:r>
        </a:p>
      </dgm:t>
    </dgm:pt>
    <dgm:pt modelId="{3965E237-C7E4-4A20-BCD9-6BB907E081F9}" type="parTrans" cxnId="{1289DB03-00B4-4472-922B-68F16F2AB9BC}">
      <dgm:prSet/>
      <dgm:spPr/>
      <dgm:t>
        <a:bodyPr/>
        <a:lstStyle/>
        <a:p>
          <a:endParaRPr lang="en-US"/>
        </a:p>
      </dgm:t>
    </dgm:pt>
    <dgm:pt modelId="{5A095DA0-BA45-4129-9099-CDE77A90D268}" type="sibTrans" cxnId="{1289DB03-00B4-4472-922B-68F16F2AB9BC}">
      <dgm:prSet/>
      <dgm:spPr/>
      <dgm:t>
        <a:bodyPr/>
        <a:lstStyle/>
        <a:p>
          <a:endParaRPr lang="en-US"/>
        </a:p>
      </dgm:t>
    </dgm:pt>
    <dgm:pt modelId="{AF1836AC-7D07-449B-AB63-444B0C1EDD19}">
      <dgm:prSet custT="1"/>
      <dgm:spPr/>
      <dgm:t>
        <a:bodyPr/>
        <a:lstStyle/>
        <a:p>
          <a:r>
            <a:rPr lang="en-US" sz="2000" dirty="0">
              <a:latin typeface="Segoe UI" panose="020B0502040204020203" pitchFamily="34" charset="0"/>
            </a:rPr>
            <a:t>May have one or more .ndf file</a:t>
          </a:r>
        </a:p>
      </dgm:t>
    </dgm:pt>
    <dgm:pt modelId="{D8BE3A34-97EA-46E4-B257-664ABFA0F60A}" type="parTrans" cxnId="{CA32B810-DA98-4660-97C4-7D04921538DC}">
      <dgm:prSet/>
      <dgm:spPr/>
      <dgm:t>
        <a:bodyPr/>
        <a:lstStyle/>
        <a:p>
          <a:endParaRPr lang="en-US"/>
        </a:p>
      </dgm:t>
    </dgm:pt>
    <dgm:pt modelId="{045EA307-7B0D-483E-84BE-F724F82314A1}" type="sibTrans" cxnId="{CA32B810-DA98-4660-97C4-7D04921538DC}">
      <dgm:prSet/>
      <dgm:spPr/>
      <dgm:t>
        <a:bodyPr/>
        <a:lstStyle/>
        <a:p>
          <a:endParaRPr lang="en-US"/>
        </a:p>
      </dgm:t>
    </dgm:pt>
    <dgm:pt modelId="{29710608-8D64-4162-8836-026682D7462C}">
      <dgm:prSet custT="1"/>
      <dgm:spPr/>
      <dgm:t>
        <a:bodyPr/>
        <a:lstStyle/>
        <a:p>
          <a:r>
            <a:rPr lang="en-US" sz="2000" dirty="0">
              <a:latin typeface="Segoe UI" panose="020B0502040204020203" pitchFamily="34" charset="0"/>
            </a:rPr>
            <a:t>Random reads and writes</a:t>
          </a:r>
        </a:p>
      </dgm:t>
    </dgm:pt>
    <dgm:pt modelId="{60754694-5BCB-4FEF-B9BF-C1B5A079EA09}" type="parTrans" cxnId="{153CA78C-D990-45D3-A244-063761487B99}">
      <dgm:prSet/>
      <dgm:spPr/>
      <dgm:t>
        <a:bodyPr/>
        <a:lstStyle/>
        <a:p>
          <a:endParaRPr lang="en-US"/>
        </a:p>
      </dgm:t>
    </dgm:pt>
    <dgm:pt modelId="{8757B622-0F5D-4520-867C-C5BABC656617}" type="sibTrans" cxnId="{153CA78C-D990-45D3-A244-063761487B99}">
      <dgm:prSet/>
      <dgm:spPr/>
      <dgm:t>
        <a:bodyPr/>
        <a:lstStyle/>
        <a:p>
          <a:endParaRPr lang="en-US"/>
        </a:p>
      </dgm:t>
    </dgm:pt>
    <dgm:pt modelId="{00309F1F-CC24-4788-8955-C6BA37756964}">
      <dgm:prSet custT="1"/>
      <dgm:spPr/>
      <dgm:t>
        <a:bodyPr/>
        <a:lstStyle/>
        <a:p>
          <a:r>
            <a:rPr lang="en-US" sz="2000" dirty="0">
              <a:latin typeface="Segoe UI" panose="020B0502040204020203" pitchFamily="34" charset="0"/>
            </a:rPr>
            <a:t>Write activity during checkpoints, recovery, and lazy writes</a:t>
          </a:r>
        </a:p>
      </dgm:t>
    </dgm:pt>
    <dgm:pt modelId="{DAAAF7D4-C2B2-4650-81C1-8FD14E93D8D5}" type="parTrans" cxnId="{1330D078-3342-46F4-AA4F-66E42B17DB23}">
      <dgm:prSet/>
      <dgm:spPr/>
      <dgm:t>
        <a:bodyPr/>
        <a:lstStyle/>
        <a:p>
          <a:endParaRPr lang="en-US"/>
        </a:p>
      </dgm:t>
    </dgm:pt>
    <dgm:pt modelId="{E1FFC08E-EA2A-45B4-93F9-54CFB0BD04E0}" type="sibTrans" cxnId="{1330D078-3342-46F4-AA4F-66E42B17DB23}">
      <dgm:prSet/>
      <dgm:spPr/>
      <dgm:t>
        <a:bodyPr/>
        <a:lstStyle/>
        <a:p>
          <a:endParaRPr lang="en-US"/>
        </a:p>
      </dgm:t>
    </dgm:pt>
    <dgm:pt modelId="{8DB25616-5232-42A4-9BE5-ABCD1363E09D}">
      <dgm:prSet custT="1"/>
      <dgm:spPr/>
      <dgm:t>
        <a:bodyPr/>
        <a:lstStyle/>
        <a:p>
          <a:r>
            <a:rPr lang="en-US" sz="2000" dirty="0">
              <a:latin typeface="Segoe UI" panose="020B0502040204020203" pitchFamily="34" charset="0"/>
            </a:rPr>
            <a:t>One .mdf file per database</a:t>
          </a:r>
        </a:p>
      </dgm:t>
    </dgm:pt>
    <dgm:pt modelId="{E1B92534-C2BE-4A7F-B9C3-E34CD7C0DEBA}" type="parTrans" cxnId="{E6618198-8692-460B-97AE-25FE9F2500E0}">
      <dgm:prSet/>
      <dgm:spPr/>
      <dgm:t>
        <a:bodyPr/>
        <a:lstStyle/>
        <a:p>
          <a:endParaRPr lang="en-US"/>
        </a:p>
      </dgm:t>
    </dgm:pt>
    <dgm:pt modelId="{572A957B-304A-4B92-AD4A-07FDE0888AA2}" type="sibTrans" cxnId="{E6618198-8692-460B-97AE-25FE9F2500E0}">
      <dgm:prSet/>
      <dgm:spPr/>
      <dgm:t>
        <a:bodyPr/>
        <a:lstStyle/>
        <a:p>
          <a:endParaRPr lang="en-US"/>
        </a:p>
      </dgm:t>
    </dgm:pt>
    <dgm:pt modelId="{65FAD969-BCC5-4250-8D1D-9BD8D06CAFA2}">
      <dgm:prSet custT="1"/>
      <dgm:spPr/>
      <dgm:t>
        <a:bodyPr/>
        <a:lstStyle/>
        <a:p>
          <a:r>
            <a:rPr lang="en-US" sz="2000" dirty="0">
              <a:latin typeface="Segoe UI" panose="020B0502040204020203" pitchFamily="34" charset="0"/>
            </a:rPr>
            <a:t>Read activity during backups; other activity varies depending on query activity and buffer pool size</a:t>
          </a:r>
        </a:p>
      </dgm:t>
    </dgm:pt>
    <dgm:pt modelId="{B3D3773D-034C-4B19-8DCD-9BDD0FE2D530}" type="parTrans" cxnId="{8602A2E9-B1AD-4514-8E0F-ABB4E334DB96}">
      <dgm:prSet/>
      <dgm:spPr/>
      <dgm:t>
        <a:bodyPr/>
        <a:lstStyle/>
        <a:p>
          <a:endParaRPr lang="en-US"/>
        </a:p>
      </dgm:t>
    </dgm:pt>
    <dgm:pt modelId="{0926FEC1-80E0-4CD4-A85C-B1A2F6D92D5F}" type="sibTrans" cxnId="{8602A2E9-B1AD-4514-8E0F-ABB4E334DB96}">
      <dgm:prSet/>
      <dgm:spPr/>
      <dgm:t>
        <a:bodyPr/>
        <a:lstStyle/>
        <a:p>
          <a:endParaRPr lang="en-US"/>
        </a:p>
      </dgm:t>
    </dgm:pt>
    <dgm:pt modelId="{56B8FEBF-7534-4989-B5EE-29BA6BD5ADFE}">
      <dgm:prSet custT="1"/>
      <dgm:spPr/>
      <dgm:t>
        <a:bodyPr/>
        <a:lstStyle/>
        <a:p>
          <a:r>
            <a:rPr lang="en-US" sz="2800" baseline="0" dirty="0">
              <a:latin typeface="Segoe UI" panose="020B0502040204020203" pitchFamily="34" charset="0"/>
            </a:rPr>
            <a:t>Log Files</a:t>
          </a:r>
          <a:endParaRPr lang="en-US" sz="2800" dirty="0">
            <a:latin typeface="Segoe UI" panose="020B0502040204020203" pitchFamily="34" charset="0"/>
          </a:endParaRPr>
        </a:p>
      </dgm:t>
    </dgm:pt>
    <dgm:pt modelId="{5AACDA45-AC67-4560-A4B6-90267679CDDA}" type="parTrans" cxnId="{1DB0BA69-1DA9-4A81-A3FB-813785402A43}">
      <dgm:prSet/>
      <dgm:spPr/>
      <dgm:t>
        <a:bodyPr/>
        <a:lstStyle/>
        <a:p>
          <a:endParaRPr lang="en-US"/>
        </a:p>
      </dgm:t>
    </dgm:pt>
    <dgm:pt modelId="{1DC2C067-8DBC-4FC6-B1B5-3ECFF65DF59E}" type="sibTrans" cxnId="{1DB0BA69-1DA9-4A81-A3FB-813785402A43}">
      <dgm:prSet/>
      <dgm:spPr/>
      <dgm:t>
        <a:bodyPr/>
        <a:lstStyle/>
        <a:p>
          <a:endParaRPr lang="en-US"/>
        </a:p>
      </dgm:t>
    </dgm:pt>
    <dgm:pt modelId="{0BC564E0-FF71-4F18-9DD8-5BC81FD4C643}">
      <dgm:prSet custT="1"/>
      <dgm:spPr/>
      <dgm:t>
        <a:bodyPr/>
        <a:lstStyle/>
        <a:p>
          <a:r>
            <a:rPr lang="en-US" sz="2000" baseline="0" dirty="0">
              <a:latin typeface="Segoe UI" panose="020B0502040204020203" pitchFamily="34" charset="0"/>
            </a:rPr>
            <a:t>One* .ldf file per database</a:t>
          </a:r>
          <a:endParaRPr lang="en-US" sz="2000" dirty="0">
            <a:latin typeface="Segoe UI" panose="020B0502040204020203" pitchFamily="34" charset="0"/>
          </a:endParaRPr>
        </a:p>
      </dgm:t>
    </dgm:pt>
    <dgm:pt modelId="{0617AE1E-80E3-4C94-9052-C93C27A8943B}" type="parTrans" cxnId="{7BCF1013-38C9-48E2-972E-DBEB84C420D9}">
      <dgm:prSet/>
      <dgm:spPr/>
      <dgm:t>
        <a:bodyPr/>
        <a:lstStyle/>
        <a:p>
          <a:endParaRPr lang="en-US"/>
        </a:p>
      </dgm:t>
    </dgm:pt>
    <dgm:pt modelId="{658E58EC-50C7-486E-8F28-5391C747F232}" type="sibTrans" cxnId="{7BCF1013-38C9-48E2-972E-DBEB84C420D9}">
      <dgm:prSet/>
      <dgm:spPr/>
      <dgm:t>
        <a:bodyPr/>
        <a:lstStyle/>
        <a:p>
          <a:endParaRPr lang="en-US"/>
        </a:p>
      </dgm:t>
    </dgm:pt>
    <dgm:pt modelId="{95504391-4205-4D67-ADA0-8E80282699E7}">
      <dgm:prSet custT="1"/>
      <dgm:spPr/>
      <dgm:t>
        <a:bodyPr/>
        <a:lstStyle/>
        <a:p>
          <a:r>
            <a:rPr lang="en-US" sz="2000" baseline="0" dirty="0">
              <a:latin typeface="Segoe UI" panose="020B0502040204020203" pitchFamily="34" charset="0"/>
            </a:rPr>
            <a:t>Sequential reads and writes</a:t>
          </a:r>
          <a:endParaRPr lang="en-US" sz="2000" dirty="0">
            <a:latin typeface="Segoe UI" panose="020B0502040204020203" pitchFamily="34" charset="0"/>
          </a:endParaRPr>
        </a:p>
      </dgm:t>
    </dgm:pt>
    <dgm:pt modelId="{329209A9-4749-4CFD-A8F1-A62BA0BEE6F3}" type="parTrans" cxnId="{7C9E4CA2-17A8-4B86-9934-E0EE9A841695}">
      <dgm:prSet/>
      <dgm:spPr/>
      <dgm:t>
        <a:bodyPr/>
        <a:lstStyle/>
        <a:p>
          <a:endParaRPr lang="en-US"/>
        </a:p>
      </dgm:t>
    </dgm:pt>
    <dgm:pt modelId="{3E9C5F82-D3BC-408A-A184-E84965CBB356}" type="sibTrans" cxnId="{7C9E4CA2-17A8-4B86-9934-E0EE9A841695}">
      <dgm:prSet/>
      <dgm:spPr/>
      <dgm:t>
        <a:bodyPr/>
        <a:lstStyle/>
        <a:p>
          <a:endParaRPr lang="en-US"/>
        </a:p>
      </dgm:t>
    </dgm:pt>
    <dgm:pt modelId="{35F1FCFF-E5AD-4D87-A34D-50EF80B3603B}">
      <dgm:prSet custT="1"/>
      <dgm:spPr/>
      <dgm:t>
        <a:bodyPr/>
        <a:lstStyle/>
        <a:p>
          <a:r>
            <a:rPr lang="en-US" sz="2000" baseline="0" dirty="0">
              <a:latin typeface="Segoe UI" panose="020B0502040204020203" pitchFamily="34" charset="0"/>
            </a:rPr>
            <a:t>Write activity during the log buffer flush operations</a:t>
          </a:r>
          <a:endParaRPr lang="en-US" sz="2000" dirty="0">
            <a:latin typeface="Segoe UI" panose="020B0502040204020203" pitchFamily="34" charset="0"/>
          </a:endParaRPr>
        </a:p>
      </dgm:t>
    </dgm:pt>
    <dgm:pt modelId="{06991BED-55E1-4A8C-AF07-F96B592CFEAD}" type="parTrans" cxnId="{04F4DDFB-2D7E-434D-B431-B1B83C2D6E7A}">
      <dgm:prSet/>
      <dgm:spPr/>
      <dgm:t>
        <a:bodyPr/>
        <a:lstStyle/>
        <a:p>
          <a:endParaRPr lang="en-US"/>
        </a:p>
      </dgm:t>
    </dgm:pt>
    <dgm:pt modelId="{38154B13-898A-47A5-9197-B5E4F8E4E585}" type="sibTrans" cxnId="{04F4DDFB-2D7E-434D-B431-B1B83C2D6E7A}">
      <dgm:prSet/>
      <dgm:spPr/>
      <dgm:t>
        <a:bodyPr/>
        <a:lstStyle/>
        <a:p>
          <a:endParaRPr lang="en-US"/>
        </a:p>
      </dgm:t>
    </dgm:pt>
    <dgm:pt modelId="{0A69D568-0976-48EF-BC36-59A423252A5D}">
      <dgm:prSet custT="1"/>
      <dgm:spPr/>
      <dgm:t>
        <a:bodyPr/>
        <a:lstStyle/>
        <a:p>
          <a:r>
            <a:rPr lang="en-US" sz="2000" baseline="0" dirty="0">
              <a:latin typeface="Segoe UI" panose="020B0502040204020203" pitchFamily="34" charset="0"/>
            </a:rPr>
            <a:t>Read activity during checkpoints, backups, and recovery</a:t>
          </a:r>
          <a:endParaRPr lang="en-US" sz="2000" dirty="0">
            <a:latin typeface="Segoe UI" panose="020B0502040204020203" pitchFamily="34" charset="0"/>
          </a:endParaRPr>
        </a:p>
      </dgm:t>
    </dgm:pt>
    <dgm:pt modelId="{A345290C-AFAE-443F-A3A1-1CA9BF17F032}" type="parTrans" cxnId="{BAC3A851-B440-4496-940C-D444F6DE615F}">
      <dgm:prSet/>
      <dgm:spPr/>
      <dgm:t>
        <a:bodyPr/>
        <a:lstStyle/>
        <a:p>
          <a:endParaRPr lang="en-US"/>
        </a:p>
      </dgm:t>
    </dgm:pt>
    <dgm:pt modelId="{F205640A-0B78-4EB3-8ADD-B9ADE010060C}" type="sibTrans" cxnId="{BAC3A851-B440-4496-940C-D444F6DE615F}">
      <dgm:prSet/>
      <dgm:spPr/>
      <dgm:t>
        <a:bodyPr/>
        <a:lstStyle/>
        <a:p>
          <a:endParaRPr lang="en-US"/>
        </a:p>
      </dgm:t>
    </dgm:pt>
    <dgm:pt modelId="{1249D2CE-72BF-46F0-95D7-F163F9C26B86}">
      <dgm:prSet custT="1"/>
      <dgm:spPr/>
      <dgm:t>
        <a:bodyPr/>
        <a:lstStyle/>
        <a:p>
          <a:r>
            <a:rPr lang="en-US" sz="2000" baseline="0" dirty="0">
              <a:latin typeface="Segoe UI" panose="020B0502040204020203" pitchFamily="34" charset="0"/>
            </a:rPr>
            <a:t>Features such as database mirroring and replication will increase read and write activity</a:t>
          </a:r>
          <a:endParaRPr lang="en-US" sz="2000" dirty="0">
            <a:latin typeface="Segoe UI" panose="020B0502040204020203" pitchFamily="34" charset="0"/>
          </a:endParaRPr>
        </a:p>
      </dgm:t>
    </dgm:pt>
    <dgm:pt modelId="{09E7B9BD-8EA0-4F09-A547-9AC109925469}" type="parTrans" cxnId="{D2B2E89D-9A4C-403A-BF4A-ABDCFFADD174}">
      <dgm:prSet/>
      <dgm:spPr/>
      <dgm:t>
        <a:bodyPr/>
        <a:lstStyle/>
        <a:p>
          <a:endParaRPr lang="en-US"/>
        </a:p>
      </dgm:t>
    </dgm:pt>
    <dgm:pt modelId="{FECD3895-6FC7-4FF7-8DCD-EC9AF9E53154}" type="sibTrans" cxnId="{D2B2E89D-9A4C-403A-BF4A-ABDCFFADD174}">
      <dgm:prSet/>
      <dgm:spPr/>
      <dgm:t>
        <a:bodyPr/>
        <a:lstStyle/>
        <a:p>
          <a:endParaRPr lang="en-US"/>
        </a:p>
      </dgm:t>
    </dgm:pt>
    <dgm:pt modelId="{C79330A8-C7CF-4F2F-9B54-DCB03D6E059B}" type="pres">
      <dgm:prSet presAssocID="{7265FA74-4C76-4AA5-B436-B0DA5FA08A33}" presName="linear" presStyleCnt="0">
        <dgm:presLayoutVars>
          <dgm:dir/>
          <dgm:animLvl val="lvl"/>
          <dgm:resizeHandles val="exact"/>
        </dgm:presLayoutVars>
      </dgm:prSet>
      <dgm:spPr/>
    </dgm:pt>
    <dgm:pt modelId="{20F90FE4-1CEB-4F7B-8B11-7E52E3089E15}" type="pres">
      <dgm:prSet presAssocID="{B2D613BE-44ED-4833-A9C1-1A3BE887CEBE}" presName="parentLin" presStyleCnt="0"/>
      <dgm:spPr/>
    </dgm:pt>
    <dgm:pt modelId="{6DDD546B-02EA-4477-B6C2-401DDB38AC1C}" type="pres">
      <dgm:prSet presAssocID="{B2D613BE-44ED-4833-A9C1-1A3BE887CEBE}" presName="parentLeftMargin" presStyleLbl="node1" presStyleIdx="0" presStyleCnt="2"/>
      <dgm:spPr/>
    </dgm:pt>
    <dgm:pt modelId="{DC07B57F-D261-4639-A828-A8C83A449FA6}" type="pres">
      <dgm:prSet presAssocID="{B2D613BE-44ED-4833-A9C1-1A3BE887CEBE}" presName="parentText" presStyleLbl="node1" presStyleIdx="0" presStyleCnt="2">
        <dgm:presLayoutVars>
          <dgm:chMax val="0"/>
          <dgm:bulletEnabled val="1"/>
        </dgm:presLayoutVars>
      </dgm:prSet>
      <dgm:spPr/>
    </dgm:pt>
    <dgm:pt modelId="{9CA2E8C7-54CD-470C-B5BC-FDD32C2903EB}" type="pres">
      <dgm:prSet presAssocID="{B2D613BE-44ED-4833-A9C1-1A3BE887CEBE}" presName="negativeSpace" presStyleCnt="0"/>
      <dgm:spPr/>
    </dgm:pt>
    <dgm:pt modelId="{22276CA2-6909-480D-A02E-797D41D36A42}" type="pres">
      <dgm:prSet presAssocID="{B2D613BE-44ED-4833-A9C1-1A3BE887CEBE}" presName="childText" presStyleLbl="conFgAcc1" presStyleIdx="0" presStyleCnt="2">
        <dgm:presLayoutVars>
          <dgm:bulletEnabled val="1"/>
        </dgm:presLayoutVars>
      </dgm:prSet>
      <dgm:spPr/>
    </dgm:pt>
    <dgm:pt modelId="{C9ECD780-5BFF-4009-A410-173011D5613A}" type="pres">
      <dgm:prSet presAssocID="{5A095DA0-BA45-4129-9099-CDE77A90D268}" presName="spaceBetweenRectangles" presStyleCnt="0"/>
      <dgm:spPr/>
    </dgm:pt>
    <dgm:pt modelId="{099FEC7B-160E-4259-9F15-A6011DAA2BF9}" type="pres">
      <dgm:prSet presAssocID="{56B8FEBF-7534-4989-B5EE-29BA6BD5ADFE}" presName="parentLin" presStyleCnt="0"/>
      <dgm:spPr/>
    </dgm:pt>
    <dgm:pt modelId="{3488A31B-32C8-4E35-9D60-5405B1D3B982}" type="pres">
      <dgm:prSet presAssocID="{56B8FEBF-7534-4989-B5EE-29BA6BD5ADFE}" presName="parentLeftMargin" presStyleLbl="node1" presStyleIdx="0" presStyleCnt="2"/>
      <dgm:spPr/>
    </dgm:pt>
    <dgm:pt modelId="{E69402FC-471B-4A89-B10E-D4C4F3060E8A}" type="pres">
      <dgm:prSet presAssocID="{56B8FEBF-7534-4989-B5EE-29BA6BD5ADFE}" presName="parentText" presStyleLbl="node1" presStyleIdx="1" presStyleCnt="2">
        <dgm:presLayoutVars>
          <dgm:chMax val="0"/>
          <dgm:bulletEnabled val="1"/>
        </dgm:presLayoutVars>
      </dgm:prSet>
      <dgm:spPr/>
    </dgm:pt>
    <dgm:pt modelId="{4B39B7A3-9FA6-4D39-9B55-8AADC16CBFB5}" type="pres">
      <dgm:prSet presAssocID="{56B8FEBF-7534-4989-B5EE-29BA6BD5ADFE}" presName="negativeSpace" presStyleCnt="0"/>
      <dgm:spPr/>
    </dgm:pt>
    <dgm:pt modelId="{A5356A9C-92F2-42D9-B685-432A2513A393}" type="pres">
      <dgm:prSet presAssocID="{56B8FEBF-7534-4989-B5EE-29BA6BD5ADFE}" presName="childText" presStyleLbl="conFgAcc1" presStyleIdx="1" presStyleCnt="2">
        <dgm:presLayoutVars>
          <dgm:bulletEnabled val="1"/>
        </dgm:presLayoutVars>
      </dgm:prSet>
      <dgm:spPr/>
    </dgm:pt>
  </dgm:ptLst>
  <dgm:cxnLst>
    <dgm:cxn modelId="{1289DB03-00B4-4472-922B-68F16F2AB9BC}" srcId="{7265FA74-4C76-4AA5-B436-B0DA5FA08A33}" destId="{B2D613BE-44ED-4833-A9C1-1A3BE887CEBE}" srcOrd="0" destOrd="0" parTransId="{3965E237-C7E4-4A20-BCD9-6BB907E081F9}" sibTransId="{5A095DA0-BA45-4129-9099-CDE77A90D268}"/>
    <dgm:cxn modelId="{CA32B810-DA98-4660-97C4-7D04921538DC}" srcId="{B2D613BE-44ED-4833-A9C1-1A3BE887CEBE}" destId="{AF1836AC-7D07-449B-AB63-444B0C1EDD19}" srcOrd="1" destOrd="0" parTransId="{D8BE3A34-97EA-46E4-B257-664ABFA0F60A}" sibTransId="{045EA307-7B0D-483E-84BE-F724F82314A1}"/>
    <dgm:cxn modelId="{7BCF1013-38C9-48E2-972E-DBEB84C420D9}" srcId="{56B8FEBF-7534-4989-B5EE-29BA6BD5ADFE}" destId="{0BC564E0-FF71-4F18-9DD8-5BC81FD4C643}" srcOrd="0" destOrd="0" parTransId="{0617AE1E-80E3-4C94-9052-C93C27A8943B}" sibTransId="{658E58EC-50C7-486E-8F28-5391C747F232}"/>
    <dgm:cxn modelId="{A8D1762B-A6ED-4975-B311-3E7B57C34E81}" type="presOf" srcId="{8DB25616-5232-42A4-9BE5-ABCD1363E09D}" destId="{22276CA2-6909-480D-A02E-797D41D36A42}" srcOrd="0" destOrd="0" presId="urn:microsoft.com/office/officeart/2005/8/layout/list1"/>
    <dgm:cxn modelId="{280A6933-037C-4D94-A319-3E95554627F1}" type="presOf" srcId="{95504391-4205-4D67-ADA0-8E80282699E7}" destId="{A5356A9C-92F2-42D9-B685-432A2513A393}" srcOrd="0" destOrd="1" presId="urn:microsoft.com/office/officeart/2005/8/layout/list1"/>
    <dgm:cxn modelId="{A7975333-233F-48DB-9A66-5D38ECCC8A1A}" type="presOf" srcId="{65FAD969-BCC5-4250-8D1D-9BD8D06CAFA2}" destId="{22276CA2-6909-480D-A02E-797D41D36A42}" srcOrd="0" destOrd="3" presId="urn:microsoft.com/office/officeart/2005/8/layout/list1"/>
    <dgm:cxn modelId="{E3DB2A36-D1FE-472A-B05C-5B0B27DD5416}" type="presOf" srcId="{0A69D568-0976-48EF-BC36-59A423252A5D}" destId="{A5356A9C-92F2-42D9-B685-432A2513A393}" srcOrd="0" destOrd="3" presId="urn:microsoft.com/office/officeart/2005/8/layout/list1"/>
    <dgm:cxn modelId="{8007D539-D3B5-4788-BE80-74151A834CC6}" type="presOf" srcId="{B2D613BE-44ED-4833-A9C1-1A3BE887CEBE}" destId="{6DDD546B-02EA-4477-B6C2-401DDB38AC1C}" srcOrd="0" destOrd="0" presId="urn:microsoft.com/office/officeart/2005/8/layout/list1"/>
    <dgm:cxn modelId="{BDD3E465-94EE-4643-9B13-A944CBD7A9C3}" type="presOf" srcId="{1249D2CE-72BF-46F0-95D7-F163F9C26B86}" destId="{A5356A9C-92F2-42D9-B685-432A2513A393}" srcOrd="0" destOrd="4" presId="urn:microsoft.com/office/officeart/2005/8/layout/list1"/>
    <dgm:cxn modelId="{EF18A947-4F69-411A-BE59-AAC478C5F73D}" type="presOf" srcId="{0BC564E0-FF71-4F18-9DD8-5BC81FD4C643}" destId="{A5356A9C-92F2-42D9-B685-432A2513A393}" srcOrd="0" destOrd="0" presId="urn:microsoft.com/office/officeart/2005/8/layout/list1"/>
    <dgm:cxn modelId="{1DB0BA69-1DA9-4A81-A3FB-813785402A43}" srcId="{7265FA74-4C76-4AA5-B436-B0DA5FA08A33}" destId="{56B8FEBF-7534-4989-B5EE-29BA6BD5ADFE}" srcOrd="1" destOrd="0" parTransId="{5AACDA45-AC67-4560-A4B6-90267679CDDA}" sibTransId="{1DC2C067-8DBC-4FC6-B1B5-3ECFF65DF59E}"/>
    <dgm:cxn modelId="{3F69AA4C-37E1-473D-828C-BEE199B7FF65}" type="presOf" srcId="{56B8FEBF-7534-4989-B5EE-29BA6BD5ADFE}" destId="{3488A31B-32C8-4E35-9D60-5405B1D3B982}" srcOrd="0" destOrd="0" presId="urn:microsoft.com/office/officeart/2005/8/layout/list1"/>
    <dgm:cxn modelId="{7F286950-4066-4FB9-A2BF-D292EEBB5D62}" type="presOf" srcId="{B2D613BE-44ED-4833-A9C1-1A3BE887CEBE}" destId="{DC07B57F-D261-4639-A828-A8C83A449FA6}" srcOrd="1" destOrd="0" presId="urn:microsoft.com/office/officeart/2005/8/layout/list1"/>
    <dgm:cxn modelId="{BAC3A851-B440-4496-940C-D444F6DE615F}" srcId="{56B8FEBF-7534-4989-B5EE-29BA6BD5ADFE}" destId="{0A69D568-0976-48EF-BC36-59A423252A5D}" srcOrd="3" destOrd="0" parTransId="{A345290C-AFAE-443F-A3A1-1CA9BF17F032}" sibTransId="{F205640A-0B78-4EB3-8ADD-B9ADE010060C}"/>
    <dgm:cxn modelId="{1330D078-3342-46F4-AA4F-66E42B17DB23}" srcId="{29710608-8D64-4162-8836-026682D7462C}" destId="{00309F1F-CC24-4788-8955-C6BA37756964}" srcOrd="1" destOrd="0" parTransId="{DAAAF7D4-C2B2-4650-81C1-8FD14E93D8D5}" sibTransId="{E1FFC08E-EA2A-45B4-93F9-54CFB0BD04E0}"/>
    <dgm:cxn modelId="{297B387D-68B0-4DF4-A158-35886CBA49F9}" type="presOf" srcId="{00309F1F-CC24-4788-8955-C6BA37756964}" destId="{22276CA2-6909-480D-A02E-797D41D36A42}" srcOrd="0" destOrd="4" presId="urn:microsoft.com/office/officeart/2005/8/layout/list1"/>
    <dgm:cxn modelId="{09341688-050C-42A5-86A9-3524371504DC}" type="presOf" srcId="{35F1FCFF-E5AD-4D87-A34D-50EF80B3603B}" destId="{A5356A9C-92F2-42D9-B685-432A2513A393}" srcOrd="0" destOrd="2" presId="urn:microsoft.com/office/officeart/2005/8/layout/list1"/>
    <dgm:cxn modelId="{153CA78C-D990-45D3-A244-063761487B99}" srcId="{B2D613BE-44ED-4833-A9C1-1A3BE887CEBE}" destId="{29710608-8D64-4162-8836-026682D7462C}" srcOrd="2" destOrd="0" parTransId="{60754694-5BCB-4FEF-B9BF-C1B5A079EA09}" sibTransId="{8757B622-0F5D-4520-867C-C5BABC656617}"/>
    <dgm:cxn modelId="{E6618198-8692-460B-97AE-25FE9F2500E0}" srcId="{B2D613BE-44ED-4833-A9C1-1A3BE887CEBE}" destId="{8DB25616-5232-42A4-9BE5-ABCD1363E09D}" srcOrd="0" destOrd="0" parTransId="{E1B92534-C2BE-4A7F-B9C3-E34CD7C0DEBA}" sibTransId="{572A957B-304A-4B92-AD4A-07FDE0888AA2}"/>
    <dgm:cxn modelId="{D2B2E89D-9A4C-403A-BF4A-ABDCFFADD174}" srcId="{56B8FEBF-7534-4989-B5EE-29BA6BD5ADFE}" destId="{1249D2CE-72BF-46F0-95D7-F163F9C26B86}" srcOrd="4" destOrd="0" parTransId="{09E7B9BD-8EA0-4F09-A547-9AC109925469}" sibTransId="{FECD3895-6FC7-4FF7-8DCD-EC9AF9E53154}"/>
    <dgm:cxn modelId="{7C9E4CA2-17A8-4B86-9934-E0EE9A841695}" srcId="{56B8FEBF-7534-4989-B5EE-29BA6BD5ADFE}" destId="{95504391-4205-4D67-ADA0-8E80282699E7}" srcOrd="1" destOrd="0" parTransId="{329209A9-4749-4CFD-A8F1-A62BA0BEE6F3}" sibTransId="{3E9C5F82-D3BC-408A-A184-E84965CBB356}"/>
    <dgm:cxn modelId="{AA5BE2A4-4ED3-4501-A469-B455672D6930}" type="presOf" srcId="{7265FA74-4C76-4AA5-B436-B0DA5FA08A33}" destId="{C79330A8-C7CF-4F2F-9B54-DCB03D6E059B}" srcOrd="0" destOrd="0" presId="urn:microsoft.com/office/officeart/2005/8/layout/list1"/>
    <dgm:cxn modelId="{8EC44BC2-56A7-408A-A942-25FA012B02B2}" type="presOf" srcId="{29710608-8D64-4162-8836-026682D7462C}" destId="{22276CA2-6909-480D-A02E-797D41D36A42}" srcOrd="0" destOrd="2" presId="urn:microsoft.com/office/officeart/2005/8/layout/list1"/>
    <dgm:cxn modelId="{17F39DDA-7ABC-4FD9-9E13-853403A96140}" type="presOf" srcId="{AF1836AC-7D07-449B-AB63-444B0C1EDD19}" destId="{22276CA2-6909-480D-A02E-797D41D36A42}" srcOrd="0" destOrd="1" presId="urn:microsoft.com/office/officeart/2005/8/layout/list1"/>
    <dgm:cxn modelId="{8602A2E9-B1AD-4514-8E0F-ABB4E334DB96}" srcId="{29710608-8D64-4162-8836-026682D7462C}" destId="{65FAD969-BCC5-4250-8D1D-9BD8D06CAFA2}" srcOrd="0" destOrd="0" parTransId="{B3D3773D-034C-4B19-8DCD-9BDD0FE2D530}" sibTransId="{0926FEC1-80E0-4CD4-A85C-B1A2F6D92D5F}"/>
    <dgm:cxn modelId="{B5EE9AF6-60EA-4209-A29F-5631A938711D}" type="presOf" srcId="{56B8FEBF-7534-4989-B5EE-29BA6BD5ADFE}" destId="{E69402FC-471B-4A89-B10E-D4C4F3060E8A}" srcOrd="1" destOrd="0" presId="urn:microsoft.com/office/officeart/2005/8/layout/list1"/>
    <dgm:cxn modelId="{04F4DDFB-2D7E-434D-B431-B1B83C2D6E7A}" srcId="{56B8FEBF-7534-4989-B5EE-29BA6BD5ADFE}" destId="{35F1FCFF-E5AD-4D87-A34D-50EF80B3603B}" srcOrd="2" destOrd="0" parTransId="{06991BED-55E1-4A8C-AF07-F96B592CFEAD}" sibTransId="{38154B13-898A-47A5-9197-B5E4F8E4E585}"/>
    <dgm:cxn modelId="{5D8246D5-7125-44D2-AA24-EBE88F40FE3E}" type="presParOf" srcId="{C79330A8-C7CF-4F2F-9B54-DCB03D6E059B}" destId="{20F90FE4-1CEB-4F7B-8B11-7E52E3089E15}" srcOrd="0" destOrd="0" presId="urn:microsoft.com/office/officeart/2005/8/layout/list1"/>
    <dgm:cxn modelId="{DE0665EE-1201-4843-917D-7E97CB1944AA}" type="presParOf" srcId="{20F90FE4-1CEB-4F7B-8B11-7E52E3089E15}" destId="{6DDD546B-02EA-4477-B6C2-401DDB38AC1C}" srcOrd="0" destOrd="0" presId="urn:microsoft.com/office/officeart/2005/8/layout/list1"/>
    <dgm:cxn modelId="{27CAC7D1-1798-4EF9-997D-0C5520658181}" type="presParOf" srcId="{20F90FE4-1CEB-4F7B-8B11-7E52E3089E15}" destId="{DC07B57F-D261-4639-A828-A8C83A449FA6}" srcOrd="1" destOrd="0" presId="urn:microsoft.com/office/officeart/2005/8/layout/list1"/>
    <dgm:cxn modelId="{B5AC499E-0152-4AE1-AA5C-5272D6037FD8}" type="presParOf" srcId="{C79330A8-C7CF-4F2F-9B54-DCB03D6E059B}" destId="{9CA2E8C7-54CD-470C-B5BC-FDD32C2903EB}" srcOrd="1" destOrd="0" presId="urn:microsoft.com/office/officeart/2005/8/layout/list1"/>
    <dgm:cxn modelId="{42778FE8-F560-47F7-A005-670831A26D10}" type="presParOf" srcId="{C79330A8-C7CF-4F2F-9B54-DCB03D6E059B}" destId="{22276CA2-6909-480D-A02E-797D41D36A42}" srcOrd="2" destOrd="0" presId="urn:microsoft.com/office/officeart/2005/8/layout/list1"/>
    <dgm:cxn modelId="{678B205D-40F0-433C-8A25-A4D7D4F98543}" type="presParOf" srcId="{C79330A8-C7CF-4F2F-9B54-DCB03D6E059B}" destId="{C9ECD780-5BFF-4009-A410-173011D5613A}" srcOrd="3" destOrd="0" presId="urn:microsoft.com/office/officeart/2005/8/layout/list1"/>
    <dgm:cxn modelId="{159D1247-E502-412D-B488-82BDC229B331}" type="presParOf" srcId="{C79330A8-C7CF-4F2F-9B54-DCB03D6E059B}" destId="{099FEC7B-160E-4259-9F15-A6011DAA2BF9}" srcOrd="4" destOrd="0" presId="urn:microsoft.com/office/officeart/2005/8/layout/list1"/>
    <dgm:cxn modelId="{3B5A9854-FCCF-4541-988B-8BD076B35606}" type="presParOf" srcId="{099FEC7B-160E-4259-9F15-A6011DAA2BF9}" destId="{3488A31B-32C8-4E35-9D60-5405B1D3B982}" srcOrd="0" destOrd="0" presId="urn:microsoft.com/office/officeart/2005/8/layout/list1"/>
    <dgm:cxn modelId="{F7556033-7974-4DA2-B995-BAA68F12F369}" type="presParOf" srcId="{099FEC7B-160E-4259-9F15-A6011DAA2BF9}" destId="{E69402FC-471B-4A89-B10E-D4C4F3060E8A}" srcOrd="1" destOrd="0" presId="urn:microsoft.com/office/officeart/2005/8/layout/list1"/>
    <dgm:cxn modelId="{39984AA6-150D-4A18-82E8-A447BA11C03C}" type="presParOf" srcId="{C79330A8-C7CF-4F2F-9B54-DCB03D6E059B}" destId="{4B39B7A3-9FA6-4D39-9B55-8AADC16CBFB5}" srcOrd="5" destOrd="0" presId="urn:microsoft.com/office/officeart/2005/8/layout/list1"/>
    <dgm:cxn modelId="{F73363A6-A27A-4E09-B2CD-704448CDF5FF}" type="presParOf" srcId="{C79330A8-C7CF-4F2F-9B54-DCB03D6E059B}" destId="{A5356A9C-92F2-42D9-B685-432A2513A393}"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AFDCFADA-56B1-47CE-99CB-A641F56F2586}"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9A1837C6-E739-4CC6-9152-9E9E1A2DFBF2}">
      <dgm:prSet custT="1"/>
      <dgm:spPr/>
      <dgm:t>
        <a:bodyPr/>
        <a:lstStyle/>
        <a:p>
          <a:pPr algn="ctr"/>
          <a:r>
            <a:rPr lang="en-US" sz="2400" baseline="0" dirty="0"/>
            <a:t>To avoid VLF fragmentation</a:t>
          </a:r>
          <a:endParaRPr lang="en-US" sz="2400" dirty="0"/>
        </a:p>
      </dgm:t>
    </dgm:pt>
    <dgm:pt modelId="{5B41EF2B-74E0-4F9A-9838-FBAB727A42D0}" type="parTrans" cxnId="{5669CE81-FE0F-4D16-9A29-5205DA886C85}">
      <dgm:prSet/>
      <dgm:spPr/>
      <dgm:t>
        <a:bodyPr/>
        <a:lstStyle/>
        <a:p>
          <a:endParaRPr lang="en-US" sz="1600"/>
        </a:p>
      </dgm:t>
    </dgm:pt>
    <dgm:pt modelId="{AB4F7500-3413-42D2-B299-D0257C2BDD07}" type="sibTrans" cxnId="{5669CE81-FE0F-4D16-9A29-5205DA886C85}">
      <dgm:prSet/>
      <dgm:spPr/>
      <dgm:t>
        <a:bodyPr/>
        <a:lstStyle/>
        <a:p>
          <a:endParaRPr lang="en-US" sz="1600"/>
        </a:p>
      </dgm:t>
    </dgm:pt>
    <dgm:pt modelId="{1B070914-0E2C-4BD3-9B35-D1DD1D7CE82D}">
      <dgm:prSet custT="1"/>
      <dgm:spPr/>
      <dgm:t>
        <a:bodyPr/>
        <a:lstStyle/>
        <a:p>
          <a:r>
            <a:rPr lang="en-US" sz="2400" baseline="0" dirty="0"/>
            <a:t>Pre-size log files to avoid unplanned file growth</a:t>
          </a:r>
          <a:endParaRPr lang="en-US" sz="2400" dirty="0"/>
        </a:p>
      </dgm:t>
    </dgm:pt>
    <dgm:pt modelId="{546BDA8A-455A-497B-832A-1B461F6CD96E}" type="parTrans" cxnId="{DE2DB9D4-1ABD-45BB-AFE1-41A7355E185D}">
      <dgm:prSet/>
      <dgm:spPr/>
      <dgm:t>
        <a:bodyPr/>
        <a:lstStyle/>
        <a:p>
          <a:endParaRPr lang="en-US"/>
        </a:p>
      </dgm:t>
    </dgm:pt>
    <dgm:pt modelId="{65E5D366-E7B4-4CA1-A120-1B2A12949AEB}" type="sibTrans" cxnId="{DE2DB9D4-1ABD-45BB-AFE1-41A7355E185D}">
      <dgm:prSet/>
      <dgm:spPr/>
      <dgm:t>
        <a:bodyPr/>
        <a:lstStyle/>
        <a:p>
          <a:endParaRPr lang="en-US"/>
        </a:p>
      </dgm:t>
    </dgm:pt>
    <dgm:pt modelId="{712BDDD6-3180-487E-993E-F24F065B1B3C}">
      <dgm:prSet custT="1"/>
      <dgm:spPr/>
      <dgm:t>
        <a:bodyPr/>
        <a:lstStyle/>
        <a:p>
          <a:r>
            <a:rPr lang="en-US" sz="2400" baseline="0" dirty="0"/>
            <a:t>Set autogrowth to an appropriate fixed size</a:t>
          </a:r>
          <a:endParaRPr lang="en-US" sz="2400" dirty="0"/>
        </a:p>
      </dgm:t>
    </dgm:pt>
    <dgm:pt modelId="{81405C20-B030-41D2-B963-7A0563A3014B}" type="parTrans" cxnId="{BB051037-F8FC-46C6-89AF-90FD16A4556A}">
      <dgm:prSet/>
      <dgm:spPr/>
      <dgm:t>
        <a:bodyPr/>
        <a:lstStyle/>
        <a:p>
          <a:endParaRPr lang="en-US"/>
        </a:p>
      </dgm:t>
    </dgm:pt>
    <dgm:pt modelId="{1D09B374-C057-4E54-9FA7-8DD13C221F93}" type="sibTrans" cxnId="{BB051037-F8FC-46C6-89AF-90FD16A4556A}">
      <dgm:prSet/>
      <dgm:spPr/>
      <dgm:t>
        <a:bodyPr/>
        <a:lstStyle/>
        <a:p>
          <a:endParaRPr lang="en-US"/>
        </a:p>
      </dgm:t>
    </dgm:pt>
    <dgm:pt modelId="{CBB3ABE2-56DA-48A9-957B-EAB8DF08F9F7}">
      <dgm:prSet custT="1"/>
      <dgm:spPr/>
      <dgm:t>
        <a:bodyPr/>
        <a:lstStyle/>
        <a:p>
          <a:pPr algn="ctr"/>
          <a:r>
            <a:rPr lang="en-US" sz="2400" baseline="0" dirty="0"/>
            <a:t>To view VLFs</a:t>
          </a:r>
          <a:endParaRPr lang="en-US" sz="2400" dirty="0"/>
        </a:p>
      </dgm:t>
    </dgm:pt>
    <dgm:pt modelId="{A9667D9E-3907-4309-A684-528DEAEEFAE2}" type="parTrans" cxnId="{86F88FD7-20D8-4FE4-81C3-E085BCB41634}">
      <dgm:prSet/>
      <dgm:spPr/>
      <dgm:t>
        <a:bodyPr/>
        <a:lstStyle/>
        <a:p>
          <a:endParaRPr lang="en-US"/>
        </a:p>
      </dgm:t>
    </dgm:pt>
    <dgm:pt modelId="{BA2F420F-7AAE-43DA-B16D-C613D90C966B}" type="sibTrans" cxnId="{86F88FD7-20D8-4FE4-81C3-E085BCB41634}">
      <dgm:prSet/>
      <dgm:spPr/>
      <dgm:t>
        <a:bodyPr/>
        <a:lstStyle/>
        <a:p>
          <a:endParaRPr lang="en-US"/>
        </a:p>
      </dgm:t>
    </dgm:pt>
    <dgm:pt modelId="{A2DFB8E8-A64E-4687-A41B-BAC714DCBEF9}">
      <dgm:prSet custT="1"/>
      <dgm:spPr/>
      <dgm:t>
        <a:bodyPr/>
        <a:lstStyle/>
        <a:p>
          <a:r>
            <a:rPr lang="en-US" sz="2400" baseline="0" dirty="0">
              <a:latin typeface="+mn-lt"/>
            </a:rPr>
            <a:t>DBCC LOGINFO (&lt;database_id&gt;)</a:t>
          </a:r>
          <a:endParaRPr lang="en-US" sz="2400" dirty="0">
            <a:latin typeface="+mn-lt"/>
          </a:endParaRPr>
        </a:p>
      </dgm:t>
    </dgm:pt>
    <dgm:pt modelId="{ABBDEEC3-A28B-4EF9-ABD6-190DE7A2CCDF}" type="parTrans" cxnId="{656B001E-EB1F-41B7-ACFD-42E5954C2961}">
      <dgm:prSet/>
      <dgm:spPr/>
      <dgm:t>
        <a:bodyPr/>
        <a:lstStyle/>
        <a:p>
          <a:endParaRPr lang="en-US"/>
        </a:p>
      </dgm:t>
    </dgm:pt>
    <dgm:pt modelId="{ECFAC733-3148-4EF6-B6FE-AC81AA48EF12}" type="sibTrans" cxnId="{656B001E-EB1F-41B7-ACFD-42E5954C2961}">
      <dgm:prSet/>
      <dgm:spPr/>
      <dgm:t>
        <a:bodyPr/>
        <a:lstStyle/>
        <a:p>
          <a:endParaRPr lang="en-US"/>
        </a:p>
      </dgm:t>
    </dgm:pt>
    <dgm:pt modelId="{6D456B3A-A555-4897-8694-1E10EEE9190A}">
      <dgm:prSet custT="1"/>
      <dgm:spPr/>
      <dgm:t>
        <a:bodyPr/>
        <a:lstStyle/>
        <a:p>
          <a:r>
            <a:rPr lang="en-US" sz="2400" baseline="0">
              <a:latin typeface="+mn-lt"/>
            </a:rPr>
            <a:t>sys.dm_db_log_info (SQL Server 2016 SP2 and higher )</a:t>
          </a:r>
          <a:endParaRPr lang="en-US" sz="2400" dirty="0">
            <a:latin typeface="+mn-lt"/>
          </a:endParaRPr>
        </a:p>
      </dgm:t>
    </dgm:pt>
    <dgm:pt modelId="{CF21D87A-39AE-4F8C-AA55-D26BB470D52A}" type="parTrans" cxnId="{A97F28F9-C82E-4B10-81EC-4D8DA6554331}">
      <dgm:prSet/>
      <dgm:spPr/>
      <dgm:t>
        <a:bodyPr/>
        <a:lstStyle/>
        <a:p>
          <a:endParaRPr lang="en-US"/>
        </a:p>
      </dgm:t>
    </dgm:pt>
    <dgm:pt modelId="{0AF701BF-4378-4F12-84A5-0A84D379BDB5}" type="sibTrans" cxnId="{A97F28F9-C82E-4B10-81EC-4D8DA6554331}">
      <dgm:prSet/>
      <dgm:spPr/>
      <dgm:t>
        <a:bodyPr/>
        <a:lstStyle/>
        <a:p>
          <a:endParaRPr lang="en-US"/>
        </a:p>
      </dgm:t>
    </dgm:pt>
    <dgm:pt modelId="{6C19317D-EB9F-4ED3-BFC3-1935C9B355D6}">
      <dgm:prSet custT="1"/>
      <dgm:spPr/>
      <dgm:t>
        <a:bodyPr/>
        <a:lstStyle/>
        <a:p>
          <a:r>
            <a:rPr lang="en-US" sz="2400" baseline="0" dirty="0">
              <a:latin typeface="+mn-lt"/>
            </a:rPr>
            <a:t>Active VLFs have a status of 2</a:t>
          </a:r>
          <a:endParaRPr lang="en-US" sz="2400" dirty="0">
            <a:latin typeface="+mn-lt"/>
          </a:endParaRPr>
        </a:p>
      </dgm:t>
    </dgm:pt>
    <dgm:pt modelId="{27DFC88A-BD7B-496A-A359-3364F50C5D34}" type="parTrans" cxnId="{0C275A98-D54C-4333-A1D0-9FC00796AB30}">
      <dgm:prSet/>
      <dgm:spPr/>
      <dgm:t>
        <a:bodyPr/>
        <a:lstStyle/>
        <a:p>
          <a:endParaRPr lang="en-US"/>
        </a:p>
      </dgm:t>
    </dgm:pt>
    <dgm:pt modelId="{B37E66E3-0639-4C67-A042-6D704624F222}" type="sibTrans" cxnId="{0C275A98-D54C-4333-A1D0-9FC00796AB30}">
      <dgm:prSet/>
      <dgm:spPr/>
      <dgm:t>
        <a:bodyPr/>
        <a:lstStyle/>
        <a:p>
          <a:endParaRPr lang="en-US"/>
        </a:p>
      </dgm:t>
    </dgm:pt>
    <dgm:pt modelId="{D4B69FA9-9D90-45A9-B574-01B7951FACCB}">
      <dgm:prSet custT="1"/>
      <dgm:spPr/>
      <dgm:t>
        <a:bodyPr/>
        <a:lstStyle/>
        <a:p>
          <a:r>
            <a:rPr lang="en-US" sz="2400" baseline="0" dirty="0">
              <a:latin typeface="+mn-lt"/>
            </a:rPr>
            <a:t>SQL Server Error Log (SQL 2012 and higher)</a:t>
          </a:r>
          <a:endParaRPr lang="en-US" sz="2400" dirty="0">
            <a:latin typeface="+mn-lt"/>
          </a:endParaRPr>
        </a:p>
      </dgm:t>
    </dgm:pt>
    <dgm:pt modelId="{AD6BDF6F-A0F3-4E15-972A-D92A795884AC}" type="parTrans" cxnId="{82EE8A03-A58C-419C-AF99-83F1E136443F}">
      <dgm:prSet/>
      <dgm:spPr/>
      <dgm:t>
        <a:bodyPr/>
        <a:lstStyle/>
        <a:p>
          <a:endParaRPr lang="en-US"/>
        </a:p>
      </dgm:t>
    </dgm:pt>
    <dgm:pt modelId="{6C0BE8F2-7529-40D1-BF72-F47102519418}" type="sibTrans" cxnId="{82EE8A03-A58C-419C-AF99-83F1E136443F}">
      <dgm:prSet/>
      <dgm:spPr/>
      <dgm:t>
        <a:bodyPr/>
        <a:lstStyle/>
        <a:p>
          <a:endParaRPr lang="en-US"/>
        </a:p>
      </dgm:t>
    </dgm:pt>
    <dgm:pt modelId="{820C2D47-BCB3-4805-B3BD-BF9270C6F8EB}" type="pres">
      <dgm:prSet presAssocID="{AFDCFADA-56B1-47CE-99CB-A641F56F2586}" presName="Name0" presStyleCnt="0">
        <dgm:presLayoutVars>
          <dgm:dir/>
          <dgm:animLvl val="lvl"/>
          <dgm:resizeHandles val="exact"/>
        </dgm:presLayoutVars>
      </dgm:prSet>
      <dgm:spPr/>
    </dgm:pt>
    <dgm:pt modelId="{8B3EB5EE-A97F-45D5-AA20-B36E78805055}" type="pres">
      <dgm:prSet presAssocID="{9A1837C6-E739-4CC6-9152-9E9E1A2DFBF2}" presName="composite" presStyleCnt="0"/>
      <dgm:spPr/>
    </dgm:pt>
    <dgm:pt modelId="{9E857E30-CB40-4959-93BD-2B947737A584}" type="pres">
      <dgm:prSet presAssocID="{9A1837C6-E739-4CC6-9152-9E9E1A2DFBF2}" presName="parTx" presStyleLbl="alignNode1" presStyleIdx="0" presStyleCnt="2">
        <dgm:presLayoutVars>
          <dgm:chMax val="0"/>
          <dgm:chPref val="0"/>
          <dgm:bulletEnabled val="1"/>
        </dgm:presLayoutVars>
      </dgm:prSet>
      <dgm:spPr/>
    </dgm:pt>
    <dgm:pt modelId="{F818A7ED-A6B5-4A92-BE5F-15C48862F954}" type="pres">
      <dgm:prSet presAssocID="{9A1837C6-E739-4CC6-9152-9E9E1A2DFBF2}" presName="desTx" presStyleLbl="alignAccFollowNode1" presStyleIdx="0" presStyleCnt="2">
        <dgm:presLayoutVars>
          <dgm:bulletEnabled val="1"/>
        </dgm:presLayoutVars>
      </dgm:prSet>
      <dgm:spPr/>
    </dgm:pt>
    <dgm:pt modelId="{75B3A935-EC79-47BD-9FF3-341066892BFE}" type="pres">
      <dgm:prSet presAssocID="{AB4F7500-3413-42D2-B299-D0257C2BDD07}" presName="space" presStyleCnt="0"/>
      <dgm:spPr/>
    </dgm:pt>
    <dgm:pt modelId="{701F9D35-32FF-463B-8B6E-CBB7D57B8E46}" type="pres">
      <dgm:prSet presAssocID="{CBB3ABE2-56DA-48A9-957B-EAB8DF08F9F7}" presName="composite" presStyleCnt="0"/>
      <dgm:spPr/>
    </dgm:pt>
    <dgm:pt modelId="{DD8549A9-7F81-4642-B655-0A6E1398356E}" type="pres">
      <dgm:prSet presAssocID="{CBB3ABE2-56DA-48A9-957B-EAB8DF08F9F7}" presName="parTx" presStyleLbl="alignNode1" presStyleIdx="1" presStyleCnt="2">
        <dgm:presLayoutVars>
          <dgm:chMax val="0"/>
          <dgm:chPref val="0"/>
          <dgm:bulletEnabled val="1"/>
        </dgm:presLayoutVars>
      </dgm:prSet>
      <dgm:spPr/>
    </dgm:pt>
    <dgm:pt modelId="{0CD312EF-073D-451E-AE96-15C3C6D43B4D}" type="pres">
      <dgm:prSet presAssocID="{CBB3ABE2-56DA-48A9-957B-EAB8DF08F9F7}" presName="desTx" presStyleLbl="alignAccFollowNode1" presStyleIdx="1" presStyleCnt="2">
        <dgm:presLayoutVars>
          <dgm:bulletEnabled val="1"/>
        </dgm:presLayoutVars>
      </dgm:prSet>
      <dgm:spPr/>
    </dgm:pt>
  </dgm:ptLst>
  <dgm:cxnLst>
    <dgm:cxn modelId="{82EE8A03-A58C-419C-AF99-83F1E136443F}" srcId="{CBB3ABE2-56DA-48A9-957B-EAB8DF08F9F7}" destId="{D4B69FA9-9D90-45A9-B574-01B7951FACCB}" srcOrd="3" destOrd="0" parTransId="{AD6BDF6F-A0F3-4E15-972A-D92A795884AC}" sibTransId="{6C0BE8F2-7529-40D1-BF72-F47102519418}"/>
    <dgm:cxn modelId="{5F792709-8BB6-4F38-98AB-BFB5886A0E8C}" type="presOf" srcId="{D4B69FA9-9D90-45A9-B574-01B7951FACCB}" destId="{0CD312EF-073D-451E-AE96-15C3C6D43B4D}" srcOrd="0" destOrd="3" presId="urn:microsoft.com/office/officeart/2005/8/layout/hList1"/>
    <dgm:cxn modelId="{656B001E-EB1F-41B7-ACFD-42E5954C2961}" srcId="{CBB3ABE2-56DA-48A9-957B-EAB8DF08F9F7}" destId="{A2DFB8E8-A64E-4687-A41B-BAC714DCBEF9}" srcOrd="0" destOrd="0" parTransId="{ABBDEEC3-A28B-4EF9-ABD6-190DE7A2CCDF}" sibTransId="{ECFAC733-3148-4EF6-B6FE-AC81AA48EF12}"/>
    <dgm:cxn modelId="{DBC8AE1F-F7AC-43DF-86D6-8ADBEAFC77B1}" type="presOf" srcId="{A2DFB8E8-A64E-4687-A41B-BAC714DCBEF9}" destId="{0CD312EF-073D-451E-AE96-15C3C6D43B4D}" srcOrd="0" destOrd="0" presId="urn:microsoft.com/office/officeart/2005/8/layout/hList1"/>
    <dgm:cxn modelId="{1F6B9F2B-5E8B-42CE-B411-886C5024BD93}" type="presOf" srcId="{6C19317D-EB9F-4ED3-BFC3-1935C9B355D6}" destId="{0CD312EF-073D-451E-AE96-15C3C6D43B4D}" srcOrd="0" destOrd="2" presId="urn:microsoft.com/office/officeart/2005/8/layout/hList1"/>
    <dgm:cxn modelId="{BB051037-F8FC-46C6-89AF-90FD16A4556A}" srcId="{9A1837C6-E739-4CC6-9152-9E9E1A2DFBF2}" destId="{712BDDD6-3180-487E-993E-F24F065B1B3C}" srcOrd="1" destOrd="0" parTransId="{81405C20-B030-41D2-B963-7A0563A3014B}" sibTransId="{1D09B374-C057-4E54-9FA7-8DD13C221F93}"/>
    <dgm:cxn modelId="{711EDA46-BF9A-4BF6-8D94-6C1DFF93373C}" type="presOf" srcId="{1B070914-0E2C-4BD3-9B35-D1DD1D7CE82D}" destId="{F818A7ED-A6B5-4A92-BE5F-15C48862F954}" srcOrd="0" destOrd="0" presId="urn:microsoft.com/office/officeart/2005/8/layout/hList1"/>
    <dgm:cxn modelId="{DA54ED46-A624-4E9E-9BDF-5EA6961E695D}" type="presOf" srcId="{9A1837C6-E739-4CC6-9152-9E9E1A2DFBF2}" destId="{9E857E30-CB40-4959-93BD-2B947737A584}" srcOrd="0" destOrd="0" presId="urn:microsoft.com/office/officeart/2005/8/layout/hList1"/>
    <dgm:cxn modelId="{0880874F-9A56-457E-A331-1BACA83E3799}" type="presOf" srcId="{712BDDD6-3180-487E-993E-F24F065B1B3C}" destId="{F818A7ED-A6B5-4A92-BE5F-15C48862F954}" srcOrd="0" destOrd="1" presId="urn:microsoft.com/office/officeart/2005/8/layout/hList1"/>
    <dgm:cxn modelId="{5669CE81-FE0F-4D16-9A29-5205DA886C85}" srcId="{AFDCFADA-56B1-47CE-99CB-A641F56F2586}" destId="{9A1837C6-E739-4CC6-9152-9E9E1A2DFBF2}" srcOrd="0" destOrd="0" parTransId="{5B41EF2B-74E0-4F9A-9838-FBAB727A42D0}" sibTransId="{AB4F7500-3413-42D2-B299-D0257C2BDD07}"/>
    <dgm:cxn modelId="{0C275A98-D54C-4333-A1D0-9FC00796AB30}" srcId="{CBB3ABE2-56DA-48A9-957B-EAB8DF08F9F7}" destId="{6C19317D-EB9F-4ED3-BFC3-1935C9B355D6}" srcOrd="2" destOrd="0" parTransId="{27DFC88A-BD7B-496A-A359-3364F50C5D34}" sibTransId="{B37E66E3-0639-4C67-A042-6D704624F222}"/>
    <dgm:cxn modelId="{FF0FCEA3-DD1D-4580-8F18-312E3BD0FFEE}" type="presOf" srcId="{6D456B3A-A555-4897-8694-1E10EEE9190A}" destId="{0CD312EF-073D-451E-AE96-15C3C6D43B4D}" srcOrd="0" destOrd="1" presId="urn:microsoft.com/office/officeart/2005/8/layout/hList1"/>
    <dgm:cxn modelId="{DE2DB9D4-1ABD-45BB-AFE1-41A7355E185D}" srcId="{9A1837C6-E739-4CC6-9152-9E9E1A2DFBF2}" destId="{1B070914-0E2C-4BD3-9B35-D1DD1D7CE82D}" srcOrd="0" destOrd="0" parTransId="{546BDA8A-455A-497B-832A-1B461F6CD96E}" sibTransId="{65E5D366-E7B4-4CA1-A120-1B2A12949AEB}"/>
    <dgm:cxn modelId="{86F88FD7-20D8-4FE4-81C3-E085BCB41634}" srcId="{AFDCFADA-56B1-47CE-99CB-A641F56F2586}" destId="{CBB3ABE2-56DA-48A9-957B-EAB8DF08F9F7}" srcOrd="1" destOrd="0" parTransId="{A9667D9E-3907-4309-A684-528DEAEEFAE2}" sibTransId="{BA2F420F-7AAE-43DA-B16D-C613D90C966B}"/>
    <dgm:cxn modelId="{AEE5D7DD-C9B2-4CD3-8239-1FD458E916CF}" type="presOf" srcId="{AFDCFADA-56B1-47CE-99CB-A641F56F2586}" destId="{820C2D47-BCB3-4805-B3BD-BF9270C6F8EB}" srcOrd="0" destOrd="0" presId="urn:microsoft.com/office/officeart/2005/8/layout/hList1"/>
    <dgm:cxn modelId="{1469F6ED-AA7C-45B9-B4BF-C9E6E487430E}" type="presOf" srcId="{CBB3ABE2-56DA-48A9-957B-EAB8DF08F9F7}" destId="{DD8549A9-7F81-4642-B655-0A6E1398356E}" srcOrd="0" destOrd="0" presId="urn:microsoft.com/office/officeart/2005/8/layout/hList1"/>
    <dgm:cxn modelId="{A97F28F9-C82E-4B10-81EC-4D8DA6554331}" srcId="{CBB3ABE2-56DA-48A9-957B-EAB8DF08F9F7}" destId="{6D456B3A-A555-4897-8694-1E10EEE9190A}" srcOrd="1" destOrd="0" parTransId="{CF21D87A-39AE-4F8C-AA55-D26BB470D52A}" sibTransId="{0AF701BF-4378-4F12-84A5-0A84D379BDB5}"/>
    <dgm:cxn modelId="{E75841A3-A4C4-49DA-8637-73389E279B73}" type="presParOf" srcId="{820C2D47-BCB3-4805-B3BD-BF9270C6F8EB}" destId="{8B3EB5EE-A97F-45D5-AA20-B36E78805055}" srcOrd="0" destOrd="0" presId="urn:microsoft.com/office/officeart/2005/8/layout/hList1"/>
    <dgm:cxn modelId="{5F0DE650-EB81-4190-85DD-C7CC269DD19D}" type="presParOf" srcId="{8B3EB5EE-A97F-45D5-AA20-B36E78805055}" destId="{9E857E30-CB40-4959-93BD-2B947737A584}" srcOrd="0" destOrd="0" presId="urn:microsoft.com/office/officeart/2005/8/layout/hList1"/>
    <dgm:cxn modelId="{CDBF4E7B-593B-4401-AD72-0E9C2FD0D145}" type="presParOf" srcId="{8B3EB5EE-A97F-45D5-AA20-B36E78805055}" destId="{F818A7ED-A6B5-4A92-BE5F-15C48862F954}" srcOrd="1" destOrd="0" presId="urn:microsoft.com/office/officeart/2005/8/layout/hList1"/>
    <dgm:cxn modelId="{A46F5DB1-5540-46DF-92A7-20FB6D50E259}" type="presParOf" srcId="{820C2D47-BCB3-4805-B3BD-BF9270C6F8EB}" destId="{75B3A935-EC79-47BD-9FF3-341066892BFE}" srcOrd="1" destOrd="0" presId="urn:microsoft.com/office/officeart/2005/8/layout/hList1"/>
    <dgm:cxn modelId="{2832BBBD-2AFF-400F-A634-2B2B77ADDD0E}" type="presParOf" srcId="{820C2D47-BCB3-4805-B3BD-BF9270C6F8EB}" destId="{701F9D35-32FF-463B-8B6E-CBB7D57B8E46}" srcOrd="2" destOrd="0" presId="urn:microsoft.com/office/officeart/2005/8/layout/hList1"/>
    <dgm:cxn modelId="{7C1CCFA1-D0D2-47EE-A2DE-3E0D3D4E8103}" type="presParOf" srcId="{701F9D35-32FF-463B-8B6E-CBB7D57B8E46}" destId="{DD8549A9-7F81-4642-B655-0A6E1398356E}" srcOrd="0" destOrd="0" presId="urn:microsoft.com/office/officeart/2005/8/layout/hList1"/>
    <dgm:cxn modelId="{206CCB33-9F98-4564-B3F2-33645127C0C6}" type="presParOf" srcId="{701F9D35-32FF-463B-8B6E-CBB7D57B8E46}" destId="{0CD312EF-073D-451E-AE96-15C3C6D43B4D}"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73DE18EC-8491-4704-8071-F2A4BDB5F20B}" type="doc">
      <dgm:prSet loTypeId="urn:microsoft.com/office/officeart/2005/8/layout/vList2" loCatId="list" qsTypeId="urn:microsoft.com/office/officeart/2005/8/quickstyle/simple1" qsCatId="simple" csTypeId="urn:microsoft.com/office/officeart/2005/8/colors/accent2_5" csCatId="accent2" phldr="1"/>
      <dgm:spPr/>
      <dgm:t>
        <a:bodyPr/>
        <a:lstStyle/>
        <a:p>
          <a:endParaRPr lang="en-US"/>
        </a:p>
      </dgm:t>
    </dgm:pt>
    <dgm:pt modelId="{4763C2EE-420F-4FCD-AA73-AAB32300A35F}">
      <dgm:prSet/>
      <dgm:spPr/>
      <dgm:t>
        <a:bodyPr/>
        <a:lstStyle/>
        <a:p>
          <a:r>
            <a:rPr lang="en-US" dirty="0"/>
            <a:t>Log I/O contention is still possible when there is a high degree of concurrency.</a:t>
          </a:r>
        </a:p>
      </dgm:t>
    </dgm:pt>
    <dgm:pt modelId="{430711BD-534E-41FE-BE1F-5B025E8C3C33}" type="parTrans" cxnId="{2996B5A0-2D12-4143-A14F-8D5243B163D2}">
      <dgm:prSet/>
      <dgm:spPr/>
      <dgm:t>
        <a:bodyPr/>
        <a:lstStyle/>
        <a:p>
          <a:endParaRPr lang="en-US"/>
        </a:p>
      </dgm:t>
    </dgm:pt>
    <dgm:pt modelId="{48751BCC-E0F2-4A56-9A4B-7BAB049EEADF}" type="sibTrans" cxnId="{2996B5A0-2D12-4143-A14F-8D5243B163D2}">
      <dgm:prSet/>
      <dgm:spPr/>
      <dgm:t>
        <a:bodyPr/>
        <a:lstStyle/>
        <a:p>
          <a:endParaRPr lang="en-US"/>
        </a:p>
      </dgm:t>
    </dgm:pt>
    <dgm:pt modelId="{D62AAD00-894B-42D8-ADB6-D821A3A89BDE}" type="pres">
      <dgm:prSet presAssocID="{73DE18EC-8491-4704-8071-F2A4BDB5F20B}" presName="linear" presStyleCnt="0">
        <dgm:presLayoutVars>
          <dgm:animLvl val="lvl"/>
          <dgm:resizeHandles val="exact"/>
        </dgm:presLayoutVars>
      </dgm:prSet>
      <dgm:spPr/>
    </dgm:pt>
    <dgm:pt modelId="{002830A3-079B-4506-8685-DADEEFE79F24}" type="pres">
      <dgm:prSet presAssocID="{4763C2EE-420F-4FCD-AA73-AAB32300A35F}" presName="parentText" presStyleLbl="node1" presStyleIdx="0" presStyleCnt="1" custLinFactNeighborX="-306">
        <dgm:presLayoutVars>
          <dgm:chMax val="0"/>
          <dgm:bulletEnabled val="1"/>
        </dgm:presLayoutVars>
      </dgm:prSet>
      <dgm:spPr/>
    </dgm:pt>
  </dgm:ptLst>
  <dgm:cxnLst>
    <dgm:cxn modelId="{0CE85C22-0B87-4D54-9623-D59096B7210E}" type="presOf" srcId="{4763C2EE-420F-4FCD-AA73-AAB32300A35F}" destId="{002830A3-079B-4506-8685-DADEEFE79F24}" srcOrd="0" destOrd="0" presId="urn:microsoft.com/office/officeart/2005/8/layout/vList2"/>
    <dgm:cxn modelId="{2996B5A0-2D12-4143-A14F-8D5243B163D2}" srcId="{73DE18EC-8491-4704-8071-F2A4BDB5F20B}" destId="{4763C2EE-420F-4FCD-AA73-AAB32300A35F}" srcOrd="0" destOrd="0" parTransId="{430711BD-534E-41FE-BE1F-5B025E8C3C33}" sibTransId="{48751BCC-E0F2-4A56-9A4B-7BAB049EEADF}"/>
    <dgm:cxn modelId="{19886DE9-A99A-48DF-8ADC-5DADEFBB4A59}" type="presOf" srcId="{73DE18EC-8491-4704-8071-F2A4BDB5F20B}" destId="{D62AAD00-894B-42D8-ADB6-D821A3A89BDE}" srcOrd="0" destOrd="0" presId="urn:microsoft.com/office/officeart/2005/8/layout/vList2"/>
    <dgm:cxn modelId="{62BA044A-5A24-4893-9C44-7143FEE46106}" type="presParOf" srcId="{D62AAD00-894B-42D8-ADB6-D821A3A89BDE}" destId="{002830A3-079B-4506-8685-DADEEFE79F24}"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9CCB1806-D31D-4F12-A526-2ADF1ED87D0C}"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en-US"/>
        </a:p>
      </dgm:t>
    </dgm:pt>
    <dgm:pt modelId="{2D376F54-8854-432D-9F17-C791CA4C1C69}">
      <dgm:prSet custT="1"/>
      <dgm:spPr/>
      <dgm:t>
        <a:bodyPr/>
        <a:lstStyle/>
        <a:p>
          <a:r>
            <a:rPr lang="en-US" sz="2400" baseline="0" dirty="0"/>
            <a:t>Some data loss can be tolerated.</a:t>
          </a:r>
          <a:endParaRPr lang="en-US" sz="2400" dirty="0"/>
        </a:p>
      </dgm:t>
    </dgm:pt>
    <dgm:pt modelId="{59BB45D1-2D19-44E6-BCD8-83CCA3A27F86}" type="parTrans" cxnId="{0612640A-CEED-42C0-A718-205EEFE15C66}">
      <dgm:prSet/>
      <dgm:spPr/>
      <dgm:t>
        <a:bodyPr/>
        <a:lstStyle/>
        <a:p>
          <a:endParaRPr lang="en-US"/>
        </a:p>
      </dgm:t>
    </dgm:pt>
    <dgm:pt modelId="{8BB8FD3C-35C7-4707-AF2F-D9AEE95D1671}" type="sibTrans" cxnId="{0612640A-CEED-42C0-A718-205EEFE15C66}">
      <dgm:prSet/>
      <dgm:spPr/>
      <dgm:t>
        <a:bodyPr/>
        <a:lstStyle/>
        <a:p>
          <a:endParaRPr lang="en-US"/>
        </a:p>
      </dgm:t>
    </dgm:pt>
    <dgm:pt modelId="{7311F3D5-1330-464B-8DF4-55A957E89ED7}">
      <dgm:prSet custT="1"/>
      <dgm:spPr/>
      <dgm:t>
        <a:bodyPr/>
        <a:lstStyle/>
        <a:p>
          <a:r>
            <a:rPr lang="en-US" sz="2400" baseline="0" dirty="0"/>
            <a:t>Transaction log writes is experiencing bottleneck.</a:t>
          </a:r>
          <a:endParaRPr lang="en-US" sz="2400" dirty="0"/>
        </a:p>
      </dgm:t>
    </dgm:pt>
    <dgm:pt modelId="{B1605589-CBF0-47BF-8ADA-8DBE079E4647}" type="parTrans" cxnId="{BED4F206-415F-4BE9-8624-8D1B2F3B81AA}">
      <dgm:prSet/>
      <dgm:spPr/>
      <dgm:t>
        <a:bodyPr/>
        <a:lstStyle/>
        <a:p>
          <a:endParaRPr lang="en-US"/>
        </a:p>
      </dgm:t>
    </dgm:pt>
    <dgm:pt modelId="{0060B814-CC13-4DF4-B9F6-10FE02CEEE7A}" type="sibTrans" cxnId="{BED4F206-415F-4BE9-8624-8D1B2F3B81AA}">
      <dgm:prSet/>
      <dgm:spPr/>
      <dgm:t>
        <a:bodyPr/>
        <a:lstStyle/>
        <a:p>
          <a:endParaRPr lang="en-US"/>
        </a:p>
      </dgm:t>
    </dgm:pt>
    <dgm:pt modelId="{45421C20-DCAD-4FEB-B333-A09C83E82377}">
      <dgm:prSet custT="1"/>
      <dgm:spPr/>
      <dgm:t>
        <a:bodyPr/>
        <a:lstStyle/>
        <a:p>
          <a:r>
            <a:rPr lang="en-US" sz="2400" baseline="0" dirty="0"/>
            <a:t>Workloads with a high contention rate.</a:t>
          </a:r>
          <a:endParaRPr lang="en-US" sz="2400" dirty="0"/>
        </a:p>
      </dgm:t>
    </dgm:pt>
    <dgm:pt modelId="{0A7E7717-E756-48DC-9FEE-2625F94E961C}" type="parTrans" cxnId="{533C9FD8-9277-4608-91EF-1397DA6C8576}">
      <dgm:prSet/>
      <dgm:spPr/>
      <dgm:t>
        <a:bodyPr/>
        <a:lstStyle/>
        <a:p>
          <a:endParaRPr lang="en-US"/>
        </a:p>
      </dgm:t>
    </dgm:pt>
    <dgm:pt modelId="{CA7DEB6E-2F58-4129-9408-69106E679C6A}" type="sibTrans" cxnId="{533C9FD8-9277-4608-91EF-1397DA6C8576}">
      <dgm:prSet/>
      <dgm:spPr/>
      <dgm:t>
        <a:bodyPr/>
        <a:lstStyle/>
        <a:p>
          <a:endParaRPr lang="en-US"/>
        </a:p>
      </dgm:t>
    </dgm:pt>
    <dgm:pt modelId="{8165F905-1B31-4EE2-9FA8-7356F6693E76}" type="pres">
      <dgm:prSet presAssocID="{9CCB1806-D31D-4F12-A526-2ADF1ED87D0C}" presName="linear" presStyleCnt="0">
        <dgm:presLayoutVars>
          <dgm:dir/>
          <dgm:animLvl val="lvl"/>
          <dgm:resizeHandles val="exact"/>
        </dgm:presLayoutVars>
      </dgm:prSet>
      <dgm:spPr/>
    </dgm:pt>
    <dgm:pt modelId="{4CEF6E87-8E7B-4134-87A2-EC88352AB228}" type="pres">
      <dgm:prSet presAssocID="{2D376F54-8854-432D-9F17-C791CA4C1C69}" presName="parentLin" presStyleCnt="0"/>
      <dgm:spPr/>
    </dgm:pt>
    <dgm:pt modelId="{02E5991D-243A-4EF1-B79D-6EFF3CFDE682}" type="pres">
      <dgm:prSet presAssocID="{2D376F54-8854-432D-9F17-C791CA4C1C69}" presName="parentLeftMargin" presStyleLbl="node1" presStyleIdx="0" presStyleCnt="3"/>
      <dgm:spPr/>
    </dgm:pt>
    <dgm:pt modelId="{32FE0912-FDF8-414C-8219-AED7A43F72C0}" type="pres">
      <dgm:prSet presAssocID="{2D376F54-8854-432D-9F17-C791CA4C1C69}" presName="parentText" presStyleLbl="node1" presStyleIdx="0" presStyleCnt="3">
        <dgm:presLayoutVars>
          <dgm:chMax val="0"/>
          <dgm:bulletEnabled val="1"/>
        </dgm:presLayoutVars>
      </dgm:prSet>
      <dgm:spPr/>
    </dgm:pt>
    <dgm:pt modelId="{2CB2688E-D871-4703-A26D-5498470BEA83}" type="pres">
      <dgm:prSet presAssocID="{2D376F54-8854-432D-9F17-C791CA4C1C69}" presName="negativeSpace" presStyleCnt="0"/>
      <dgm:spPr/>
    </dgm:pt>
    <dgm:pt modelId="{BE5D3AE4-8FE2-4D1D-968F-B478A35E0E82}" type="pres">
      <dgm:prSet presAssocID="{2D376F54-8854-432D-9F17-C791CA4C1C69}" presName="childText" presStyleLbl="conFgAcc1" presStyleIdx="0" presStyleCnt="3">
        <dgm:presLayoutVars>
          <dgm:bulletEnabled val="1"/>
        </dgm:presLayoutVars>
      </dgm:prSet>
      <dgm:spPr/>
    </dgm:pt>
    <dgm:pt modelId="{8BA77BCE-4430-458A-A981-FE81C47734C0}" type="pres">
      <dgm:prSet presAssocID="{8BB8FD3C-35C7-4707-AF2F-D9AEE95D1671}" presName="spaceBetweenRectangles" presStyleCnt="0"/>
      <dgm:spPr/>
    </dgm:pt>
    <dgm:pt modelId="{3058F350-174F-46E4-A40B-531A85F5B687}" type="pres">
      <dgm:prSet presAssocID="{7311F3D5-1330-464B-8DF4-55A957E89ED7}" presName="parentLin" presStyleCnt="0"/>
      <dgm:spPr/>
    </dgm:pt>
    <dgm:pt modelId="{4759ADB9-2596-44E2-A26D-EF708868B402}" type="pres">
      <dgm:prSet presAssocID="{7311F3D5-1330-464B-8DF4-55A957E89ED7}" presName="parentLeftMargin" presStyleLbl="node1" presStyleIdx="0" presStyleCnt="3"/>
      <dgm:spPr/>
    </dgm:pt>
    <dgm:pt modelId="{F154DCA3-40B2-4BAA-854C-11406C20BB21}" type="pres">
      <dgm:prSet presAssocID="{7311F3D5-1330-464B-8DF4-55A957E89ED7}" presName="parentText" presStyleLbl="node1" presStyleIdx="1" presStyleCnt="3">
        <dgm:presLayoutVars>
          <dgm:chMax val="0"/>
          <dgm:bulletEnabled val="1"/>
        </dgm:presLayoutVars>
      </dgm:prSet>
      <dgm:spPr/>
    </dgm:pt>
    <dgm:pt modelId="{1DB4730F-2FD7-40F1-88A5-4FF9829DF077}" type="pres">
      <dgm:prSet presAssocID="{7311F3D5-1330-464B-8DF4-55A957E89ED7}" presName="negativeSpace" presStyleCnt="0"/>
      <dgm:spPr/>
    </dgm:pt>
    <dgm:pt modelId="{6022AF2D-36E0-4BC9-A230-1D289EBA4731}" type="pres">
      <dgm:prSet presAssocID="{7311F3D5-1330-464B-8DF4-55A957E89ED7}" presName="childText" presStyleLbl="conFgAcc1" presStyleIdx="1" presStyleCnt="3">
        <dgm:presLayoutVars>
          <dgm:bulletEnabled val="1"/>
        </dgm:presLayoutVars>
      </dgm:prSet>
      <dgm:spPr/>
    </dgm:pt>
    <dgm:pt modelId="{2AA06D44-BD5F-4A22-810D-5C5659FA29B3}" type="pres">
      <dgm:prSet presAssocID="{0060B814-CC13-4DF4-B9F6-10FE02CEEE7A}" presName="spaceBetweenRectangles" presStyleCnt="0"/>
      <dgm:spPr/>
    </dgm:pt>
    <dgm:pt modelId="{2CACD6D0-DBB9-4709-B045-39E61BD81BC9}" type="pres">
      <dgm:prSet presAssocID="{45421C20-DCAD-4FEB-B333-A09C83E82377}" presName="parentLin" presStyleCnt="0"/>
      <dgm:spPr/>
    </dgm:pt>
    <dgm:pt modelId="{79C2D841-2BDA-49E3-BCE3-D1A76139989E}" type="pres">
      <dgm:prSet presAssocID="{45421C20-DCAD-4FEB-B333-A09C83E82377}" presName="parentLeftMargin" presStyleLbl="node1" presStyleIdx="1" presStyleCnt="3"/>
      <dgm:spPr/>
    </dgm:pt>
    <dgm:pt modelId="{ABAA752E-B853-4A6C-890A-E2258BFC5DE1}" type="pres">
      <dgm:prSet presAssocID="{45421C20-DCAD-4FEB-B333-A09C83E82377}" presName="parentText" presStyleLbl="node1" presStyleIdx="2" presStyleCnt="3">
        <dgm:presLayoutVars>
          <dgm:chMax val="0"/>
          <dgm:bulletEnabled val="1"/>
        </dgm:presLayoutVars>
      </dgm:prSet>
      <dgm:spPr/>
    </dgm:pt>
    <dgm:pt modelId="{67636CBD-F67E-474D-8AB0-45846568EDD8}" type="pres">
      <dgm:prSet presAssocID="{45421C20-DCAD-4FEB-B333-A09C83E82377}" presName="negativeSpace" presStyleCnt="0"/>
      <dgm:spPr/>
    </dgm:pt>
    <dgm:pt modelId="{51743888-4F76-4191-82C5-B7C49B4073DD}" type="pres">
      <dgm:prSet presAssocID="{45421C20-DCAD-4FEB-B333-A09C83E82377}" presName="childText" presStyleLbl="conFgAcc1" presStyleIdx="2" presStyleCnt="3">
        <dgm:presLayoutVars>
          <dgm:bulletEnabled val="1"/>
        </dgm:presLayoutVars>
      </dgm:prSet>
      <dgm:spPr/>
    </dgm:pt>
  </dgm:ptLst>
  <dgm:cxnLst>
    <dgm:cxn modelId="{BED4F206-415F-4BE9-8624-8D1B2F3B81AA}" srcId="{9CCB1806-D31D-4F12-A526-2ADF1ED87D0C}" destId="{7311F3D5-1330-464B-8DF4-55A957E89ED7}" srcOrd="1" destOrd="0" parTransId="{B1605589-CBF0-47BF-8ADA-8DBE079E4647}" sibTransId="{0060B814-CC13-4DF4-B9F6-10FE02CEEE7A}"/>
    <dgm:cxn modelId="{0612640A-CEED-42C0-A718-205EEFE15C66}" srcId="{9CCB1806-D31D-4F12-A526-2ADF1ED87D0C}" destId="{2D376F54-8854-432D-9F17-C791CA4C1C69}" srcOrd="0" destOrd="0" parTransId="{59BB45D1-2D19-44E6-BCD8-83CCA3A27F86}" sibTransId="{8BB8FD3C-35C7-4707-AF2F-D9AEE95D1671}"/>
    <dgm:cxn modelId="{02369E0B-B560-465B-A36A-A4DE414130F1}" type="presOf" srcId="{7311F3D5-1330-464B-8DF4-55A957E89ED7}" destId="{4759ADB9-2596-44E2-A26D-EF708868B402}" srcOrd="0" destOrd="0" presId="urn:microsoft.com/office/officeart/2005/8/layout/list1"/>
    <dgm:cxn modelId="{AB07C90F-0EF7-4130-A1BC-737A9ADAD71E}" type="presOf" srcId="{2D376F54-8854-432D-9F17-C791CA4C1C69}" destId="{32FE0912-FDF8-414C-8219-AED7A43F72C0}" srcOrd="1" destOrd="0" presId="urn:microsoft.com/office/officeart/2005/8/layout/list1"/>
    <dgm:cxn modelId="{BD52F044-49F4-4DB5-A94A-BE6E93E1CE97}" type="presOf" srcId="{9CCB1806-D31D-4F12-A526-2ADF1ED87D0C}" destId="{8165F905-1B31-4EE2-9FA8-7356F6693E76}" srcOrd="0" destOrd="0" presId="urn:microsoft.com/office/officeart/2005/8/layout/list1"/>
    <dgm:cxn modelId="{A590F379-ED46-4885-9FE3-B8EDEED13E04}" type="presOf" srcId="{45421C20-DCAD-4FEB-B333-A09C83E82377}" destId="{ABAA752E-B853-4A6C-890A-E2258BFC5DE1}" srcOrd="1" destOrd="0" presId="urn:microsoft.com/office/officeart/2005/8/layout/list1"/>
    <dgm:cxn modelId="{FC577982-0445-438E-956B-C815C3DED914}" type="presOf" srcId="{45421C20-DCAD-4FEB-B333-A09C83E82377}" destId="{79C2D841-2BDA-49E3-BCE3-D1A76139989E}" srcOrd="0" destOrd="0" presId="urn:microsoft.com/office/officeart/2005/8/layout/list1"/>
    <dgm:cxn modelId="{533C9FD8-9277-4608-91EF-1397DA6C8576}" srcId="{9CCB1806-D31D-4F12-A526-2ADF1ED87D0C}" destId="{45421C20-DCAD-4FEB-B333-A09C83E82377}" srcOrd="2" destOrd="0" parTransId="{0A7E7717-E756-48DC-9FEE-2625F94E961C}" sibTransId="{CA7DEB6E-2F58-4129-9408-69106E679C6A}"/>
    <dgm:cxn modelId="{3C3ECAEC-12A3-4663-87D9-A1F7BF0EF68A}" type="presOf" srcId="{2D376F54-8854-432D-9F17-C791CA4C1C69}" destId="{02E5991D-243A-4EF1-B79D-6EFF3CFDE682}" srcOrd="0" destOrd="0" presId="urn:microsoft.com/office/officeart/2005/8/layout/list1"/>
    <dgm:cxn modelId="{58BFB1FD-780B-4247-921D-CFEC3DF8C4CA}" type="presOf" srcId="{7311F3D5-1330-464B-8DF4-55A957E89ED7}" destId="{F154DCA3-40B2-4BAA-854C-11406C20BB21}" srcOrd="1" destOrd="0" presId="urn:microsoft.com/office/officeart/2005/8/layout/list1"/>
    <dgm:cxn modelId="{E5DBB6E5-EF10-49CD-B570-2B57E4022E34}" type="presParOf" srcId="{8165F905-1B31-4EE2-9FA8-7356F6693E76}" destId="{4CEF6E87-8E7B-4134-87A2-EC88352AB228}" srcOrd="0" destOrd="0" presId="urn:microsoft.com/office/officeart/2005/8/layout/list1"/>
    <dgm:cxn modelId="{B8F42025-A074-4132-B2CE-5972DD0BB1F7}" type="presParOf" srcId="{4CEF6E87-8E7B-4134-87A2-EC88352AB228}" destId="{02E5991D-243A-4EF1-B79D-6EFF3CFDE682}" srcOrd="0" destOrd="0" presId="urn:microsoft.com/office/officeart/2005/8/layout/list1"/>
    <dgm:cxn modelId="{E02ECD3E-C9DD-466C-A6BB-642202FC1A99}" type="presParOf" srcId="{4CEF6E87-8E7B-4134-87A2-EC88352AB228}" destId="{32FE0912-FDF8-414C-8219-AED7A43F72C0}" srcOrd="1" destOrd="0" presId="urn:microsoft.com/office/officeart/2005/8/layout/list1"/>
    <dgm:cxn modelId="{E26F8903-C9D6-49D7-8F5C-DDE38DFDB46D}" type="presParOf" srcId="{8165F905-1B31-4EE2-9FA8-7356F6693E76}" destId="{2CB2688E-D871-4703-A26D-5498470BEA83}" srcOrd="1" destOrd="0" presId="urn:microsoft.com/office/officeart/2005/8/layout/list1"/>
    <dgm:cxn modelId="{F3FEAB36-726C-42B4-8D70-8CDB37EF8C58}" type="presParOf" srcId="{8165F905-1B31-4EE2-9FA8-7356F6693E76}" destId="{BE5D3AE4-8FE2-4D1D-968F-B478A35E0E82}" srcOrd="2" destOrd="0" presId="urn:microsoft.com/office/officeart/2005/8/layout/list1"/>
    <dgm:cxn modelId="{F3694F55-F9D9-43EB-8280-C04018DFF780}" type="presParOf" srcId="{8165F905-1B31-4EE2-9FA8-7356F6693E76}" destId="{8BA77BCE-4430-458A-A981-FE81C47734C0}" srcOrd="3" destOrd="0" presId="urn:microsoft.com/office/officeart/2005/8/layout/list1"/>
    <dgm:cxn modelId="{F092A132-1570-4764-ABE2-EDF110485B54}" type="presParOf" srcId="{8165F905-1B31-4EE2-9FA8-7356F6693E76}" destId="{3058F350-174F-46E4-A40B-531A85F5B687}" srcOrd="4" destOrd="0" presId="urn:microsoft.com/office/officeart/2005/8/layout/list1"/>
    <dgm:cxn modelId="{D6742364-C7AE-4BFE-A178-2B7C1CE91FA6}" type="presParOf" srcId="{3058F350-174F-46E4-A40B-531A85F5B687}" destId="{4759ADB9-2596-44E2-A26D-EF708868B402}" srcOrd="0" destOrd="0" presId="urn:microsoft.com/office/officeart/2005/8/layout/list1"/>
    <dgm:cxn modelId="{42C852D2-C5BC-4304-A2BB-2425EC36809F}" type="presParOf" srcId="{3058F350-174F-46E4-A40B-531A85F5B687}" destId="{F154DCA3-40B2-4BAA-854C-11406C20BB21}" srcOrd="1" destOrd="0" presId="urn:microsoft.com/office/officeart/2005/8/layout/list1"/>
    <dgm:cxn modelId="{E38AEF6A-5F4E-4FB5-88FB-27F155240E16}" type="presParOf" srcId="{8165F905-1B31-4EE2-9FA8-7356F6693E76}" destId="{1DB4730F-2FD7-40F1-88A5-4FF9829DF077}" srcOrd="5" destOrd="0" presId="urn:microsoft.com/office/officeart/2005/8/layout/list1"/>
    <dgm:cxn modelId="{700C42DD-38AF-4DC6-B56C-20B77E7EAB5C}" type="presParOf" srcId="{8165F905-1B31-4EE2-9FA8-7356F6693E76}" destId="{6022AF2D-36E0-4BC9-A230-1D289EBA4731}" srcOrd="6" destOrd="0" presId="urn:microsoft.com/office/officeart/2005/8/layout/list1"/>
    <dgm:cxn modelId="{91A64297-F304-43B3-9D61-93C7EA8ABB43}" type="presParOf" srcId="{8165F905-1B31-4EE2-9FA8-7356F6693E76}" destId="{2AA06D44-BD5F-4A22-810D-5C5659FA29B3}" srcOrd="7" destOrd="0" presId="urn:microsoft.com/office/officeart/2005/8/layout/list1"/>
    <dgm:cxn modelId="{F76921D4-C0D5-439E-8F8E-B146CA4AD821}" type="presParOf" srcId="{8165F905-1B31-4EE2-9FA8-7356F6693E76}" destId="{2CACD6D0-DBB9-4709-B045-39E61BD81BC9}" srcOrd="8" destOrd="0" presId="urn:microsoft.com/office/officeart/2005/8/layout/list1"/>
    <dgm:cxn modelId="{16930B6D-A973-410D-A2C7-8041205D984F}" type="presParOf" srcId="{2CACD6D0-DBB9-4709-B045-39E61BD81BC9}" destId="{79C2D841-2BDA-49E3-BCE3-D1A76139989E}" srcOrd="0" destOrd="0" presId="urn:microsoft.com/office/officeart/2005/8/layout/list1"/>
    <dgm:cxn modelId="{578847EE-3141-4F37-943F-B3577BEBDD46}" type="presParOf" srcId="{2CACD6D0-DBB9-4709-B045-39E61BD81BC9}" destId="{ABAA752E-B853-4A6C-890A-E2258BFC5DE1}" srcOrd="1" destOrd="0" presId="urn:microsoft.com/office/officeart/2005/8/layout/list1"/>
    <dgm:cxn modelId="{D300E986-E931-44EA-AA8F-52407C097C80}" type="presParOf" srcId="{8165F905-1B31-4EE2-9FA8-7356F6693E76}" destId="{67636CBD-F67E-474D-8AB0-45846568EDD8}" srcOrd="9" destOrd="0" presId="urn:microsoft.com/office/officeart/2005/8/layout/list1"/>
    <dgm:cxn modelId="{9D80C719-E354-4E7E-BF21-94C14CB38F27}" type="presParOf" srcId="{8165F905-1B31-4EE2-9FA8-7356F6693E76}" destId="{51743888-4F76-4191-82C5-B7C49B4073DD}"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FAF6FAF3-6C85-4C7C-94F3-F133E0908098}"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16F4857B-5D2E-47F4-8C2B-B918181C67B8}">
      <dgm:prSet custT="1"/>
      <dgm:spPr/>
      <dgm:t>
        <a:bodyPr/>
        <a:lstStyle/>
        <a:p>
          <a:r>
            <a:rPr lang="en-US" sz="2400" b="1" dirty="0"/>
            <a:t>DISABLED</a:t>
          </a:r>
          <a:endParaRPr lang="en-US" sz="2400" dirty="0"/>
        </a:p>
      </dgm:t>
    </dgm:pt>
    <dgm:pt modelId="{BFF1CC89-33CB-4BE4-B15C-B92A74DB1BE7}" type="parTrans" cxnId="{B6B7EF74-D55C-4478-A76A-01B895AB3A1F}">
      <dgm:prSet/>
      <dgm:spPr/>
      <dgm:t>
        <a:bodyPr/>
        <a:lstStyle/>
        <a:p>
          <a:endParaRPr lang="en-US"/>
        </a:p>
      </dgm:t>
    </dgm:pt>
    <dgm:pt modelId="{737E9913-9FA0-4F73-A6DA-0E6BB0E157C3}" type="sibTrans" cxnId="{B6B7EF74-D55C-4478-A76A-01B895AB3A1F}">
      <dgm:prSet/>
      <dgm:spPr/>
      <dgm:t>
        <a:bodyPr/>
        <a:lstStyle/>
        <a:p>
          <a:endParaRPr lang="en-US"/>
        </a:p>
      </dgm:t>
    </dgm:pt>
    <dgm:pt modelId="{1FEBED36-2E23-49EA-8380-257863E47627}">
      <dgm:prSet/>
      <dgm:spPr/>
      <dgm:t>
        <a:bodyPr/>
        <a:lstStyle/>
        <a:p>
          <a:r>
            <a:rPr lang="en-US" dirty="0"/>
            <a:t>Normal behavior durability guaranteed.</a:t>
          </a:r>
        </a:p>
      </dgm:t>
    </dgm:pt>
    <dgm:pt modelId="{1EAE5A2C-6AD3-452D-87A6-BBFAFEF7F5D6}" type="parTrans" cxnId="{C131538C-EB60-4BA5-9F07-94F4ECB6BBD5}">
      <dgm:prSet/>
      <dgm:spPr/>
      <dgm:t>
        <a:bodyPr/>
        <a:lstStyle/>
        <a:p>
          <a:endParaRPr lang="en-US"/>
        </a:p>
      </dgm:t>
    </dgm:pt>
    <dgm:pt modelId="{97DB8802-9738-47F4-ADB4-6377A79C7A32}" type="sibTrans" cxnId="{C131538C-EB60-4BA5-9F07-94F4ECB6BBD5}">
      <dgm:prSet/>
      <dgm:spPr/>
      <dgm:t>
        <a:bodyPr/>
        <a:lstStyle/>
        <a:p>
          <a:endParaRPr lang="en-US"/>
        </a:p>
      </dgm:t>
    </dgm:pt>
    <dgm:pt modelId="{69F10FF5-D68B-474A-879A-E948E80013FD}">
      <dgm:prSet custT="1"/>
      <dgm:spPr/>
      <dgm:t>
        <a:bodyPr/>
        <a:lstStyle/>
        <a:p>
          <a:r>
            <a:rPr lang="en-US" sz="2400" b="1" dirty="0"/>
            <a:t>ALLOWED</a:t>
          </a:r>
          <a:endParaRPr lang="en-US" sz="2400" dirty="0"/>
        </a:p>
      </dgm:t>
    </dgm:pt>
    <dgm:pt modelId="{C2BA0739-123D-449C-BFCB-34545034C67F}" type="parTrans" cxnId="{1E9BD4EB-E39D-46DA-A85E-407B2D4FA955}">
      <dgm:prSet/>
      <dgm:spPr/>
      <dgm:t>
        <a:bodyPr/>
        <a:lstStyle/>
        <a:p>
          <a:endParaRPr lang="en-US"/>
        </a:p>
      </dgm:t>
    </dgm:pt>
    <dgm:pt modelId="{D229B955-E489-483F-B5D2-60FF935AC200}" type="sibTrans" cxnId="{1E9BD4EB-E39D-46DA-A85E-407B2D4FA955}">
      <dgm:prSet/>
      <dgm:spPr/>
      <dgm:t>
        <a:bodyPr/>
        <a:lstStyle/>
        <a:p>
          <a:endParaRPr lang="en-US"/>
        </a:p>
      </dgm:t>
    </dgm:pt>
    <dgm:pt modelId="{51617EDC-96DB-4B0E-99C7-C8A09BB6A9E5}">
      <dgm:prSet/>
      <dgm:spPr/>
      <dgm:t>
        <a:bodyPr/>
        <a:lstStyle/>
        <a:p>
          <a:r>
            <a:rPr lang="en-US" dirty="0"/>
            <a:t>Allowed at the DB Level, Transaction must specify durability options, default is a durable transaction.</a:t>
          </a:r>
        </a:p>
      </dgm:t>
    </dgm:pt>
    <dgm:pt modelId="{94E5AF09-248C-4AEC-B504-ACD7CF02A382}" type="parTrans" cxnId="{75588E45-A1F6-4446-802C-917AB2E5C6DB}">
      <dgm:prSet/>
      <dgm:spPr/>
      <dgm:t>
        <a:bodyPr/>
        <a:lstStyle/>
        <a:p>
          <a:endParaRPr lang="en-US"/>
        </a:p>
      </dgm:t>
    </dgm:pt>
    <dgm:pt modelId="{2EF3E815-D119-4E9C-8BEA-003F07B91036}" type="sibTrans" cxnId="{75588E45-A1F6-4446-802C-917AB2E5C6DB}">
      <dgm:prSet/>
      <dgm:spPr/>
      <dgm:t>
        <a:bodyPr/>
        <a:lstStyle/>
        <a:p>
          <a:endParaRPr lang="en-US"/>
        </a:p>
      </dgm:t>
    </dgm:pt>
    <dgm:pt modelId="{0E581850-4461-40AD-867E-78DC5B200B60}">
      <dgm:prSet custT="1"/>
      <dgm:spPr/>
      <dgm:t>
        <a:bodyPr/>
        <a:lstStyle/>
        <a:p>
          <a:r>
            <a:rPr lang="en-US" sz="2400" b="1" dirty="0"/>
            <a:t>FORCED</a:t>
          </a:r>
          <a:endParaRPr lang="en-US" sz="2400" dirty="0"/>
        </a:p>
      </dgm:t>
    </dgm:pt>
    <dgm:pt modelId="{261EE746-DE68-42FE-82AC-303A83495E69}" type="parTrans" cxnId="{4328494A-B152-4098-B05A-A37252C3A578}">
      <dgm:prSet/>
      <dgm:spPr/>
      <dgm:t>
        <a:bodyPr/>
        <a:lstStyle/>
        <a:p>
          <a:endParaRPr lang="en-US"/>
        </a:p>
      </dgm:t>
    </dgm:pt>
    <dgm:pt modelId="{9634E6DE-E440-4D4B-93FB-FEFB115DBA95}" type="sibTrans" cxnId="{4328494A-B152-4098-B05A-A37252C3A578}">
      <dgm:prSet/>
      <dgm:spPr/>
      <dgm:t>
        <a:bodyPr/>
        <a:lstStyle/>
        <a:p>
          <a:endParaRPr lang="en-US"/>
        </a:p>
      </dgm:t>
    </dgm:pt>
    <dgm:pt modelId="{8AFD7552-BACD-46F0-B9F4-56CF490EB389}">
      <dgm:prSet/>
      <dgm:spPr/>
      <dgm:t>
        <a:bodyPr/>
        <a:lstStyle/>
        <a:p>
          <a:r>
            <a:rPr lang="en-US" dirty="0"/>
            <a:t>Changes default durability for the DB to “delayed. </a:t>
          </a:r>
        </a:p>
      </dgm:t>
    </dgm:pt>
    <dgm:pt modelId="{47B55D5D-4BF0-4FB7-86F2-E13748B2FFCC}" type="parTrans" cxnId="{A57A5382-F180-482C-B627-9F58B5B8326C}">
      <dgm:prSet/>
      <dgm:spPr/>
      <dgm:t>
        <a:bodyPr/>
        <a:lstStyle/>
        <a:p>
          <a:endParaRPr lang="en-US"/>
        </a:p>
      </dgm:t>
    </dgm:pt>
    <dgm:pt modelId="{B2FAEEE5-921C-489D-B8AE-2D50F69ACE91}" type="sibTrans" cxnId="{A57A5382-F180-482C-B627-9F58B5B8326C}">
      <dgm:prSet/>
      <dgm:spPr/>
      <dgm:t>
        <a:bodyPr/>
        <a:lstStyle/>
        <a:p>
          <a:endParaRPr lang="en-US"/>
        </a:p>
      </dgm:t>
    </dgm:pt>
    <dgm:pt modelId="{4B5459A4-3EFC-4560-B75F-D11F94B2E652}" type="pres">
      <dgm:prSet presAssocID="{FAF6FAF3-6C85-4C7C-94F3-F133E0908098}" presName="linear" presStyleCnt="0">
        <dgm:presLayoutVars>
          <dgm:animLvl val="lvl"/>
          <dgm:resizeHandles val="exact"/>
        </dgm:presLayoutVars>
      </dgm:prSet>
      <dgm:spPr/>
    </dgm:pt>
    <dgm:pt modelId="{73766FE2-EFA0-4DE6-A774-64627622D945}" type="pres">
      <dgm:prSet presAssocID="{16F4857B-5D2E-47F4-8C2B-B918181C67B8}" presName="parentText" presStyleLbl="node1" presStyleIdx="0" presStyleCnt="3">
        <dgm:presLayoutVars>
          <dgm:chMax val="0"/>
          <dgm:bulletEnabled val="1"/>
        </dgm:presLayoutVars>
      </dgm:prSet>
      <dgm:spPr/>
    </dgm:pt>
    <dgm:pt modelId="{A8641B09-9D8F-4861-A6E5-7B59743486B5}" type="pres">
      <dgm:prSet presAssocID="{16F4857B-5D2E-47F4-8C2B-B918181C67B8}" presName="childText" presStyleLbl="revTx" presStyleIdx="0" presStyleCnt="3">
        <dgm:presLayoutVars>
          <dgm:bulletEnabled val="1"/>
        </dgm:presLayoutVars>
      </dgm:prSet>
      <dgm:spPr/>
    </dgm:pt>
    <dgm:pt modelId="{BDAD01C0-2363-413E-B020-40865F649250}" type="pres">
      <dgm:prSet presAssocID="{69F10FF5-D68B-474A-879A-E948E80013FD}" presName="parentText" presStyleLbl="node1" presStyleIdx="1" presStyleCnt="3">
        <dgm:presLayoutVars>
          <dgm:chMax val="0"/>
          <dgm:bulletEnabled val="1"/>
        </dgm:presLayoutVars>
      </dgm:prSet>
      <dgm:spPr/>
    </dgm:pt>
    <dgm:pt modelId="{1393A850-A3DA-4720-A93C-BD40667F285E}" type="pres">
      <dgm:prSet presAssocID="{69F10FF5-D68B-474A-879A-E948E80013FD}" presName="childText" presStyleLbl="revTx" presStyleIdx="1" presStyleCnt="3">
        <dgm:presLayoutVars>
          <dgm:bulletEnabled val="1"/>
        </dgm:presLayoutVars>
      </dgm:prSet>
      <dgm:spPr/>
    </dgm:pt>
    <dgm:pt modelId="{7709D797-1F05-4338-86F5-A76229B87891}" type="pres">
      <dgm:prSet presAssocID="{0E581850-4461-40AD-867E-78DC5B200B60}" presName="parentText" presStyleLbl="node1" presStyleIdx="2" presStyleCnt="3">
        <dgm:presLayoutVars>
          <dgm:chMax val="0"/>
          <dgm:bulletEnabled val="1"/>
        </dgm:presLayoutVars>
      </dgm:prSet>
      <dgm:spPr/>
    </dgm:pt>
    <dgm:pt modelId="{D549C3F5-791F-42BD-B5BC-CA5A441A5DBC}" type="pres">
      <dgm:prSet presAssocID="{0E581850-4461-40AD-867E-78DC5B200B60}" presName="childText" presStyleLbl="revTx" presStyleIdx="2" presStyleCnt="3">
        <dgm:presLayoutVars>
          <dgm:bulletEnabled val="1"/>
        </dgm:presLayoutVars>
      </dgm:prSet>
      <dgm:spPr/>
    </dgm:pt>
  </dgm:ptLst>
  <dgm:cxnLst>
    <dgm:cxn modelId="{F9258534-C884-4546-BB82-AD77E5ED6B06}" type="presOf" srcId="{69F10FF5-D68B-474A-879A-E948E80013FD}" destId="{BDAD01C0-2363-413E-B020-40865F649250}" srcOrd="0" destOrd="0" presId="urn:microsoft.com/office/officeart/2005/8/layout/vList2"/>
    <dgm:cxn modelId="{0807285B-BE3C-4F99-8022-35249B5907AC}" type="presOf" srcId="{16F4857B-5D2E-47F4-8C2B-B918181C67B8}" destId="{73766FE2-EFA0-4DE6-A774-64627622D945}" srcOrd="0" destOrd="0" presId="urn:microsoft.com/office/officeart/2005/8/layout/vList2"/>
    <dgm:cxn modelId="{75588E45-A1F6-4446-802C-917AB2E5C6DB}" srcId="{69F10FF5-D68B-474A-879A-E948E80013FD}" destId="{51617EDC-96DB-4B0E-99C7-C8A09BB6A9E5}" srcOrd="0" destOrd="0" parTransId="{94E5AF09-248C-4AEC-B504-ACD7CF02A382}" sibTransId="{2EF3E815-D119-4E9C-8BEA-003F07B91036}"/>
    <dgm:cxn modelId="{4328494A-B152-4098-B05A-A37252C3A578}" srcId="{FAF6FAF3-6C85-4C7C-94F3-F133E0908098}" destId="{0E581850-4461-40AD-867E-78DC5B200B60}" srcOrd="2" destOrd="0" parTransId="{261EE746-DE68-42FE-82AC-303A83495E69}" sibTransId="{9634E6DE-E440-4D4B-93FB-FEFB115DBA95}"/>
    <dgm:cxn modelId="{50465D6B-4B49-46B2-BCE8-2959EAC50CDE}" type="presOf" srcId="{FAF6FAF3-6C85-4C7C-94F3-F133E0908098}" destId="{4B5459A4-3EFC-4560-B75F-D11F94B2E652}" srcOrd="0" destOrd="0" presId="urn:microsoft.com/office/officeart/2005/8/layout/vList2"/>
    <dgm:cxn modelId="{B6B7EF74-D55C-4478-A76A-01B895AB3A1F}" srcId="{FAF6FAF3-6C85-4C7C-94F3-F133E0908098}" destId="{16F4857B-5D2E-47F4-8C2B-B918181C67B8}" srcOrd="0" destOrd="0" parTransId="{BFF1CC89-33CB-4BE4-B15C-B92A74DB1BE7}" sibTransId="{737E9913-9FA0-4F73-A6DA-0E6BB0E157C3}"/>
    <dgm:cxn modelId="{A57A5382-F180-482C-B627-9F58B5B8326C}" srcId="{0E581850-4461-40AD-867E-78DC5B200B60}" destId="{8AFD7552-BACD-46F0-B9F4-56CF490EB389}" srcOrd="0" destOrd="0" parTransId="{47B55D5D-4BF0-4FB7-86F2-E13748B2FFCC}" sibTransId="{B2FAEEE5-921C-489D-B8AE-2D50F69ACE91}"/>
    <dgm:cxn modelId="{C131538C-EB60-4BA5-9F07-94F4ECB6BBD5}" srcId="{16F4857B-5D2E-47F4-8C2B-B918181C67B8}" destId="{1FEBED36-2E23-49EA-8380-257863E47627}" srcOrd="0" destOrd="0" parTransId="{1EAE5A2C-6AD3-452D-87A6-BBFAFEF7F5D6}" sibTransId="{97DB8802-9738-47F4-ADB4-6377A79C7A32}"/>
    <dgm:cxn modelId="{6ACD17A6-04B4-44E7-861D-B67387792784}" type="presOf" srcId="{51617EDC-96DB-4B0E-99C7-C8A09BB6A9E5}" destId="{1393A850-A3DA-4720-A93C-BD40667F285E}" srcOrd="0" destOrd="0" presId="urn:microsoft.com/office/officeart/2005/8/layout/vList2"/>
    <dgm:cxn modelId="{D02717AB-5584-4D70-A151-56DAF5E823E5}" type="presOf" srcId="{8AFD7552-BACD-46F0-B9F4-56CF490EB389}" destId="{D549C3F5-791F-42BD-B5BC-CA5A441A5DBC}" srcOrd="0" destOrd="0" presId="urn:microsoft.com/office/officeart/2005/8/layout/vList2"/>
    <dgm:cxn modelId="{1E9BD4EB-E39D-46DA-A85E-407B2D4FA955}" srcId="{FAF6FAF3-6C85-4C7C-94F3-F133E0908098}" destId="{69F10FF5-D68B-474A-879A-E948E80013FD}" srcOrd="1" destOrd="0" parTransId="{C2BA0739-123D-449C-BFCB-34545034C67F}" sibTransId="{D229B955-E489-483F-B5D2-60FF935AC200}"/>
    <dgm:cxn modelId="{A6B84AEC-CA8C-44C0-9419-2BF201123242}" type="presOf" srcId="{1FEBED36-2E23-49EA-8380-257863E47627}" destId="{A8641B09-9D8F-4861-A6E5-7B59743486B5}" srcOrd="0" destOrd="0" presId="urn:microsoft.com/office/officeart/2005/8/layout/vList2"/>
    <dgm:cxn modelId="{A1D4B3EE-BDBA-46BD-AC10-D6166D7E4E87}" type="presOf" srcId="{0E581850-4461-40AD-867E-78DC5B200B60}" destId="{7709D797-1F05-4338-86F5-A76229B87891}" srcOrd="0" destOrd="0" presId="urn:microsoft.com/office/officeart/2005/8/layout/vList2"/>
    <dgm:cxn modelId="{08590FFB-42D3-4EAE-AFBD-1ED93E5B7EFA}" type="presParOf" srcId="{4B5459A4-3EFC-4560-B75F-D11F94B2E652}" destId="{73766FE2-EFA0-4DE6-A774-64627622D945}" srcOrd="0" destOrd="0" presId="urn:microsoft.com/office/officeart/2005/8/layout/vList2"/>
    <dgm:cxn modelId="{47520681-EAD6-4313-9F71-D1B3446D87BC}" type="presParOf" srcId="{4B5459A4-3EFC-4560-B75F-D11F94B2E652}" destId="{A8641B09-9D8F-4861-A6E5-7B59743486B5}" srcOrd="1" destOrd="0" presId="urn:microsoft.com/office/officeart/2005/8/layout/vList2"/>
    <dgm:cxn modelId="{3B16411A-CBA1-43F9-B84A-9E4D9A62EC16}" type="presParOf" srcId="{4B5459A4-3EFC-4560-B75F-D11F94B2E652}" destId="{BDAD01C0-2363-413E-B020-40865F649250}" srcOrd="2" destOrd="0" presId="urn:microsoft.com/office/officeart/2005/8/layout/vList2"/>
    <dgm:cxn modelId="{77816105-6A44-4080-B5F0-0B510535DE04}" type="presParOf" srcId="{4B5459A4-3EFC-4560-B75F-D11F94B2E652}" destId="{1393A850-A3DA-4720-A93C-BD40667F285E}" srcOrd="3" destOrd="0" presId="urn:microsoft.com/office/officeart/2005/8/layout/vList2"/>
    <dgm:cxn modelId="{ACF02F9F-DADF-416E-B667-96FEA264C12B}" type="presParOf" srcId="{4B5459A4-3EFC-4560-B75F-D11F94B2E652}" destId="{7709D797-1F05-4338-86F5-A76229B87891}" srcOrd="4" destOrd="0" presId="urn:microsoft.com/office/officeart/2005/8/layout/vList2"/>
    <dgm:cxn modelId="{2AE97E76-6F0A-4785-82AA-4879FB4380BF}" type="presParOf" srcId="{4B5459A4-3EFC-4560-B75F-D11F94B2E652}" destId="{D549C3F5-791F-42BD-B5BC-CA5A441A5DBC}"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8E3C286F-6BCE-4D27-BD10-EAEAC2B8311A}"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03DEC04B-0746-47B1-A4AD-F5A6DC9761B3}">
      <dgm:prSet/>
      <dgm:spPr/>
      <dgm:t>
        <a:bodyPr/>
        <a:lstStyle/>
        <a:p>
          <a:pPr algn="l"/>
          <a:r>
            <a:rPr lang="en-US" baseline="0" dirty="0"/>
            <a:t>Durability automatically managed by system behind the scenes</a:t>
          </a:r>
          <a:endParaRPr lang="en-US" dirty="0"/>
        </a:p>
      </dgm:t>
    </dgm:pt>
    <dgm:pt modelId="{F303D8D8-A67C-4DB3-95B9-2C3DF9EF0488}" type="parTrans" cxnId="{357CB5B2-ADF0-4DCA-ACEF-A71C77C3363C}">
      <dgm:prSet/>
      <dgm:spPr/>
      <dgm:t>
        <a:bodyPr/>
        <a:lstStyle/>
        <a:p>
          <a:pPr algn="l"/>
          <a:endParaRPr lang="en-US"/>
        </a:p>
      </dgm:t>
    </dgm:pt>
    <dgm:pt modelId="{2AB3356C-50EB-44D7-A008-16DEA31DD5BE}" type="sibTrans" cxnId="{357CB5B2-ADF0-4DCA-ACEF-A71C77C3363C}">
      <dgm:prSet/>
      <dgm:spPr/>
      <dgm:t>
        <a:bodyPr/>
        <a:lstStyle/>
        <a:p>
          <a:pPr algn="l"/>
          <a:endParaRPr lang="en-US"/>
        </a:p>
      </dgm:t>
    </dgm:pt>
    <dgm:pt modelId="{E64B7905-F454-4C33-84CB-7412D8EBCEAA}">
      <dgm:prSet/>
      <dgm:spPr/>
      <dgm:t>
        <a:bodyPr/>
        <a:lstStyle/>
        <a:p>
          <a:pPr algn="l"/>
          <a:r>
            <a:rPr lang="en-US" baseline="0" dirty="0"/>
            <a:t>Transaction flush is  guaranteed when:</a:t>
          </a:r>
          <a:endParaRPr lang="en-US" dirty="0"/>
        </a:p>
      </dgm:t>
    </dgm:pt>
    <dgm:pt modelId="{2BAAF12F-8A40-4EB8-816C-06B8A4CFFAA5}" type="parTrans" cxnId="{47F85FFB-A490-4316-B009-E7AEC5397915}">
      <dgm:prSet/>
      <dgm:spPr/>
      <dgm:t>
        <a:bodyPr/>
        <a:lstStyle/>
        <a:p>
          <a:pPr algn="l"/>
          <a:endParaRPr lang="en-US"/>
        </a:p>
      </dgm:t>
    </dgm:pt>
    <dgm:pt modelId="{1C8C8BC7-726A-4204-BFA8-20BEBED64BAE}" type="sibTrans" cxnId="{47F85FFB-A490-4316-B009-E7AEC5397915}">
      <dgm:prSet/>
      <dgm:spPr/>
      <dgm:t>
        <a:bodyPr/>
        <a:lstStyle/>
        <a:p>
          <a:pPr algn="l"/>
          <a:endParaRPr lang="en-US"/>
        </a:p>
      </dgm:t>
    </dgm:pt>
    <dgm:pt modelId="{ABA3DFDB-2E0B-41EE-9DD3-76294C6F9016}">
      <dgm:prSet/>
      <dgm:spPr/>
      <dgm:t>
        <a:bodyPr/>
        <a:lstStyle/>
        <a:p>
          <a:pPr algn="l"/>
          <a:r>
            <a:rPr lang="en-US" baseline="0" dirty="0"/>
            <a:t>A durable transaction is run</a:t>
          </a:r>
          <a:endParaRPr lang="en-US" dirty="0"/>
        </a:p>
      </dgm:t>
    </dgm:pt>
    <dgm:pt modelId="{F7F2E21F-29B5-4D46-8658-F43C66C73427}" type="parTrans" cxnId="{0B7082D8-454B-4CF9-9630-B08471789FE4}">
      <dgm:prSet/>
      <dgm:spPr/>
      <dgm:t>
        <a:bodyPr/>
        <a:lstStyle/>
        <a:p>
          <a:pPr algn="l"/>
          <a:endParaRPr lang="en-US"/>
        </a:p>
      </dgm:t>
    </dgm:pt>
    <dgm:pt modelId="{0FE9D6AB-8CA9-4665-809D-989F49E1387D}" type="sibTrans" cxnId="{0B7082D8-454B-4CF9-9630-B08471789FE4}">
      <dgm:prSet/>
      <dgm:spPr/>
      <dgm:t>
        <a:bodyPr/>
        <a:lstStyle/>
        <a:p>
          <a:pPr algn="l"/>
          <a:endParaRPr lang="en-US"/>
        </a:p>
      </dgm:t>
    </dgm:pt>
    <dgm:pt modelId="{3D34AA4A-BF3A-48DC-BD34-AD3739CFE804}">
      <dgm:prSet/>
      <dgm:spPr/>
      <dgm:t>
        <a:bodyPr/>
        <a:lstStyle/>
        <a:p>
          <a:pPr algn="l"/>
          <a:r>
            <a:rPr lang="en-US" baseline="0" dirty="0"/>
            <a:t>By manually running </a:t>
          </a:r>
          <a:r>
            <a:rPr lang="en-US" baseline="0" dirty="0" err="1"/>
            <a:t>sp_flush_log</a:t>
          </a:r>
          <a:endParaRPr lang="en-US" dirty="0"/>
        </a:p>
      </dgm:t>
    </dgm:pt>
    <dgm:pt modelId="{185B61E8-2C42-47B1-8158-471C07B6D2FF}" type="parTrans" cxnId="{097E0765-832F-4A99-A3C4-693066F097DF}">
      <dgm:prSet/>
      <dgm:spPr/>
      <dgm:t>
        <a:bodyPr/>
        <a:lstStyle/>
        <a:p>
          <a:pPr algn="l"/>
          <a:endParaRPr lang="en-US"/>
        </a:p>
      </dgm:t>
    </dgm:pt>
    <dgm:pt modelId="{4D69C109-7F19-44E4-B71A-359E6A284003}" type="sibTrans" cxnId="{097E0765-832F-4A99-A3C4-693066F097DF}">
      <dgm:prSet/>
      <dgm:spPr/>
      <dgm:t>
        <a:bodyPr/>
        <a:lstStyle/>
        <a:p>
          <a:pPr algn="l"/>
          <a:endParaRPr lang="en-US"/>
        </a:p>
      </dgm:t>
    </dgm:pt>
    <dgm:pt modelId="{76885BCC-561E-430A-8900-691CE5B73CA5}">
      <dgm:prSet/>
      <dgm:spPr/>
      <dgm:t>
        <a:bodyPr/>
        <a:lstStyle/>
        <a:p>
          <a:pPr algn="l"/>
          <a:r>
            <a:rPr lang="en-US" baseline="0" dirty="0"/>
            <a:t>The Log buffer is flushed </a:t>
          </a:r>
          <a:endParaRPr lang="en-US" dirty="0"/>
        </a:p>
      </dgm:t>
    </dgm:pt>
    <dgm:pt modelId="{93053478-A057-4C61-959D-7D572911A2A4}" type="parTrans" cxnId="{63AD467F-5944-440D-90EA-81C79AE66F0C}">
      <dgm:prSet/>
      <dgm:spPr/>
      <dgm:t>
        <a:bodyPr/>
        <a:lstStyle/>
        <a:p>
          <a:pPr algn="l"/>
          <a:endParaRPr lang="en-US"/>
        </a:p>
      </dgm:t>
    </dgm:pt>
    <dgm:pt modelId="{5EFFCF3F-0524-4144-97C7-4144867C6B3C}" type="sibTrans" cxnId="{63AD467F-5944-440D-90EA-81C79AE66F0C}">
      <dgm:prSet/>
      <dgm:spPr/>
      <dgm:t>
        <a:bodyPr/>
        <a:lstStyle/>
        <a:p>
          <a:pPr algn="l"/>
          <a:endParaRPr lang="en-US"/>
        </a:p>
      </dgm:t>
    </dgm:pt>
    <dgm:pt modelId="{3BB760FD-9FEF-4FD7-A7AB-4BD6469D7723}">
      <dgm:prSet/>
      <dgm:spPr/>
      <dgm:t>
        <a:bodyPr/>
        <a:lstStyle/>
        <a:p>
          <a:pPr algn="l"/>
          <a:r>
            <a:rPr lang="en-US" baseline="0" dirty="0"/>
            <a:t>All system transactions are durable</a:t>
          </a:r>
          <a:endParaRPr lang="en-US" dirty="0"/>
        </a:p>
      </dgm:t>
    </dgm:pt>
    <dgm:pt modelId="{32ABE667-3069-480B-94A6-8E88EAAA7476}" type="parTrans" cxnId="{5ADB83C6-B9C5-4B49-9236-CAD4F0C01A89}">
      <dgm:prSet/>
      <dgm:spPr/>
      <dgm:t>
        <a:bodyPr/>
        <a:lstStyle/>
        <a:p>
          <a:pPr algn="l"/>
          <a:endParaRPr lang="en-US"/>
        </a:p>
      </dgm:t>
    </dgm:pt>
    <dgm:pt modelId="{F33FF257-3153-435C-84CF-A38CB830ADFC}" type="sibTrans" cxnId="{5ADB83C6-B9C5-4B49-9236-CAD4F0C01A89}">
      <dgm:prSet/>
      <dgm:spPr/>
      <dgm:t>
        <a:bodyPr/>
        <a:lstStyle/>
        <a:p>
          <a:pPr algn="l"/>
          <a:endParaRPr lang="en-US"/>
        </a:p>
      </dgm:t>
    </dgm:pt>
    <dgm:pt modelId="{53CD3077-10A1-45C5-A0AF-FC682F04F262}">
      <dgm:prSet/>
      <dgm:spPr/>
      <dgm:t>
        <a:bodyPr/>
        <a:lstStyle/>
        <a:p>
          <a:pPr algn="l"/>
          <a:r>
            <a:rPr lang="en-US" baseline="0" dirty="0"/>
            <a:t>TempDB has the lazy commit behavior by default</a:t>
          </a:r>
          <a:endParaRPr lang="en-US" dirty="0"/>
        </a:p>
      </dgm:t>
    </dgm:pt>
    <dgm:pt modelId="{62000C8C-7B4C-4EF8-895F-5440715B21C2}" type="parTrans" cxnId="{994592EA-08F0-4CDC-865D-8A92B838CE46}">
      <dgm:prSet/>
      <dgm:spPr/>
      <dgm:t>
        <a:bodyPr/>
        <a:lstStyle/>
        <a:p>
          <a:pPr algn="l"/>
          <a:endParaRPr lang="en-US"/>
        </a:p>
      </dgm:t>
    </dgm:pt>
    <dgm:pt modelId="{1F2A89E7-A5EA-49A9-A90E-7D17DCB9182E}" type="sibTrans" cxnId="{994592EA-08F0-4CDC-865D-8A92B838CE46}">
      <dgm:prSet/>
      <dgm:spPr/>
      <dgm:t>
        <a:bodyPr/>
        <a:lstStyle/>
        <a:p>
          <a:pPr algn="l"/>
          <a:endParaRPr lang="en-US"/>
        </a:p>
      </dgm:t>
    </dgm:pt>
    <dgm:pt modelId="{AC1B7191-D370-4CCD-8235-8E5EDAAB21B0}" type="pres">
      <dgm:prSet presAssocID="{8E3C286F-6BCE-4D27-BD10-EAEAC2B8311A}" presName="linear" presStyleCnt="0">
        <dgm:presLayoutVars>
          <dgm:animLvl val="lvl"/>
          <dgm:resizeHandles val="exact"/>
        </dgm:presLayoutVars>
      </dgm:prSet>
      <dgm:spPr/>
    </dgm:pt>
    <dgm:pt modelId="{03E89077-17CB-4DD1-B1F2-99512E1A6C07}" type="pres">
      <dgm:prSet presAssocID="{03DEC04B-0746-47B1-A4AD-F5A6DC9761B3}" presName="parentText" presStyleLbl="node1" presStyleIdx="0" presStyleCnt="4">
        <dgm:presLayoutVars>
          <dgm:chMax val="0"/>
          <dgm:bulletEnabled val="1"/>
        </dgm:presLayoutVars>
      </dgm:prSet>
      <dgm:spPr/>
    </dgm:pt>
    <dgm:pt modelId="{F67C6697-A0C1-483E-87EA-46B8081E413A}" type="pres">
      <dgm:prSet presAssocID="{2AB3356C-50EB-44D7-A008-16DEA31DD5BE}" presName="spacer" presStyleCnt="0"/>
      <dgm:spPr/>
    </dgm:pt>
    <dgm:pt modelId="{C7D170F6-F605-4A91-9984-30D18270344C}" type="pres">
      <dgm:prSet presAssocID="{E64B7905-F454-4C33-84CB-7412D8EBCEAA}" presName="parentText" presStyleLbl="node1" presStyleIdx="1" presStyleCnt="4">
        <dgm:presLayoutVars>
          <dgm:chMax val="0"/>
          <dgm:bulletEnabled val="1"/>
        </dgm:presLayoutVars>
      </dgm:prSet>
      <dgm:spPr/>
    </dgm:pt>
    <dgm:pt modelId="{88CA05C1-ECD4-4C18-8B1D-80D42542AA21}" type="pres">
      <dgm:prSet presAssocID="{E64B7905-F454-4C33-84CB-7412D8EBCEAA}" presName="childText" presStyleLbl="revTx" presStyleIdx="0" presStyleCnt="1">
        <dgm:presLayoutVars>
          <dgm:bulletEnabled val="1"/>
        </dgm:presLayoutVars>
      </dgm:prSet>
      <dgm:spPr/>
    </dgm:pt>
    <dgm:pt modelId="{BDC8D4BD-44F1-44C1-B0F2-28C35FEBFC99}" type="pres">
      <dgm:prSet presAssocID="{3BB760FD-9FEF-4FD7-A7AB-4BD6469D7723}" presName="parentText" presStyleLbl="node1" presStyleIdx="2" presStyleCnt="4">
        <dgm:presLayoutVars>
          <dgm:chMax val="0"/>
          <dgm:bulletEnabled val="1"/>
        </dgm:presLayoutVars>
      </dgm:prSet>
      <dgm:spPr/>
    </dgm:pt>
    <dgm:pt modelId="{3DBC8263-F145-4A52-8629-433E0B7D7EB4}" type="pres">
      <dgm:prSet presAssocID="{F33FF257-3153-435C-84CF-A38CB830ADFC}" presName="spacer" presStyleCnt="0"/>
      <dgm:spPr/>
    </dgm:pt>
    <dgm:pt modelId="{2A039C09-28E0-4BA8-B94A-700F8FA01167}" type="pres">
      <dgm:prSet presAssocID="{53CD3077-10A1-45C5-A0AF-FC682F04F262}" presName="parentText" presStyleLbl="node1" presStyleIdx="3" presStyleCnt="4">
        <dgm:presLayoutVars>
          <dgm:chMax val="0"/>
          <dgm:bulletEnabled val="1"/>
        </dgm:presLayoutVars>
      </dgm:prSet>
      <dgm:spPr/>
    </dgm:pt>
  </dgm:ptLst>
  <dgm:cxnLst>
    <dgm:cxn modelId="{E4E12F00-C1A3-442C-9A69-B48C0FDBFACA}" type="presOf" srcId="{ABA3DFDB-2E0B-41EE-9DD3-76294C6F9016}" destId="{88CA05C1-ECD4-4C18-8B1D-80D42542AA21}" srcOrd="0" destOrd="0" presId="urn:microsoft.com/office/officeart/2005/8/layout/vList2"/>
    <dgm:cxn modelId="{63BB9505-3B79-4E99-B0E9-94F784CD98D4}" type="presOf" srcId="{03DEC04B-0746-47B1-A4AD-F5A6DC9761B3}" destId="{03E89077-17CB-4DD1-B1F2-99512E1A6C07}" srcOrd="0" destOrd="0" presId="urn:microsoft.com/office/officeart/2005/8/layout/vList2"/>
    <dgm:cxn modelId="{2541E618-8668-4731-A3CF-EE7DFD10FBBC}" type="presOf" srcId="{8E3C286F-6BCE-4D27-BD10-EAEAC2B8311A}" destId="{AC1B7191-D370-4CCD-8235-8E5EDAAB21B0}" srcOrd="0" destOrd="0" presId="urn:microsoft.com/office/officeart/2005/8/layout/vList2"/>
    <dgm:cxn modelId="{097E0765-832F-4A99-A3C4-693066F097DF}" srcId="{E64B7905-F454-4C33-84CB-7412D8EBCEAA}" destId="{3D34AA4A-BF3A-48DC-BD34-AD3739CFE804}" srcOrd="1" destOrd="0" parTransId="{185B61E8-2C42-47B1-8158-471C07B6D2FF}" sibTransId="{4D69C109-7F19-44E4-B71A-359E6A284003}"/>
    <dgm:cxn modelId="{CE5CD247-EE2B-4E6E-B8DE-BC074364B6E4}" type="presOf" srcId="{E64B7905-F454-4C33-84CB-7412D8EBCEAA}" destId="{C7D170F6-F605-4A91-9984-30D18270344C}" srcOrd="0" destOrd="0" presId="urn:microsoft.com/office/officeart/2005/8/layout/vList2"/>
    <dgm:cxn modelId="{15646654-8614-4A6F-B484-60A594B05C0F}" type="presOf" srcId="{3D34AA4A-BF3A-48DC-BD34-AD3739CFE804}" destId="{88CA05C1-ECD4-4C18-8B1D-80D42542AA21}" srcOrd="0" destOrd="1" presId="urn:microsoft.com/office/officeart/2005/8/layout/vList2"/>
    <dgm:cxn modelId="{63AD467F-5944-440D-90EA-81C79AE66F0C}" srcId="{E64B7905-F454-4C33-84CB-7412D8EBCEAA}" destId="{76885BCC-561E-430A-8900-691CE5B73CA5}" srcOrd="2" destOrd="0" parTransId="{93053478-A057-4C61-959D-7D572911A2A4}" sibTransId="{5EFFCF3F-0524-4144-97C7-4144867C6B3C}"/>
    <dgm:cxn modelId="{A11E6E96-D0BB-4D2B-A735-6028FFE9C26F}" type="presOf" srcId="{3BB760FD-9FEF-4FD7-A7AB-4BD6469D7723}" destId="{BDC8D4BD-44F1-44C1-B0F2-28C35FEBFC99}" srcOrd="0" destOrd="0" presId="urn:microsoft.com/office/officeart/2005/8/layout/vList2"/>
    <dgm:cxn modelId="{AC49B6A7-1708-4A7C-BD64-7C519B87B734}" type="presOf" srcId="{53CD3077-10A1-45C5-A0AF-FC682F04F262}" destId="{2A039C09-28E0-4BA8-B94A-700F8FA01167}" srcOrd="0" destOrd="0" presId="urn:microsoft.com/office/officeart/2005/8/layout/vList2"/>
    <dgm:cxn modelId="{357CB5B2-ADF0-4DCA-ACEF-A71C77C3363C}" srcId="{8E3C286F-6BCE-4D27-BD10-EAEAC2B8311A}" destId="{03DEC04B-0746-47B1-A4AD-F5A6DC9761B3}" srcOrd="0" destOrd="0" parTransId="{F303D8D8-A67C-4DB3-95B9-2C3DF9EF0488}" sibTransId="{2AB3356C-50EB-44D7-A008-16DEA31DD5BE}"/>
    <dgm:cxn modelId="{5ADB83C6-B9C5-4B49-9236-CAD4F0C01A89}" srcId="{8E3C286F-6BCE-4D27-BD10-EAEAC2B8311A}" destId="{3BB760FD-9FEF-4FD7-A7AB-4BD6469D7723}" srcOrd="2" destOrd="0" parTransId="{32ABE667-3069-480B-94A6-8E88EAAA7476}" sibTransId="{F33FF257-3153-435C-84CF-A38CB830ADFC}"/>
    <dgm:cxn modelId="{37F33DD8-01B0-4BA0-9A26-4E168C278922}" type="presOf" srcId="{76885BCC-561E-430A-8900-691CE5B73CA5}" destId="{88CA05C1-ECD4-4C18-8B1D-80D42542AA21}" srcOrd="0" destOrd="2" presId="urn:microsoft.com/office/officeart/2005/8/layout/vList2"/>
    <dgm:cxn modelId="{0B7082D8-454B-4CF9-9630-B08471789FE4}" srcId="{E64B7905-F454-4C33-84CB-7412D8EBCEAA}" destId="{ABA3DFDB-2E0B-41EE-9DD3-76294C6F9016}" srcOrd="0" destOrd="0" parTransId="{F7F2E21F-29B5-4D46-8658-F43C66C73427}" sibTransId="{0FE9D6AB-8CA9-4665-809D-989F49E1387D}"/>
    <dgm:cxn modelId="{994592EA-08F0-4CDC-865D-8A92B838CE46}" srcId="{8E3C286F-6BCE-4D27-BD10-EAEAC2B8311A}" destId="{53CD3077-10A1-45C5-A0AF-FC682F04F262}" srcOrd="3" destOrd="0" parTransId="{62000C8C-7B4C-4EF8-895F-5440715B21C2}" sibTransId="{1F2A89E7-A5EA-49A9-A90E-7D17DCB9182E}"/>
    <dgm:cxn modelId="{47F85FFB-A490-4316-B009-E7AEC5397915}" srcId="{8E3C286F-6BCE-4D27-BD10-EAEAC2B8311A}" destId="{E64B7905-F454-4C33-84CB-7412D8EBCEAA}" srcOrd="1" destOrd="0" parTransId="{2BAAF12F-8A40-4EB8-816C-06B8A4CFFAA5}" sibTransId="{1C8C8BC7-726A-4204-BFA8-20BEBED64BAE}"/>
    <dgm:cxn modelId="{D8D772B5-DF80-458C-80B9-7406843D269D}" type="presParOf" srcId="{AC1B7191-D370-4CCD-8235-8E5EDAAB21B0}" destId="{03E89077-17CB-4DD1-B1F2-99512E1A6C07}" srcOrd="0" destOrd="0" presId="urn:microsoft.com/office/officeart/2005/8/layout/vList2"/>
    <dgm:cxn modelId="{F825DE88-65CB-4041-91F5-D02C98F0DAE5}" type="presParOf" srcId="{AC1B7191-D370-4CCD-8235-8E5EDAAB21B0}" destId="{F67C6697-A0C1-483E-87EA-46B8081E413A}" srcOrd="1" destOrd="0" presId="urn:microsoft.com/office/officeart/2005/8/layout/vList2"/>
    <dgm:cxn modelId="{92D865F9-F76B-4535-89DB-0FF9EB4C3733}" type="presParOf" srcId="{AC1B7191-D370-4CCD-8235-8E5EDAAB21B0}" destId="{C7D170F6-F605-4A91-9984-30D18270344C}" srcOrd="2" destOrd="0" presId="urn:microsoft.com/office/officeart/2005/8/layout/vList2"/>
    <dgm:cxn modelId="{F1DF0CC4-0DD4-4B7D-A0CD-32E5C7BB7740}" type="presParOf" srcId="{AC1B7191-D370-4CCD-8235-8E5EDAAB21B0}" destId="{88CA05C1-ECD4-4C18-8B1D-80D42542AA21}" srcOrd="3" destOrd="0" presId="urn:microsoft.com/office/officeart/2005/8/layout/vList2"/>
    <dgm:cxn modelId="{CEE8997D-9E92-49E4-AEB3-C64873A02330}" type="presParOf" srcId="{AC1B7191-D370-4CCD-8235-8E5EDAAB21B0}" destId="{BDC8D4BD-44F1-44C1-B0F2-28C35FEBFC99}" srcOrd="4" destOrd="0" presId="urn:microsoft.com/office/officeart/2005/8/layout/vList2"/>
    <dgm:cxn modelId="{FADEAC63-370B-411D-9657-D12419EDF06B}" type="presParOf" srcId="{AC1B7191-D370-4CCD-8235-8E5EDAAB21B0}" destId="{3DBC8263-F145-4A52-8629-433E0B7D7EB4}" srcOrd="5" destOrd="0" presId="urn:microsoft.com/office/officeart/2005/8/layout/vList2"/>
    <dgm:cxn modelId="{F4AE4521-BE9E-49FD-B288-D77004C00DC4}" type="presParOf" srcId="{AC1B7191-D370-4CCD-8235-8E5EDAAB21B0}" destId="{2A039C09-28E0-4BA8-B94A-700F8FA01167}"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EBF25A54-B9E2-433C-88FB-D7C1343C5C3B}" type="doc">
      <dgm:prSet loTypeId="urn:microsoft.com/office/officeart/2005/8/layout/vList2" loCatId="list" qsTypeId="urn:microsoft.com/office/officeart/2005/8/quickstyle/simple1" qsCatId="simple" csTypeId="urn:microsoft.com/office/officeart/2005/8/colors/accent3_3" csCatId="accent3" phldr="1"/>
      <dgm:spPr/>
      <dgm:t>
        <a:bodyPr/>
        <a:lstStyle/>
        <a:p>
          <a:endParaRPr lang="en-US"/>
        </a:p>
      </dgm:t>
    </dgm:pt>
    <dgm:pt modelId="{F65E74F6-84F3-40B1-8DD0-F4001079CB66}" type="pres">
      <dgm:prSet presAssocID="{EBF25A54-B9E2-433C-88FB-D7C1343C5C3B}" presName="linear" presStyleCnt="0">
        <dgm:presLayoutVars>
          <dgm:animLvl val="lvl"/>
          <dgm:resizeHandles val="exact"/>
        </dgm:presLayoutVars>
      </dgm:prSet>
      <dgm:spPr/>
    </dgm:pt>
  </dgm:ptLst>
  <dgm:cxnLst>
    <dgm:cxn modelId="{15990E04-8B82-4A5A-BCF2-976569DF6BE8}" type="presOf" srcId="{EBF25A54-B9E2-433C-88FB-D7C1343C5C3B}" destId="{F65E74F6-84F3-40B1-8DD0-F4001079CB66}" srcOrd="0"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is a VLF?</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E4912D94-1727-427A-857F-D90CFDE091E5}">
      <dgm:prSet custT="1"/>
      <dgm:spPr/>
      <dgm:t>
        <a:bodyPr/>
        <a:lstStyle/>
        <a:p>
          <a:r>
            <a:rPr lang="en-US" sz="2400" dirty="0"/>
            <a:t>What can be done to avoid having too many VLFs in the transaction log?</a:t>
          </a:r>
        </a:p>
      </dgm:t>
    </dgm:pt>
    <dgm:pt modelId="{E54C7479-3257-4075-91B3-6C4B6AFAA7D7}" type="parTrans" cxnId="{5A6B8065-38FF-4A25-9F96-CD72DD3984F6}">
      <dgm:prSet/>
      <dgm:spPr/>
      <dgm:t>
        <a:bodyPr/>
        <a:lstStyle/>
        <a:p>
          <a:endParaRPr lang="en-US"/>
        </a:p>
      </dgm:t>
    </dgm:pt>
    <dgm:pt modelId="{5A301D95-3750-4B21-8D47-78AFC6BBFA8F}" type="sibTrans" cxnId="{5A6B8065-38FF-4A25-9F96-CD72DD3984F6}">
      <dgm:prSet/>
      <dgm:spPr/>
      <dgm:t>
        <a:bodyPr/>
        <a:lstStyle/>
        <a:p>
          <a:endParaRPr lang="en-US"/>
        </a:p>
      </dgm:t>
    </dgm:pt>
    <dgm:pt modelId="{58A26723-DBC1-47E8-9ED8-C89819742032}">
      <dgm:prSet custT="1"/>
      <dgm:spPr/>
      <dgm:t>
        <a:bodyPr/>
        <a:lstStyle/>
        <a:p>
          <a:r>
            <a:rPr lang="en-US" sz="2400" dirty="0"/>
            <a:t>When it is appropriate to use delayed durability?</a:t>
          </a:r>
        </a:p>
      </dgm:t>
    </dgm:pt>
    <dgm:pt modelId="{8943F98B-F6FD-4ADC-8EE4-4226A636BC1B}" type="sibTrans" cxnId="{9AA059C3-CD3F-4AE6-8B13-F6532C493494}">
      <dgm:prSet/>
      <dgm:spPr/>
      <dgm:t>
        <a:bodyPr/>
        <a:lstStyle/>
        <a:p>
          <a:endParaRPr lang="en-US"/>
        </a:p>
      </dgm:t>
    </dgm:pt>
    <dgm:pt modelId="{565945AC-28A3-485B-B0A3-84F5ADBA8608}" type="parTrans" cxnId="{9AA059C3-CD3F-4AE6-8B13-F6532C493494}">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69C73D1A-7C3F-4D5B-83BA-288144A7FE66}" type="pres">
      <dgm:prSet presAssocID="{E4912D94-1727-427A-857F-D90CFDE091E5}" presName="parentText" presStyleLbl="node1" presStyleIdx="1" presStyleCnt="3">
        <dgm:presLayoutVars>
          <dgm:chMax val="0"/>
          <dgm:bulletEnabled val="1"/>
        </dgm:presLayoutVars>
      </dgm:prSet>
      <dgm:spPr/>
    </dgm:pt>
    <dgm:pt modelId="{F28191BB-CBD3-41B9-9FD1-58BE96C943A5}" type="pres">
      <dgm:prSet presAssocID="{5A301D95-3750-4B21-8D47-78AFC6BBFA8F}" presName="spacer" presStyleCnt="0"/>
      <dgm:spPr/>
    </dgm:pt>
    <dgm:pt modelId="{47EB8BC7-3CCE-4A62-A3CE-EAC0FDFDE304}" type="pres">
      <dgm:prSet presAssocID="{58A26723-DBC1-47E8-9ED8-C89819742032}"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5A6B8065-38FF-4A25-9F96-CD72DD3984F6}" srcId="{15A7774C-B622-4F48-8F7B-AF1AAB74E997}" destId="{E4912D94-1727-427A-857F-D90CFDE091E5}" srcOrd="1" destOrd="0" parTransId="{E54C7479-3257-4075-91B3-6C4B6AFAA7D7}" sibTransId="{5A301D95-3750-4B21-8D47-78AFC6BBFA8F}"/>
    <dgm:cxn modelId="{4BB646B5-2A6D-439D-A88F-AC928930541F}" srcId="{15A7774C-B622-4F48-8F7B-AF1AAB74E997}" destId="{CDCA19B1-3B45-4B24-8F19-085A650701BC}" srcOrd="0" destOrd="0" parTransId="{74BFB16A-6DC3-47DD-AE97-F15F596B23DF}" sibTransId="{CAE4D9F8-FDBB-4525-9125-6BAF56328FCE}"/>
    <dgm:cxn modelId="{256435BC-AC44-47B8-9F2B-397D03D88B61}" type="presOf" srcId="{E4912D94-1727-427A-857F-D90CFDE091E5}" destId="{69C73D1A-7C3F-4D5B-83BA-288144A7FE66}" srcOrd="0" destOrd="0" presId="urn:microsoft.com/office/officeart/2005/8/layout/vList2"/>
    <dgm:cxn modelId="{9AA059C3-CD3F-4AE6-8B13-F6532C493494}" srcId="{15A7774C-B622-4F48-8F7B-AF1AAB74E997}" destId="{58A26723-DBC1-47E8-9ED8-C89819742032}" srcOrd="2" destOrd="0" parTransId="{565945AC-28A3-485B-B0A3-84F5ADBA8608}" sibTransId="{8943F98B-F6FD-4ADC-8EE4-4226A636BC1B}"/>
    <dgm:cxn modelId="{721065FA-3A4A-4009-835E-27E133723DE7}" type="presOf" srcId="{58A26723-DBC1-47E8-9ED8-C89819742032}" destId="{47EB8BC7-3CCE-4A62-A3CE-EAC0FDFDE304}"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A61623BB-2139-48B0-85AD-BD9B32A62E31}" type="presParOf" srcId="{97400BD5-14CE-4761-8A6A-64BC46D23158}" destId="{69C73D1A-7C3F-4D5B-83BA-288144A7FE66}" srcOrd="2" destOrd="0" presId="urn:microsoft.com/office/officeart/2005/8/layout/vList2"/>
    <dgm:cxn modelId="{9ACF257B-0E38-4607-A034-FF9A4861FA40}" type="presParOf" srcId="{97400BD5-14CE-4761-8A6A-64BC46D23158}" destId="{F28191BB-CBD3-41B9-9FD1-58BE96C943A5}" srcOrd="3" destOrd="0" presId="urn:microsoft.com/office/officeart/2005/8/layout/vList2"/>
    <dgm:cxn modelId="{11AC4394-689B-4B72-8DAD-527A9D5BD722}" type="presParOf" srcId="{97400BD5-14CE-4761-8A6A-64BC46D23158}" destId="{47EB8BC7-3CCE-4A62-A3CE-EAC0FDFDE304}"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DCD90FF5-EA7A-4223-9B76-08522CFA8476}"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DE836A39-3309-4F03-84BF-F54E315C7B63}">
      <dgm:prSet custT="1"/>
      <dgm:spPr/>
      <dgm:t>
        <a:bodyPr/>
        <a:lstStyle/>
        <a:p>
          <a:r>
            <a:rPr lang="en-US" sz="2400" dirty="0"/>
            <a:t>System database</a:t>
          </a:r>
        </a:p>
      </dgm:t>
    </dgm:pt>
    <dgm:pt modelId="{D4EFA143-CC59-4748-851D-631C8E859470}" type="parTrans" cxnId="{75FBE532-3037-4745-96FF-D67AB611623E}">
      <dgm:prSet/>
      <dgm:spPr/>
      <dgm:t>
        <a:bodyPr/>
        <a:lstStyle/>
        <a:p>
          <a:endParaRPr lang="en-US"/>
        </a:p>
      </dgm:t>
    </dgm:pt>
    <dgm:pt modelId="{16378B24-9CC4-4286-A3E0-34500F5BDA5C}" type="sibTrans" cxnId="{75FBE532-3037-4745-96FF-D67AB611623E}">
      <dgm:prSet/>
      <dgm:spPr/>
      <dgm:t>
        <a:bodyPr/>
        <a:lstStyle/>
        <a:p>
          <a:endParaRPr lang="en-US"/>
        </a:p>
      </dgm:t>
    </dgm:pt>
    <dgm:pt modelId="{A5E80232-DB7B-4E7B-B7E1-032B8112E4E5}">
      <dgm:prSet custT="1"/>
      <dgm:spPr/>
      <dgm:t>
        <a:bodyPr/>
        <a:lstStyle/>
        <a:p>
          <a:r>
            <a:rPr lang="en-US" sz="2000" dirty="0"/>
            <a:t>Available to all users with the same structure as user databases. </a:t>
          </a:r>
        </a:p>
      </dgm:t>
    </dgm:pt>
    <dgm:pt modelId="{1A0D18D4-2726-43F3-B624-75E584582522}" type="parTrans" cxnId="{C8CC1E24-DCB8-4CE0-A3DC-55D19B78C949}">
      <dgm:prSet/>
      <dgm:spPr/>
      <dgm:t>
        <a:bodyPr/>
        <a:lstStyle/>
        <a:p>
          <a:endParaRPr lang="en-US"/>
        </a:p>
      </dgm:t>
    </dgm:pt>
    <dgm:pt modelId="{51B3763D-A75D-46E4-9D3B-00C6218A3EEA}" type="sibTrans" cxnId="{C8CC1E24-DCB8-4CE0-A3DC-55D19B78C949}">
      <dgm:prSet/>
      <dgm:spPr/>
      <dgm:t>
        <a:bodyPr/>
        <a:lstStyle/>
        <a:p>
          <a:endParaRPr lang="en-US"/>
        </a:p>
      </dgm:t>
    </dgm:pt>
    <dgm:pt modelId="{017BA5C4-E3E2-45FA-8875-08C66FE2E499}">
      <dgm:prSet custT="1"/>
      <dgm:spPr/>
      <dgm:t>
        <a:bodyPr/>
        <a:lstStyle/>
        <a:p>
          <a:r>
            <a:rPr lang="en-US" sz="2000" dirty="0"/>
            <a:t>Operations are minimally logged.</a:t>
          </a:r>
        </a:p>
      </dgm:t>
    </dgm:pt>
    <dgm:pt modelId="{1809E5DC-EB9A-4919-836E-8B8E22F9D364}" type="parTrans" cxnId="{367DDABD-EEB9-4FF2-A99D-BD67F169A2A6}">
      <dgm:prSet/>
      <dgm:spPr/>
      <dgm:t>
        <a:bodyPr/>
        <a:lstStyle/>
        <a:p>
          <a:endParaRPr lang="en-US"/>
        </a:p>
      </dgm:t>
    </dgm:pt>
    <dgm:pt modelId="{0A52FF1D-DDF1-4EE0-A95E-D9BDD58C9DDE}" type="sibTrans" cxnId="{367DDABD-EEB9-4FF2-A99D-BD67F169A2A6}">
      <dgm:prSet/>
      <dgm:spPr/>
      <dgm:t>
        <a:bodyPr/>
        <a:lstStyle/>
        <a:p>
          <a:endParaRPr lang="en-US"/>
        </a:p>
      </dgm:t>
    </dgm:pt>
    <dgm:pt modelId="{C46CF2FA-61AE-4B3E-990E-287C584C0976}">
      <dgm:prSet custT="1"/>
      <dgm:spPr/>
      <dgm:t>
        <a:bodyPr/>
        <a:lstStyle/>
        <a:p>
          <a:r>
            <a:rPr lang="en-US" sz="2000" dirty="0"/>
            <a:t>Re-created every time SQL Server is started.</a:t>
          </a:r>
        </a:p>
      </dgm:t>
    </dgm:pt>
    <dgm:pt modelId="{D2A0779A-1B70-438E-A4E4-BB5AC92195C6}" type="parTrans" cxnId="{334971EF-A1B3-4AA4-B406-7B5AEBA5D425}">
      <dgm:prSet/>
      <dgm:spPr/>
      <dgm:t>
        <a:bodyPr/>
        <a:lstStyle/>
        <a:p>
          <a:endParaRPr lang="en-US"/>
        </a:p>
      </dgm:t>
    </dgm:pt>
    <dgm:pt modelId="{16338D44-BE16-4F49-A12F-DB689DB99142}" type="sibTrans" cxnId="{334971EF-A1B3-4AA4-B406-7B5AEBA5D425}">
      <dgm:prSet/>
      <dgm:spPr/>
      <dgm:t>
        <a:bodyPr/>
        <a:lstStyle/>
        <a:p>
          <a:endParaRPr lang="en-US"/>
        </a:p>
      </dgm:t>
    </dgm:pt>
    <dgm:pt modelId="{337190E0-1701-4A65-93B4-D872253EA7FD}">
      <dgm:prSet custT="1"/>
      <dgm:spPr/>
      <dgm:t>
        <a:bodyPr/>
        <a:lstStyle/>
        <a:p>
          <a:r>
            <a:rPr lang="en-US" sz="2400" dirty="0"/>
            <a:t>Workload</a:t>
          </a:r>
        </a:p>
      </dgm:t>
    </dgm:pt>
    <dgm:pt modelId="{6F9CF146-A197-47AB-B7F7-48BFF155A271}" type="parTrans" cxnId="{9C2ABAEA-C0C2-4F9E-AE36-6729FAD7C495}">
      <dgm:prSet/>
      <dgm:spPr/>
      <dgm:t>
        <a:bodyPr/>
        <a:lstStyle/>
        <a:p>
          <a:endParaRPr lang="en-US"/>
        </a:p>
      </dgm:t>
    </dgm:pt>
    <dgm:pt modelId="{BBDB79C9-38B6-4E5C-97B1-3F2E4C384E13}" type="sibTrans" cxnId="{9C2ABAEA-C0C2-4F9E-AE36-6729FAD7C495}">
      <dgm:prSet/>
      <dgm:spPr/>
      <dgm:t>
        <a:bodyPr/>
        <a:lstStyle/>
        <a:p>
          <a:endParaRPr lang="en-US"/>
        </a:p>
      </dgm:t>
    </dgm:pt>
    <dgm:pt modelId="{5453A0DB-426E-4D7B-A4CF-DDC6FA198C6D}">
      <dgm:prSet custT="1"/>
      <dgm:spPr/>
      <dgm:t>
        <a:bodyPr/>
        <a:lstStyle/>
        <a:p>
          <a:r>
            <a:rPr lang="en-US" sz="2000" dirty="0"/>
            <a:t>Used for temporary (non-durable) storage.</a:t>
          </a:r>
        </a:p>
      </dgm:t>
    </dgm:pt>
    <dgm:pt modelId="{0EB221C3-A54C-4DF3-B26B-E1EA7B19AB71}" type="parTrans" cxnId="{8A87B0A1-5D29-4504-9DF2-FF6705506C58}">
      <dgm:prSet/>
      <dgm:spPr/>
      <dgm:t>
        <a:bodyPr/>
        <a:lstStyle/>
        <a:p>
          <a:endParaRPr lang="en-US"/>
        </a:p>
      </dgm:t>
    </dgm:pt>
    <dgm:pt modelId="{EA417B57-7F5D-4BEC-82CF-65FB3B018696}" type="sibTrans" cxnId="{8A87B0A1-5D29-4504-9DF2-FF6705506C58}">
      <dgm:prSet/>
      <dgm:spPr/>
      <dgm:t>
        <a:bodyPr/>
        <a:lstStyle/>
        <a:p>
          <a:endParaRPr lang="en-US"/>
        </a:p>
      </dgm:t>
    </dgm:pt>
    <dgm:pt modelId="{749E6B26-780B-4480-89C3-5A20BBDF78EF}">
      <dgm:prSet custT="1"/>
      <dgm:spPr/>
      <dgm:t>
        <a:bodyPr/>
        <a:lstStyle/>
        <a:p>
          <a:r>
            <a:rPr lang="en-US" sz="2000" dirty="0"/>
            <a:t>Object and data frequently being created and destroyed.</a:t>
          </a:r>
        </a:p>
      </dgm:t>
    </dgm:pt>
    <dgm:pt modelId="{81A83B3E-2334-40C3-8795-E4E5D17B1439}" type="parTrans" cxnId="{22B4914F-AB8D-4CFE-87BD-18041C41C3C7}">
      <dgm:prSet/>
      <dgm:spPr/>
      <dgm:t>
        <a:bodyPr/>
        <a:lstStyle/>
        <a:p>
          <a:endParaRPr lang="en-US"/>
        </a:p>
      </dgm:t>
    </dgm:pt>
    <dgm:pt modelId="{DE678A06-FAA1-40EC-820B-A381E6A8B228}" type="sibTrans" cxnId="{22B4914F-AB8D-4CFE-87BD-18041C41C3C7}">
      <dgm:prSet/>
      <dgm:spPr/>
      <dgm:t>
        <a:bodyPr/>
        <a:lstStyle/>
        <a:p>
          <a:endParaRPr lang="en-US"/>
        </a:p>
      </dgm:t>
    </dgm:pt>
    <dgm:pt modelId="{471046A3-D163-4677-963A-97C05BC43610}">
      <dgm:prSet custT="1"/>
      <dgm:spPr/>
      <dgm:t>
        <a:bodyPr/>
        <a:lstStyle/>
        <a:p>
          <a:r>
            <a:rPr lang="en-US" sz="2000" dirty="0"/>
            <a:t>Very high concurrency.</a:t>
          </a:r>
        </a:p>
      </dgm:t>
    </dgm:pt>
    <dgm:pt modelId="{031CB263-830B-4792-95C0-A5C0945755F0}" type="parTrans" cxnId="{38D4D602-E07C-4824-8F8E-A8C196012D93}">
      <dgm:prSet/>
      <dgm:spPr/>
      <dgm:t>
        <a:bodyPr/>
        <a:lstStyle/>
        <a:p>
          <a:endParaRPr lang="en-US"/>
        </a:p>
      </dgm:t>
    </dgm:pt>
    <dgm:pt modelId="{20D750CB-6F9C-4D76-AB0C-CEE37CF5B0FE}" type="sibTrans" cxnId="{38D4D602-E07C-4824-8F8E-A8C196012D93}">
      <dgm:prSet/>
      <dgm:spPr/>
      <dgm:t>
        <a:bodyPr/>
        <a:lstStyle/>
        <a:p>
          <a:endParaRPr lang="en-US"/>
        </a:p>
      </dgm:t>
    </dgm:pt>
    <dgm:pt modelId="{4F5DBEFF-14E5-488D-BA0C-F9D6CB3AE256}">
      <dgm:prSet custT="1"/>
      <dgm:spPr/>
      <dgm:t>
        <a:bodyPr/>
        <a:lstStyle/>
        <a:p>
          <a:r>
            <a:rPr lang="en-US" sz="2000" dirty="0"/>
            <a:t>Backup and restore operations are not allowed on TempDB.</a:t>
          </a:r>
        </a:p>
      </dgm:t>
    </dgm:pt>
    <dgm:pt modelId="{EF4D375E-D198-434D-AFFF-F3E3AEAC47D8}" type="parTrans" cxnId="{31925E09-B391-4F1D-99F0-EC0B6B3CAF05}">
      <dgm:prSet/>
      <dgm:spPr/>
      <dgm:t>
        <a:bodyPr/>
        <a:lstStyle/>
        <a:p>
          <a:endParaRPr lang="en-US"/>
        </a:p>
      </dgm:t>
    </dgm:pt>
    <dgm:pt modelId="{47E29080-9DA0-42EB-A56A-1AB90DE8DE58}" type="sibTrans" cxnId="{31925E09-B391-4F1D-99F0-EC0B6B3CAF05}">
      <dgm:prSet/>
      <dgm:spPr/>
      <dgm:t>
        <a:bodyPr/>
        <a:lstStyle/>
        <a:p>
          <a:endParaRPr lang="en-US"/>
        </a:p>
      </dgm:t>
    </dgm:pt>
    <dgm:pt modelId="{61756BE8-68E3-43B4-9936-1AAC76C7D825}" type="pres">
      <dgm:prSet presAssocID="{DCD90FF5-EA7A-4223-9B76-08522CFA8476}" presName="linear" presStyleCnt="0">
        <dgm:presLayoutVars>
          <dgm:animLvl val="lvl"/>
          <dgm:resizeHandles val="exact"/>
        </dgm:presLayoutVars>
      </dgm:prSet>
      <dgm:spPr/>
    </dgm:pt>
    <dgm:pt modelId="{968D1D30-60A6-4DB2-8BDA-0DE9103DE1B8}" type="pres">
      <dgm:prSet presAssocID="{DE836A39-3309-4F03-84BF-F54E315C7B63}" presName="parentText" presStyleLbl="node1" presStyleIdx="0" presStyleCnt="2">
        <dgm:presLayoutVars>
          <dgm:chMax val="0"/>
          <dgm:bulletEnabled val="1"/>
        </dgm:presLayoutVars>
      </dgm:prSet>
      <dgm:spPr/>
    </dgm:pt>
    <dgm:pt modelId="{0FD744F1-A23D-4BF3-813E-387E30C91F55}" type="pres">
      <dgm:prSet presAssocID="{DE836A39-3309-4F03-84BF-F54E315C7B63}" presName="childText" presStyleLbl="revTx" presStyleIdx="0" presStyleCnt="2">
        <dgm:presLayoutVars>
          <dgm:bulletEnabled val="1"/>
        </dgm:presLayoutVars>
      </dgm:prSet>
      <dgm:spPr/>
    </dgm:pt>
    <dgm:pt modelId="{CAA25F38-B2DB-4408-A535-B349A208603B}" type="pres">
      <dgm:prSet presAssocID="{337190E0-1701-4A65-93B4-D872253EA7FD}" presName="parentText" presStyleLbl="node1" presStyleIdx="1" presStyleCnt="2">
        <dgm:presLayoutVars>
          <dgm:chMax val="0"/>
          <dgm:bulletEnabled val="1"/>
        </dgm:presLayoutVars>
      </dgm:prSet>
      <dgm:spPr/>
    </dgm:pt>
    <dgm:pt modelId="{7BA8DFCE-126A-4113-9751-19225927BD8C}" type="pres">
      <dgm:prSet presAssocID="{337190E0-1701-4A65-93B4-D872253EA7FD}" presName="childText" presStyleLbl="revTx" presStyleIdx="1" presStyleCnt="2">
        <dgm:presLayoutVars>
          <dgm:bulletEnabled val="1"/>
        </dgm:presLayoutVars>
      </dgm:prSet>
      <dgm:spPr/>
    </dgm:pt>
  </dgm:ptLst>
  <dgm:cxnLst>
    <dgm:cxn modelId="{38D4D602-E07C-4824-8F8E-A8C196012D93}" srcId="{337190E0-1701-4A65-93B4-D872253EA7FD}" destId="{471046A3-D163-4677-963A-97C05BC43610}" srcOrd="2" destOrd="0" parTransId="{031CB263-830B-4792-95C0-A5C0945755F0}" sibTransId="{20D750CB-6F9C-4D76-AB0C-CEE37CF5B0FE}"/>
    <dgm:cxn modelId="{31925E09-B391-4F1D-99F0-EC0B6B3CAF05}" srcId="{337190E0-1701-4A65-93B4-D872253EA7FD}" destId="{4F5DBEFF-14E5-488D-BA0C-F9D6CB3AE256}" srcOrd="3" destOrd="0" parTransId="{EF4D375E-D198-434D-AFFF-F3E3AEAC47D8}" sibTransId="{47E29080-9DA0-42EB-A56A-1AB90DE8DE58}"/>
    <dgm:cxn modelId="{69670A10-F717-443D-AD0B-29198477A372}" type="presOf" srcId="{5453A0DB-426E-4D7B-A4CF-DDC6FA198C6D}" destId="{7BA8DFCE-126A-4113-9751-19225927BD8C}" srcOrd="0" destOrd="0" presId="urn:microsoft.com/office/officeart/2005/8/layout/vList2"/>
    <dgm:cxn modelId="{B0DAB515-6D23-4A39-A1DD-E0C88ED0D1DA}" type="presOf" srcId="{749E6B26-780B-4480-89C3-5A20BBDF78EF}" destId="{7BA8DFCE-126A-4113-9751-19225927BD8C}" srcOrd="0" destOrd="1" presId="urn:microsoft.com/office/officeart/2005/8/layout/vList2"/>
    <dgm:cxn modelId="{C8CC1E24-DCB8-4CE0-A3DC-55D19B78C949}" srcId="{DE836A39-3309-4F03-84BF-F54E315C7B63}" destId="{A5E80232-DB7B-4E7B-B7E1-032B8112E4E5}" srcOrd="0" destOrd="0" parTransId="{1A0D18D4-2726-43F3-B624-75E584582522}" sibTransId="{51B3763D-A75D-46E4-9D3B-00C6218A3EEA}"/>
    <dgm:cxn modelId="{F1634A2C-5086-4875-B998-BDE705EE825D}" type="presOf" srcId="{DCD90FF5-EA7A-4223-9B76-08522CFA8476}" destId="{61756BE8-68E3-43B4-9936-1AAC76C7D825}" srcOrd="0" destOrd="0" presId="urn:microsoft.com/office/officeart/2005/8/layout/vList2"/>
    <dgm:cxn modelId="{75FBE532-3037-4745-96FF-D67AB611623E}" srcId="{DCD90FF5-EA7A-4223-9B76-08522CFA8476}" destId="{DE836A39-3309-4F03-84BF-F54E315C7B63}" srcOrd="0" destOrd="0" parTransId="{D4EFA143-CC59-4748-851D-631C8E859470}" sibTransId="{16378B24-9CC4-4286-A3E0-34500F5BDA5C}"/>
    <dgm:cxn modelId="{389E0041-DE55-4DA5-B5C0-077EE0FF826C}" type="presOf" srcId="{A5E80232-DB7B-4E7B-B7E1-032B8112E4E5}" destId="{0FD744F1-A23D-4BF3-813E-387E30C91F55}" srcOrd="0" destOrd="0" presId="urn:microsoft.com/office/officeart/2005/8/layout/vList2"/>
    <dgm:cxn modelId="{131E2062-CF9A-4FF6-9564-A92F3AF51F80}" type="presOf" srcId="{471046A3-D163-4677-963A-97C05BC43610}" destId="{7BA8DFCE-126A-4113-9751-19225927BD8C}" srcOrd="0" destOrd="2" presId="urn:microsoft.com/office/officeart/2005/8/layout/vList2"/>
    <dgm:cxn modelId="{FB4D556E-D32A-4CD8-84E1-5E23C7B9EB1F}" type="presOf" srcId="{337190E0-1701-4A65-93B4-D872253EA7FD}" destId="{CAA25F38-B2DB-4408-A535-B349A208603B}" srcOrd="0" destOrd="0" presId="urn:microsoft.com/office/officeart/2005/8/layout/vList2"/>
    <dgm:cxn modelId="{22B4914F-AB8D-4CFE-87BD-18041C41C3C7}" srcId="{337190E0-1701-4A65-93B4-D872253EA7FD}" destId="{749E6B26-780B-4480-89C3-5A20BBDF78EF}" srcOrd="1" destOrd="0" parTransId="{81A83B3E-2334-40C3-8795-E4E5D17B1439}" sibTransId="{DE678A06-FAA1-40EC-820B-A381E6A8B228}"/>
    <dgm:cxn modelId="{2BF63A95-7DBE-4FB6-A8F6-C69F6DA66E04}" type="presOf" srcId="{017BA5C4-E3E2-45FA-8875-08C66FE2E499}" destId="{0FD744F1-A23D-4BF3-813E-387E30C91F55}" srcOrd="0" destOrd="1" presId="urn:microsoft.com/office/officeart/2005/8/layout/vList2"/>
    <dgm:cxn modelId="{8A87B0A1-5D29-4504-9DF2-FF6705506C58}" srcId="{337190E0-1701-4A65-93B4-D872253EA7FD}" destId="{5453A0DB-426E-4D7B-A4CF-DDC6FA198C6D}" srcOrd="0" destOrd="0" parTransId="{0EB221C3-A54C-4DF3-B26B-E1EA7B19AB71}" sibTransId="{EA417B57-7F5D-4BEC-82CF-65FB3B018696}"/>
    <dgm:cxn modelId="{367DDABD-EEB9-4FF2-A99D-BD67F169A2A6}" srcId="{DE836A39-3309-4F03-84BF-F54E315C7B63}" destId="{017BA5C4-E3E2-45FA-8875-08C66FE2E499}" srcOrd="1" destOrd="0" parTransId="{1809E5DC-EB9A-4919-836E-8B8E22F9D364}" sibTransId="{0A52FF1D-DDF1-4EE0-A95E-D9BDD58C9DDE}"/>
    <dgm:cxn modelId="{B2AB1CC0-E26D-4064-A69C-F2EC4774E188}" type="presOf" srcId="{C46CF2FA-61AE-4B3E-990E-287C584C0976}" destId="{0FD744F1-A23D-4BF3-813E-387E30C91F55}" srcOrd="0" destOrd="2" presId="urn:microsoft.com/office/officeart/2005/8/layout/vList2"/>
    <dgm:cxn modelId="{EC3205D8-8597-4020-844C-1344D065F55F}" type="presOf" srcId="{4F5DBEFF-14E5-488D-BA0C-F9D6CB3AE256}" destId="{7BA8DFCE-126A-4113-9751-19225927BD8C}" srcOrd="0" destOrd="3" presId="urn:microsoft.com/office/officeart/2005/8/layout/vList2"/>
    <dgm:cxn modelId="{3F2EF3E7-BCCB-46B3-89D2-C96CFF465BC8}" type="presOf" srcId="{DE836A39-3309-4F03-84BF-F54E315C7B63}" destId="{968D1D30-60A6-4DB2-8BDA-0DE9103DE1B8}" srcOrd="0" destOrd="0" presId="urn:microsoft.com/office/officeart/2005/8/layout/vList2"/>
    <dgm:cxn modelId="{9C2ABAEA-C0C2-4F9E-AE36-6729FAD7C495}" srcId="{DCD90FF5-EA7A-4223-9B76-08522CFA8476}" destId="{337190E0-1701-4A65-93B4-D872253EA7FD}" srcOrd="1" destOrd="0" parTransId="{6F9CF146-A197-47AB-B7F7-48BFF155A271}" sibTransId="{BBDB79C9-38B6-4E5C-97B1-3F2E4C384E13}"/>
    <dgm:cxn modelId="{334971EF-A1B3-4AA4-B406-7B5AEBA5D425}" srcId="{DE836A39-3309-4F03-84BF-F54E315C7B63}" destId="{C46CF2FA-61AE-4B3E-990E-287C584C0976}" srcOrd="2" destOrd="0" parTransId="{D2A0779A-1B70-438E-A4E4-BB5AC92195C6}" sibTransId="{16338D44-BE16-4F49-A12F-DB689DB99142}"/>
    <dgm:cxn modelId="{B37CC48B-198E-4371-B13E-21072BFDC488}" type="presParOf" srcId="{61756BE8-68E3-43B4-9936-1AAC76C7D825}" destId="{968D1D30-60A6-4DB2-8BDA-0DE9103DE1B8}" srcOrd="0" destOrd="0" presId="urn:microsoft.com/office/officeart/2005/8/layout/vList2"/>
    <dgm:cxn modelId="{9E1C957F-E19B-499D-A23A-CA80F5727E5F}" type="presParOf" srcId="{61756BE8-68E3-43B4-9936-1AAC76C7D825}" destId="{0FD744F1-A23D-4BF3-813E-387E30C91F55}" srcOrd="1" destOrd="0" presId="urn:microsoft.com/office/officeart/2005/8/layout/vList2"/>
    <dgm:cxn modelId="{5961E616-8145-4D31-98D2-44514D054917}" type="presParOf" srcId="{61756BE8-68E3-43B4-9936-1AAC76C7D825}" destId="{CAA25F38-B2DB-4408-A535-B349A208603B}" srcOrd="2" destOrd="0" presId="urn:microsoft.com/office/officeart/2005/8/layout/vList2"/>
    <dgm:cxn modelId="{F47E0FD8-C602-42E1-8F40-6584A7E93D6C}" type="presParOf" srcId="{61756BE8-68E3-43B4-9936-1AAC76C7D825}" destId="{7BA8DFCE-126A-4113-9751-19225927BD8C}"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4174E31D-C529-403D-AC76-50C5CE4997EC}" type="doc">
      <dgm:prSet loTypeId="urn:microsoft.com/office/officeart/2005/8/layout/vList5" loCatId="list" qsTypeId="urn:microsoft.com/office/officeart/2005/8/quickstyle/simple1" qsCatId="simple" csTypeId="urn:microsoft.com/office/officeart/2005/8/colors/colorful2" csCatId="colorful" phldr="1"/>
      <dgm:spPr/>
      <dgm:t>
        <a:bodyPr/>
        <a:lstStyle/>
        <a:p>
          <a:endParaRPr lang="en-US"/>
        </a:p>
      </dgm:t>
    </dgm:pt>
    <dgm:pt modelId="{A7C492CD-EAB0-4FED-9396-DE1F9F6CB5A0}">
      <dgm:prSet/>
      <dgm:spPr/>
      <dgm:t>
        <a:bodyPr/>
        <a:lstStyle/>
        <a:p>
          <a:r>
            <a:rPr lang="en-US" baseline="0" dirty="0"/>
            <a:t>Temporary user objects</a:t>
          </a:r>
          <a:endParaRPr lang="en-US" dirty="0"/>
        </a:p>
      </dgm:t>
    </dgm:pt>
    <dgm:pt modelId="{9ABB33C0-F512-4819-B143-E69A90D476B5}" type="parTrans" cxnId="{F73CCDF5-49D2-4EFD-846B-60430BEA845A}">
      <dgm:prSet/>
      <dgm:spPr/>
      <dgm:t>
        <a:bodyPr/>
        <a:lstStyle/>
        <a:p>
          <a:endParaRPr lang="en-US"/>
        </a:p>
      </dgm:t>
    </dgm:pt>
    <dgm:pt modelId="{6329659F-5CC5-4855-8F87-D3C737DBD6BF}" type="sibTrans" cxnId="{F73CCDF5-49D2-4EFD-846B-60430BEA845A}">
      <dgm:prSet/>
      <dgm:spPr/>
      <dgm:t>
        <a:bodyPr/>
        <a:lstStyle/>
        <a:p>
          <a:endParaRPr lang="en-US"/>
        </a:p>
      </dgm:t>
    </dgm:pt>
    <dgm:pt modelId="{9DBA518B-8AA9-4FB1-A324-0CCE984B4AFA}">
      <dgm:prSet/>
      <dgm:spPr/>
      <dgm:t>
        <a:bodyPr/>
        <a:lstStyle/>
        <a:p>
          <a:r>
            <a:rPr lang="en-US" baseline="0" dirty="0"/>
            <a:t>Global or local temporary tables and indexes</a:t>
          </a:r>
          <a:endParaRPr lang="en-US" dirty="0"/>
        </a:p>
      </dgm:t>
    </dgm:pt>
    <dgm:pt modelId="{0760BBC0-A45D-480A-99F4-B8CB0420CAA6}" type="parTrans" cxnId="{76CC47A8-4BAD-4E56-A62A-1F9A2F3A4D33}">
      <dgm:prSet/>
      <dgm:spPr/>
      <dgm:t>
        <a:bodyPr/>
        <a:lstStyle/>
        <a:p>
          <a:endParaRPr lang="en-US"/>
        </a:p>
      </dgm:t>
    </dgm:pt>
    <dgm:pt modelId="{26CD1A15-7D5D-49AC-85AB-2283AE74D58C}" type="sibTrans" cxnId="{76CC47A8-4BAD-4E56-A62A-1F9A2F3A4D33}">
      <dgm:prSet/>
      <dgm:spPr/>
      <dgm:t>
        <a:bodyPr/>
        <a:lstStyle/>
        <a:p>
          <a:endParaRPr lang="en-US"/>
        </a:p>
      </dgm:t>
    </dgm:pt>
    <dgm:pt modelId="{238D225D-88E6-4149-8294-61A67C9E27C7}">
      <dgm:prSet/>
      <dgm:spPr/>
      <dgm:t>
        <a:bodyPr/>
        <a:lstStyle/>
        <a:p>
          <a:r>
            <a:rPr lang="en-US" baseline="0" dirty="0"/>
            <a:t>Temporary stored procedures</a:t>
          </a:r>
          <a:endParaRPr lang="en-US" dirty="0"/>
        </a:p>
      </dgm:t>
    </dgm:pt>
    <dgm:pt modelId="{C60619BC-D45A-4077-9960-B7FA0EFB523B}" type="parTrans" cxnId="{916F8D82-CE23-4C4D-9D00-E8EE09CCF955}">
      <dgm:prSet/>
      <dgm:spPr/>
      <dgm:t>
        <a:bodyPr/>
        <a:lstStyle/>
        <a:p>
          <a:endParaRPr lang="en-US"/>
        </a:p>
      </dgm:t>
    </dgm:pt>
    <dgm:pt modelId="{55AFD1D4-FC00-4691-A222-6B4ED0F07C6A}" type="sibTrans" cxnId="{916F8D82-CE23-4C4D-9D00-E8EE09CCF955}">
      <dgm:prSet/>
      <dgm:spPr/>
      <dgm:t>
        <a:bodyPr/>
        <a:lstStyle/>
        <a:p>
          <a:endParaRPr lang="en-US"/>
        </a:p>
      </dgm:t>
    </dgm:pt>
    <dgm:pt modelId="{65CEB372-B9DE-4E55-9337-F45BD1C4614F}">
      <dgm:prSet/>
      <dgm:spPr/>
      <dgm:t>
        <a:bodyPr/>
        <a:lstStyle/>
        <a:p>
          <a:r>
            <a:rPr lang="en-US" baseline="0" dirty="0"/>
            <a:t>Table variables</a:t>
          </a:r>
          <a:endParaRPr lang="en-US" dirty="0"/>
        </a:p>
      </dgm:t>
    </dgm:pt>
    <dgm:pt modelId="{A3091423-43F5-45DF-918F-A97038A17818}" type="parTrans" cxnId="{9CBBE898-9EE9-4E89-9371-FEB3BF18A173}">
      <dgm:prSet/>
      <dgm:spPr/>
      <dgm:t>
        <a:bodyPr/>
        <a:lstStyle/>
        <a:p>
          <a:endParaRPr lang="en-US"/>
        </a:p>
      </dgm:t>
    </dgm:pt>
    <dgm:pt modelId="{B5A04C4F-F478-4042-8235-A1013AAD4BFE}" type="sibTrans" cxnId="{9CBBE898-9EE9-4E89-9371-FEB3BF18A173}">
      <dgm:prSet/>
      <dgm:spPr/>
      <dgm:t>
        <a:bodyPr/>
        <a:lstStyle/>
        <a:p>
          <a:endParaRPr lang="en-US"/>
        </a:p>
      </dgm:t>
    </dgm:pt>
    <dgm:pt modelId="{D0D826C2-600F-4093-BC1A-18C65D82742C}">
      <dgm:prSet/>
      <dgm:spPr/>
      <dgm:t>
        <a:bodyPr/>
        <a:lstStyle/>
        <a:p>
          <a:r>
            <a:rPr lang="en-US" baseline="0" dirty="0"/>
            <a:t>Tables returned in table-valued functions, or cursors</a:t>
          </a:r>
          <a:endParaRPr lang="en-US" dirty="0"/>
        </a:p>
      </dgm:t>
    </dgm:pt>
    <dgm:pt modelId="{B006E4A6-1D09-40D4-B7DB-07023A50B81C}" type="parTrans" cxnId="{5F5F56AB-2D1B-4E4B-84E6-728AD71BD336}">
      <dgm:prSet/>
      <dgm:spPr/>
      <dgm:t>
        <a:bodyPr/>
        <a:lstStyle/>
        <a:p>
          <a:endParaRPr lang="en-US"/>
        </a:p>
      </dgm:t>
    </dgm:pt>
    <dgm:pt modelId="{49875D2D-26C9-4CF9-B775-B65BC06978B0}" type="sibTrans" cxnId="{5F5F56AB-2D1B-4E4B-84E6-728AD71BD336}">
      <dgm:prSet/>
      <dgm:spPr/>
      <dgm:t>
        <a:bodyPr/>
        <a:lstStyle/>
        <a:p>
          <a:endParaRPr lang="en-US"/>
        </a:p>
      </dgm:t>
    </dgm:pt>
    <dgm:pt modelId="{8F7BF719-AC76-46B8-8CF1-4FD3B594CA71}">
      <dgm:prSet/>
      <dgm:spPr/>
      <dgm:t>
        <a:bodyPr/>
        <a:lstStyle/>
        <a:p>
          <a:r>
            <a:rPr lang="en-US" baseline="0" dirty="0"/>
            <a:t>Internal objects </a:t>
          </a:r>
          <a:endParaRPr lang="en-US" dirty="0"/>
        </a:p>
      </dgm:t>
    </dgm:pt>
    <dgm:pt modelId="{54DC54A1-B6BD-4353-8F43-A1FF9E14CC1C}" type="parTrans" cxnId="{569033D9-830B-4DB6-A2D4-7956660A21A6}">
      <dgm:prSet/>
      <dgm:spPr/>
      <dgm:t>
        <a:bodyPr/>
        <a:lstStyle/>
        <a:p>
          <a:endParaRPr lang="en-US"/>
        </a:p>
      </dgm:t>
    </dgm:pt>
    <dgm:pt modelId="{1E1CD749-9EBC-4161-8521-215E4A22D257}" type="sibTrans" cxnId="{569033D9-830B-4DB6-A2D4-7956660A21A6}">
      <dgm:prSet/>
      <dgm:spPr/>
      <dgm:t>
        <a:bodyPr/>
        <a:lstStyle/>
        <a:p>
          <a:endParaRPr lang="en-US"/>
        </a:p>
      </dgm:t>
    </dgm:pt>
    <dgm:pt modelId="{D512C06E-ED5A-4631-83F4-A69A93EE1934}">
      <dgm:prSet/>
      <dgm:spPr/>
      <dgm:t>
        <a:bodyPr/>
        <a:lstStyle/>
        <a:p>
          <a:r>
            <a:rPr lang="en-US" baseline="0" dirty="0"/>
            <a:t>Worktables to store intermediate results for spools, cursors, sorts, and temporary LOB storage.</a:t>
          </a:r>
          <a:endParaRPr lang="en-US" dirty="0"/>
        </a:p>
      </dgm:t>
    </dgm:pt>
    <dgm:pt modelId="{3A90B544-CBD5-4ECC-9827-FE8DB7823369}" type="parTrans" cxnId="{52069C64-0550-4058-A05A-F0FC4B0517A4}">
      <dgm:prSet/>
      <dgm:spPr/>
      <dgm:t>
        <a:bodyPr/>
        <a:lstStyle/>
        <a:p>
          <a:endParaRPr lang="en-US"/>
        </a:p>
      </dgm:t>
    </dgm:pt>
    <dgm:pt modelId="{4BEEC7D9-2299-4890-A812-628C4BEDABAC}" type="sibTrans" cxnId="{52069C64-0550-4058-A05A-F0FC4B0517A4}">
      <dgm:prSet/>
      <dgm:spPr/>
      <dgm:t>
        <a:bodyPr/>
        <a:lstStyle/>
        <a:p>
          <a:endParaRPr lang="en-US"/>
        </a:p>
      </dgm:t>
    </dgm:pt>
    <dgm:pt modelId="{97FF3DA0-21EA-43D1-B4ED-DB075A709C40}">
      <dgm:prSet/>
      <dgm:spPr/>
      <dgm:t>
        <a:bodyPr/>
        <a:lstStyle/>
        <a:p>
          <a:r>
            <a:rPr lang="en-US" baseline="0" dirty="0"/>
            <a:t>Work files for hash join or hash aggregate operations.</a:t>
          </a:r>
          <a:endParaRPr lang="en-US" dirty="0"/>
        </a:p>
      </dgm:t>
    </dgm:pt>
    <dgm:pt modelId="{35697707-432F-433B-ACA6-B9C312DF7518}" type="parTrans" cxnId="{8E7DF8E2-4DCE-42C5-843B-86F3B3F2582C}">
      <dgm:prSet/>
      <dgm:spPr/>
      <dgm:t>
        <a:bodyPr/>
        <a:lstStyle/>
        <a:p>
          <a:endParaRPr lang="en-US"/>
        </a:p>
      </dgm:t>
    </dgm:pt>
    <dgm:pt modelId="{865967F7-5176-444E-BD65-C8727E33F827}" type="sibTrans" cxnId="{8E7DF8E2-4DCE-42C5-843B-86F3B3F2582C}">
      <dgm:prSet/>
      <dgm:spPr/>
      <dgm:t>
        <a:bodyPr/>
        <a:lstStyle/>
        <a:p>
          <a:endParaRPr lang="en-US"/>
        </a:p>
      </dgm:t>
    </dgm:pt>
    <dgm:pt modelId="{CF5F919C-B4EA-457E-98C7-2B89DCEB0C8E}">
      <dgm:prSet/>
      <dgm:spPr/>
      <dgm:t>
        <a:bodyPr/>
        <a:lstStyle/>
        <a:p>
          <a:r>
            <a:rPr lang="en-US" baseline="0" dirty="0"/>
            <a:t>Intermediate sort results for operations such as creating or rebuilding indexes (if SORT_IN_TEMPDB is specified), or certain GROUP BY, ORDER BY, or UNION queries.</a:t>
          </a:r>
          <a:endParaRPr lang="en-US" dirty="0"/>
        </a:p>
      </dgm:t>
    </dgm:pt>
    <dgm:pt modelId="{41910561-9D8A-4CBF-BD87-4E24FC05F8F0}" type="parTrans" cxnId="{67CE52EF-01EC-4D68-983C-306BB54190E4}">
      <dgm:prSet/>
      <dgm:spPr/>
      <dgm:t>
        <a:bodyPr/>
        <a:lstStyle/>
        <a:p>
          <a:endParaRPr lang="en-US"/>
        </a:p>
      </dgm:t>
    </dgm:pt>
    <dgm:pt modelId="{CA596D42-873F-4CCB-B7FD-D80403FA8E71}" type="sibTrans" cxnId="{67CE52EF-01EC-4D68-983C-306BB54190E4}">
      <dgm:prSet/>
      <dgm:spPr/>
      <dgm:t>
        <a:bodyPr/>
        <a:lstStyle/>
        <a:p>
          <a:endParaRPr lang="en-US"/>
        </a:p>
      </dgm:t>
    </dgm:pt>
    <dgm:pt modelId="{2CC627DF-7F70-488F-92AC-983780487FD0}">
      <dgm:prSet/>
      <dgm:spPr/>
      <dgm:t>
        <a:bodyPr/>
        <a:lstStyle/>
        <a:p>
          <a:r>
            <a:rPr lang="en-US" baseline="0" dirty="0"/>
            <a:t>Version stores </a:t>
          </a:r>
          <a:endParaRPr lang="en-US" dirty="0"/>
        </a:p>
      </dgm:t>
    </dgm:pt>
    <dgm:pt modelId="{E1EC9124-7FD7-445D-9202-3069AB01D35D}" type="parTrans" cxnId="{FC3F5D4A-EF8F-4BA5-9F24-959636141E84}">
      <dgm:prSet/>
      <dgm:spPr/>
      <dgm:t>
        <a:bodyPr/>
        <a:lstStyle/>
        <a:p>
          <a:endParaRPr lang="en-US"/>
        </a:p>
      </dgm:t>
    </dgm:pt>
    <dgm:pt modelId="{02357563-8CE1-427C-81D9-4931996B3D0E}" type="sibTrans" cxnId="{FC3F5D4A-EF8F-4BA5-9F24-959636141E84}">
      <dgm:prSet/>
      <dgm:spPr/>
      <dgm:t>
        <a:bodyPr/>
        <a:lstStyle/>
        <a:p>
          <a:endParaRPr lang="en-US"/>
        </a:p>
      </dgm:t>
    </dgm:pt>
    <dgm:pt modelId="{2E1DE7CF-9CA4-4438-B459-537CE09989B9}">
      <dgm:prSet/>
      <dgm:spPr/>
      <dgm:t>
        <a:bodyPr/>
        <a:lstStyle/>
        <a:p>
          <a:r>
            <a:rPr lang="en-US" baseline="0" dirty="0"/>
            <a:t>Common version store </a:t>
          </a:r>
          <a:endParaRPr lang="en-US" dirty="0"/>
        </a:p>
      </dgm:t>
    </dgm:pt>
    <dgm:pt modelId="{44EF7E84-5862-4BDF-ADD5-5FEFC970F068}" type="parTrans" cxnId="{AAF788FE-AA15-44CA-A8AC-81C26348E5A2}">
      <dgm:prSet/>
      <dgm:spPr/>
      <dgm:t>
        <a:bodyPr/>
        <a:lstStyle/>
        <a:p>
          <a:endParaRPr lang="en-US"/>
        </a:p>
      </dgm:t>
    </dgm:pt>
    <dgm:pt modelId="{FBEB2248-2D81-429F-BB0A-4AC382A907B2}" type="sibTrans" cxnId="{AAF788FE-AA15-44CA-A8AC-81C26348E5A2}">
      <dgm:prSet/>
      <dgm:spPr/>
      <dgm:t>
        <a:bodyPr/>
        <a:lstStyle/>
        <a:p>
          <a:endParaRPr lang="en-US"/>
        </a:p>
      </dgm:t>
    </dgm:pt>
    <dgm:pt modelId="{0BD00771-9515-42B9-A5C3-BA4947945744}">
      <dgm:prSet/>
      <dgm:spPr/>
      <dgm:t>
        <a:bodyPr/>
        <a:lstStyle/>
        <a:p>
          <a:r>
            <a:rPr lang="en-US" baseline="0" dirty="0"/>
            <a:t>Online-index-build version store</a:t>
          </a:r>
          <a:endParaRPr lang="en-US" dirty="0"/>
        </a:p>
      </dgm:t>
    </dgm:pt>
    <dgm:pt modelId="{FE783BAF-0C50-4B74-9E65-85717605A591}" type="parTrans" cxnId="{CF8BD63F-E4B7-46AD-AA5B-47906F609500}">
      <dgm:prSet/>
      <dgm:spPr/>
      <dgm:t>
        <a:bodyPr/>
        <a:lstStyle/>
        <a:p>
          <a:endParaRPr lang="en-US"/>
        </a:p>
      </dgm:t>
    </dgm:pt>
    <dgm:pt modelId="{FD7282DF-8F0A-4651-BBF9-5A823B7160DD}" type="sibTrans" cxnId="{CF8BD63F-E4B7-46AD-AA5B-47906F609500}">
      <dgm:prSet/>
      <dgm:spPr/>
      <dgm:t>
        <a:bodyPr/>
        <a:lstStyle/>
        <a:p>
          <a:endParaRPr lang="en-US"/>
        </a:p>
      </dgm:t>
    </dgm:pt>
    <dgm:pt modelId="{22893709-E9EC-4614-B124-E6D1182940A6}" type="pres">
      <dgm:prSet presAssocID="{4174E31D-C529-403D-AC76-50C5CE4997EC}" presName="Name0" presStyleCnt="0">
        <dgm:presLayoutVars>
          <dgm:dir/>
          <dgm:animLvl val="lvl"/>
          <dgm:resizeHandles val="exact"/>
        </dgm:presLayoutVars>
      </dgm:prSet>
      <dgm:spPr/>
    </dgm:pt>
    <dgm:pt modelId="{4F72724F-95D4-4100-8A18-2BD35BBDC354}" type="pres">
      <dgm:prSet presAssocID="{A7C492CD-EAB0-4FED-9396-DE1F9F6CB5A0}" presName="linNode" presStyleCnt="0"/>
      <dgm:spPr/>
    </dgm:pt>
    <dgm:pt modelId="{4E96B2B8-6208-4F6B-9690-912A909F316F}" type="pres">
      <dgm:prSet presAssocID="{A7C492CD-EAB0-4FED-9396-DE1F9F6CB5A0}" presName="parentText" presStyleLbl="node1" presStyleIdx="0" presStyleCnt="3" custScaleX="64984" custLinFactNeighborX="-8321" custLinFactNeighborY="1192">
        <dgm:presLayoutVars>
          <dgm:chMax val="1"/>
          <dgm:bulletEnabled val="1"/>
        </dgm:presLayoutVars>
      </dgm:prSet>
      <dgm:spPr/>
    </dgm:pt>
    <dgm:pt modelId="{4BB7A34F-A809-42F9-8833-0BB6817FBEE5}" type="pres">
      <dgm:prSet presAssocID="{A7C492CD-EAB0-4FED-9396-DE1F9F6CB5A0}" presName="descendantText" presStyleLbl="alignAccFollowNode1" presStyleIdx="0" presStyleCnt="3" custScaleX="113587" custLinFactNeighborX="-3503" custLinFactNeighborY="1835">
        <dgm:presLayoutVars>
          <dgm:bulletEnabled val="1"/>
        </dgm:presLayoutVars>
      </dgm:prSet>
      <dgm:spPr/>
    </dgm:pt>
    <dgm:pt modelId="{070CE7F1-C6F2-4A14-9CE5-6F5AAD50763B}" type="pres">
      <dgm:prSet presAssocID="{6329659F-5CC5-4855-8F87-D3C737DBD6BF}" presName="sp" presStyleCnt="0"/>
      <dgm:spPr/>
    </dgm:pt>
    <dgm:pt modelId="{2A6F49F2-0199-4DDD-9E7C-64E09F107A20}" type="pres">
      <dgm:prSet presAssocID="{8F7BF719-AC76-46B8-8CF1-4FD3B594CA71}" presName="linNode" presStyleCnt="0"/>
      <dgm:spPr/>
    </dgm:pt>
    <dgm:pt modelId="{08136A82-1FB7-4253-BE5E-94BB1DE3D541}" type="pres">
      <dgm:prSet presAssocID="{8F7BF719-AC76-46B8-8CF1-4FD3B594CA71}" presName="parentText" presStyleLbl="node1" presStyleIdx="1" presStyleCnt="3" custScaleX="64984" custLinFactNeighborX="-8321" custLinFactNeighborY="1192">
        <dgm:presLayoutVars>
          <dgm:chMax val="1"/>
          <dgm:bulletEnabled val="1"/>
        </dgm:presLayoutVars>
      </dgm:prSet>
      <dgm:spPr/>
    </dgm:pt>
    <dgm:pt modelId="{B27F3B0D-D925-4031-91F4-CE94A9E550CA}" type="pres">
      <dgm:prSet presAssocID="{8F7BF719-AC76-46B8-8CF1-4FD3B594CA71}" presName="descendantText" presStyleLbl="alignAccFollowNode1" presStyleIdx="1" presStyleCnt="3" custScaleX="113587" custLinFactNeighborX="-3503" custLinFactNeighborY="1835">
        <dgm:presLayoutVars>
          <dgm:bulletEnabled val="1"/>
        </dgm:presLayoutVars>
      </dgm:prSet>
      <dgm:spPr/>
    </dgm:pt>
    <dgm:pt modelId="{AA5B09EF-ED89-4CDB-8B2F-65E68454F8B1}" type="pres">
      <dgm:prSet presAssocID="{1E1CD749-9EBC-4161-8521-215E4A22D257}" presName="sp" presStyleCnt="0"/>
      <dgm:spPr/>
    </dgm:pt>
    <dgm:pt modelId="{31E94ED6-BCE4-4A2D-B80B-3B82D9A26A32}" type="pres">
      <dgm:prSet presAssocID="{2CC627DF-7F70-488F-92AC-983780487FD0}" presName="linNode" presStyleCnt="0"/>
      <dgm:spPr/>
    </dgm:pt>
    <dgm:pt modelId="{FDD51701-DC5C-45A6-920F-9105644A9278}" type="pres">
      <dgm:prSet presAssocID="{2CC627DF-7F70-488F-92AC-983780487FD0}" presName="parentText" presStyleLbl="node1" presStyleIdx="2" presStyleCnt="3" custScaleX="64984" custLinFactNeighborX="-8321" custLinFactNeighborY="1192">
        <dgm:presLayoutVars>
          <dgm:chMax val="1"/>
          <dgm:bulletEnabled val="1"/>
        </dgm:presLayoutVars>
      </dgm:prSet>
      <dgm:spPr/>
    </dgm:pt>
    <dgm:pt modelId="{E8FBC572-98AD-4A63-AAF8-0E6AEC369C3B}" type="pres">
      <dgm:prSet presAssocID="{2CC627DF-7F70-488F-92AC-983780487FD0}" presName="descendantText" presStyleLbl="alignAccFollowNode1" presStyleIdx="2" presStyleCnt="3" custScaleX="113587" custLinFactNeighborX="-3503" custLinFactNeighborY="1835">
        <dgm:presLayoutVars>
          <dgm:bulletEnabled val="1"/>
        </dgm:presLayoutVars>
      </dgm:prSet>
      <dgm:spPr/>
    </dgm:pt>
  </dgm:ptLst>
  <dgm:cxnLst>
    <dgm:cxn modelId="{31E32B01-3462-4D4B-B7C9-3CEA3DFEAF38}" type="presOf" srcId="{65CEB372-B9DE-4E55-9337-F45BD1C4614F}" destId="{4BB7A34F-A809-42F9-8833-0BB6817FBEE5}" srcOrd="0" destOrd="2" presId="urn:microsoft.com/office/officeart/2005/8/layout/vList5"/>
    <dgm:cxn modelId="{CF8BD63F-E4B7-46AD-AA5B-47906F609500}" srcId="{2CC627DF-7F70-488F-92AC-983780487FD0}" destId="{0BD00771-9515-42B9-A5C3-BA4947945744}" srcOrd="1" destOrd="0" parTransId="{FE783BAF-0C50-4B74-9E65-85717605A591}" sibTransId="{FD7282DF-8F0A-4651-BBF9-5A823B7160DD}"/>
    <dgm:cxn modelId="{FC83A15B-2B97-4FED-BF4E-2FD7DCA59CED}" type="presOf" srcId="{8F7BF719-AC76-46B8-8CF1-4FD3B594CA71}" destId="{08136A82-1FB7-4253-BE5E-94BB1DE3D541}" srcOrd="0" destOrd="0" presId="urn:microsoft.com/office/officeart/2005/8/layout/vList5"/>
    <dgm:cxn modelId="{6782F861-DDBD-4029-8FFA-C9C06C02F869}" type="presOf" srcId="{2CC627DF-7F70-488F-92AC-983780487FD0}" destId="{FDD51701-DC5C-45A6-920F-9105644A9278}" srcOrd="0" destOrd="0" presId="urn:microsoft.com/office/officeart/2005/8/layout/vList5"/>
    <dgm:cxn modelId="{52069C64-0550-4058-A05A-F0FC4B0517A4}" srcId="{8F7BF719-AC76-46B8-8CF1-4FD3B594CA71}" destId="{D512C06E-ED5A-4631-83F4-A69A93EE1934}" srcOrd="0" destOrd="0" parTransId="{3A90B544-CBD5-4ECC-9827-FE8DB7823369}" sibTransId="{4BEEC7D9-2299-4890-A812-628C4BEDABAC}"/>
    <dgm:cxn modelId="{6220C968-6296-4867-BE84-1A639F4438CB}" type="presOf" srcId="{9DBA518B-8AA9-4FB1-A324-0CCE984B4AFA}" destId="{4BB7A34F-A809-42F9-8833-0BB6817FBEE5}" srcOrd="0" destOrd="0" presId="urn:microsoft.com/office/officeart/2005/8/layout/vList5"/>
    <dgm:cxn modelId="{FC3F5D4A-EF8F-4BA5-9F24-959636141E84}" srcId="{4174E31D-C529-403D-AC76-50C5CE4997EC}" destId="{2CC627DF-7F70-488F-92AC-983780487FD0}" srcOrd="2" destOrd="0" parTransId="{E1EC9124-7FD7-445D-9202-3069AB01D35D}" sibTransId="{02357563-8CE1-427C-81D9-4931996B3D0E}"/>
    <dgm:cxn modelId="{F2EF814C-EC43-4DFA-908C-39B6BF2DCC24}" type="presOf" srcId="{D0D826C2-600F-4093-BC1A-18C65D82742C}" destId="{4BB7A34F-A809-42F9-8833-0BB6817FBEE5}" srcOrd="0" destOrd="3" presId="urn:microsoft.com/office/officeart/2005/8/layout/vList5"/>
    <dgm:cxn modelId="{A8A4A24F-A51E-47F4-B009-A3AB63B6F363}" type="presOf" srcId="{CF5F919C-B4EA-457E-98C7-2B89DCEB0C8E}" destId="{B27F3B0D-D925-4031-91F4-CE94A9E550CA}" srcOrd="0" destOrd="2" presId="urn:microsoft.com/office/officeart/2005/8/layout/vList5"/>
    <dgm:cxn modelId="{316A1775-A51F-4F39-B986-DDE09EB2A741}" type="presOf" srcId="{238D225D-88E6-4149-8294-61A67C9E27C7}" destId="{4BB7A34F-A809-42F9-8833-0BB6817FBEE5}" srcOrd="0" destOrd="1" presId="urn:microsoft.com/office/officeart/2005/8/layout/vList5"/>
    <dgm:cxn modelId="{17BFD05A-9B06-4C85-B3B9-166773B0E9D7}" type="presOf" srcId="{A7C492CD-EAB0-4FED-9396-DE1F9F6CB5A0}" destId="{4E96B2B8-6208-4F6B-9690-912A909F316F}" srcOrd="0" destOrd="0" presId="urn:microsoft.com/office/officeart/2005/8/layout/vList5"/>
    <dgm:cxn modelId="{916F8D82-CE23-4C4D-9D00-E8EE09CCF955}" srcId="{A7C492CD-EAB0-4FED-9396-DE1F9F6CB5A0}" destId="{238D225D-88E6-4149-8294-61A67C9E27C7}" srcOrd="1" destOrd="0" parTransId="{C60619BC-D45A-4077-9960-B7FA0EFB523B}" sibTransId="{55AFD1D4-FC00-4691-A222-6B4ED0F07C6A}"/>
    <dgm:cxn modelId="{9CBBE898-9EE9-4E89-9371-FEB3BF18A173}" srcId="{A7C492CD-EAB0-4FED-9396-DE1F9F6CB5A0}" destId="{65CEB372-B9DE-4E55-9337-F45BD1C4614F}" srcOrd="2" destOrd="0" parTransId="{A3091423-43F5-45DF-918F-A97038A17818}" sibTransId="{B5A04C4F-F478-4042-8235-A1013AAD4BFE}"/>
    <dgm:cxn modelId="{3BBF2E9C-69E4-483D-8B6E-E3E547975025}" type="presOf" srcId="{97FF3DA0-21EA-43D1-B4ED-DB075A709C40}" destId="{B27F3B0D-D925-4031-91F4-CE94A9E550CA}" srcOrd="0" destOrd="1" presId="urn:microsoft.com/office/officeart/2005/8/layout/vList5"/>
    <dgm:cxn modelId="{E593DFA2-3AD5-447D-BCCF-D53E363CE680}" type="presOf" srcId="{D512C06E-ED5A-4631-83F4-A69A93EE1934}" destId="{B27F3B0D-D925-4031-91F4-CE94A9E550CA}" srcOrd="0" destOrd="0" presId="urn:microsoft.com/office/officeart/2005/8/layout/vList5"/>
    <dgm:cxn modelId="{76CC47A8-4BAD-4E56-A62A-1F9A2F3A4D33}" srcId="{A7C492CD-EAB0-4FED-9396-DE1F9F6CB5A0}" destId="{9DBA518B-8AA9-4FB1-A324-0CCE984B4AFA}" srcOrd="0" destOrd="0" parTransId="{0760BBC0-A45D-480A-99F4-B8CB0420CAA6}" sibTransId="{26CD1A15-7D5D-49AC-85AB-2283AE74D58C}"/>
    <dgm:cxn modelId="{5F5F56AB-2D1B-4E4B-84E6-728AD71BD336}" srcId="{A7C492CD-EAB0-4FED-9396-DE1F9F6CB5A0}" destId="{D0D826C2-600F-4093-BC1A-18C65D82742C}" srcOrd="3" destOrd="0" parTransId="{B006E4A6-1D09-40D4-B7DB-07023A50B81C}" sibTransId="{49875D2D-26C9-4CF9-B775-B65BC06978B0}"/>
    <dgm:cxn modelId="{A6C65EB3-F56C-440A-8182-22FBA0EC7101}" type="presOf" srcId="{0BD00771-9515-42B9-A5C3-BA4947945744}" destId="{E8FBC572-98AD-4A63-AAF8-0E6AEC369C3B}" srcOrd="0" destOrd="1" presId="urn:microsoft.com/office/officeart/2005/8/layout/vList5"/>
    <dgm:cxn modelId="{569033D9-830B-4DB6-A2D4-7956660A21A6}" srcId="{4174E31D-C529-403D-AC76-50C5CE4997EC}" destId="{8F7BF719-AC76-46B8-8CF1-4FD3B594CA71}" srcOrd="1" destOrd="0" parTransId="{54DC54A1-B6BD-4353-8F43-A1FF9E14CC1C}" sibTransId="{1E1CD749-9EBC-4161-8521-215E4A22D257}"/>
    <dgm:cxn modelId="{BF5CACE2-2D27-418A-A775-3A727BE05EC6}" type="presOf" srcId="{2E1DE7CF-9CA4-4438-B459-537CE09989B9}" destId="{E8FBC572-98AD-4A63-AAF8-0E6AEC369C3B}" srcOrd="0" destOrd="0" presId="urn:microsoft.com/office/officeart/2005/8/layout/vList5"/>
    <dgm:cxn modelId="{8E7DF8E2-4DCE-42C5-843B-86F3B3F2582C}" srcId="{8F7BF719-AC76-46B8-8CF1-4FD3B594CA71}" destId="{97FF3DA0-21EA-43D1-B4ED-DB075A709C40}" srcOrd="1" destOrd="0" parTransId="{35697707-432F-433B-ACA6-B9C312DF7518}" sibTransId="{865967F7-5176-444E-BD65-C8727E33F827}"/>
    <dgm:cxn modelId="{67CE52EF-01EC-4D68-983C-306BB54190E4}" srcId="{8F7BF719-AC76-46B8-8CF1-4FD3B594CA71}" destId="{CF5F919C-B4EA-457E-98C7-2B89DCEB0C8E}" srcOrd="2" destOrd="0" parTransId="{41910561-9D8A-4CBF-BD87-4E24FC05F8F0}" sibTransId="{CA596D42-873F-4CCB-B7FD-D80403FA8E71}"/>
    <dgm:cxn modelId="{F73CCDF5-49D2-4EFD-846B-60430BEA845A}" srcId="{4174E31D-C529-403D-AC76-50C5CE4997EC}" destId="{A7C492CD-EAB0-4FED-9396-DE1F9F6CB5A0}" srcOrd="0" destOrd="0" parTransId="{9ABB33C0-F512-4819-B143-E69A90D476B5}" sibTransId="{6329659F-5CC5-4855-8F87-D3C737DBD6BF}"/>
    <dgm:cxn modelId="{7D13A1FB-3758-4A5E-A848-CE860E10BE0D}" type="presOf" srcId="{4174E31D-C529-403D-AC76-50C5CE4997EC}" destId="{22893709-E9EC-4614-B124-E6D1182940A6}" srcOrd="0" destOrd="0" presId="urn:microsoft.com/office/officeart/2005/8/layout/vList5"/>
    <dgm:cxn modelId="{AAF788FE-AA15-44CA-A8AC-81C26348E5A2}" srcId="{2CC627DF-7F70-488F-92AC-983780487FD0}" destId="{2E1DE7CF-9CA4-4438-B459-537CE09989B9}" srcOrd="0" destOrd="0" parTransId="{44EF7E84-5862-4BDF-ADD5-5FEFC970F068}" sibTransId="{FBEB2248-2D81-429F-BB0A-4AC382A907B2}"/>
    <dgm:cxn modelId="{E5573A19-C2E4-44BB-A4C7-9CC8D1DDF610}" type="presParOf" srcId="{22893709-E9EC-4614-B124-E6D1182940A6}" destId="{4F72724F-95D4-4100-8A18-2BD35BBDC354}" srcOrd="0" destOrd="0" presId="urn:microsoft.com/office/officeart/2005/8/layout/vList5"/>
    <dgm:cxn modelId="{AFBEF32C-839E-4CE6-B232-F872ADE8D2F2}" type="presParOf" srcId="{4F72724F-95D4-4100-8A18-2BD35BBDC354}" destId="{4E96B2B8-6208-4F6B-9690-912A909F316F}" srcOrd="0" destOrd="0" presId="urn:microsoft.com/office/officeart/2005/8/layout/vList5"/>
    <dgm:cxn modelId="{714C3E12-9172-4F39-A16E-78192D9E65CD}" type="presParOf" srcId="{4F72724F-95D4-4100-8A18-2BD35BBDC354}" destId="{4BB7A34F-A809-42F9-8833-0BB6817FBEE5}" srcOrd="1" destOrd="0" presId="urn:microsoft.com/office/officeart/2005/8/layout/vList5"/>
    <dgm:cxn modelId="{093B6F86-EDD4-4941-A75D-820A4D9B6A93}" type="presParOf" srcId="{22893709-E9EC-4614-B124-E6D1182940A6}" destId="{070CE7F1-C6F2-4A14-9CE5-6F5AAD50763B}" srcOrd="1" destOrd="0" presId="urn:microsoft.com/office/officeart/2005/8/layout/vList5"/>
    <dgm:cxn modelId="{B9DF3BA3-FDD6-4E0C-A1DE-861EBF35B7F7}" type="presParOf" srcId="{22893709-E9EC-4614-B124-E6D1182940A6}" destId="{2A6F49F2-0199-4DDD-9E7C-64E09F107A20}" srcOrd="2" destOrd="0" presId="urn:microsoft.com/office/officeart/2005/8/layout/vList5"/>
    <dgm:cxn modelId="{9F089C4C-31F7-45AE-9036-FE6D2463070B}" type="presParOf" srcId="{2A6F49F2-0199-4DDD-9E7C-64E09F107A20}" destId="{08136A82-1FB7-4253-BE5E-94BB1DE3D541}" srcOrd="0" destOrd="0" presId="urn:microsoft.com/office/officeart/2005/8/layout/vList5"/>
    <dgm:cxn modelId="{F7BBEA80-BA68-4EAB-B45D-FAD9F57328C4}" type="presParOf" srcId="{2A6F49F2-0199-4DDD-9E7C-64E09F107A20}" destId="{B27F3B0D-D925-4031-91F4-CE94A9E550CA}" srcOrd="1" destOrd="0" presId="urn:microsoft.com/office/officeart/2005/8/layout/vList5"/>
    <dgm:cxn modelId="{EA9E9E39-89CE-4A91-A70B-96078FE50D90}" type="presParOf" srcId="{22893709-E9EC-4614-B124-E6D1182940A6}" destId="{AA5B09EF-ED89-4CDB-8B2F-65E68454F8B1}" srcOrd="3" destOrd="0" presId="urn:microsoft.com/office/officeart/2005/8/layout/vList5"/>
    <dgm:cxn modelId="{B3C19485-E82B-4D81-B064-B331E77DF601}" type="presParOf" srcId="{22893709-E9EC-4614-B124-E6D1182940A6}" destId="{31E94ED6-BCE4-4A2D-B80B-3B82D9A26A32}" srcOrd="4" destOrd="0" presId="urn:microsoft.com/office/officeart/2005/8/layout/vList5"/>
    <dgm:cxn modelId="{61049777-6C08-4B05-A6E1-D7F83C49B48A}" type="presParOf" srcId="{31E94ED6-BCE4-4A2D-B80B-3B82D9A26A32}" destId="{FDD51701-DC5C-45A6-920F-9105644A9278}" srcOrd="0" destOrd="0" presId="urn:microsoft.com/office/officeart/2005/8/layout/vList5"/>
    <dgm:cxn modelId="{8F32AA14-3473-491F-856D-B28DF0ECE156}" type="presParOf" srcId="{31E94ED6-BCE4-4A2D-B80B-3B82D9A26A32}" destId="{E8FBC572-98AD-4A63-AAF8-0E6AEC369C3B}"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60E4E29E-00FC-41B6-8CD3-AA0F652583E7}"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EFB595A0-4DD1-4AAD-8EC1-F4FBC7AD3075}">
      <dgm:prSet custT="1"/>
      <dgm:spPr/>
      <dgm:t>
        <a:bodyPr/>
        <a:lstStyle/>
        <a:p>
          <a:r>
            <a:rPr lang="en-US" sz="2000" b="0" i="0" dirty="0"/>
            <a:t>If the number of logical processors is less than or equal to eight (8), use the same number of data files as logical processors. </a:t>
          </a:r>
          <a:endParaRPr lang="en-US" sz="2000" dirty="0"/>
        </a:p>
      </dgm:t>
    </dgm:pt>
    <dgm:pt modelId="{E953DD66-021B-49D9-9EC0-98274141265F}" type="parTrans" cxnId="{515B9965-BE28-48E5-A5D3-00D49F14EC9B}">
      <dgm:prSet/>
      <dgm:spPr/>
      <dgm:t>
        <a:bodyPr/>
        <a:lstStyle/>
        <a:p>
          <a:endParaRPr lang="en-US"/>
        </a:p>
      </dgm:t>
    </dgm:pt>
    <dgm:pt modelId="{4C6B3E41-5F81-4FEA-9650-D33334A6F04E}" type="sibTrans" cxnId="{515B9965-BE28-48E5-A5D3-00D49F14EC9B}">
      <dgm:prSet/>
      <dgm:spPr/>
      <dgm:t>
        <a:bodyPr/>
        <a:lstStyle/>
        <a:p>
          <a:endParaRPr lang="en-US"/>
        </a:p>
      </dgm:t>
    </dgm:pt>
    <dgm:pt modelId="{B230EE83-DBF3-4A1F-8033-6A84344128EE}">
      <dgm:prSet custT="1"/>
      <dgm:spPr/>
      <dgm:t>
        <a:bodyPr/>
        <a:lstStyle/>
        <a:p>
          <a:r>
            <a:rPr lang="en-US" sz="2000" b="0" i="0" dirty="0"/>
            <a:t>If the number of logical processors is greater than eight (8), use eight data files.</a:t>
          </a:r>
          <a:endParaRPr lang="en-US" sz="2000" dirty="0"/>
        </a:p>
      </dgm:t>
    </dgm:pt>
    <dgm:pt modelId="{3C23FB24-8BE8-4BC2-887A-1C26A2770F93}" type="parTrans" cxnId="{9BDDA25F-9A60-485D-98ED-3B33C1E042C6}">
      <dgm:prSet/>
      <dgm:spPr/>
      <dgm:t>
        <a:bodyPr/>
        <a:lstStyle/>
        <a:p>
          <a:endParaRPr lang="en-US"/>
        </a:p>
      </dgm:t>
    </dgm:pt>
    <dgm:pt modelId="{B44D7CA7-8098-468F-90EA-4F42D74067FE}" type="sibTrans" cxnId="{9BDDA25F-9A60-485D-98ED-3B33C1E042C6}">
      <dgm:prSet/>
      <dgm:spPr/>
      <dgm:t>
        <a:bodyPr/>
        <a:lstStyle/>
        <a:p>
          <a:endParaRPr lang="en-US"/>
        </a:p>
      </dgm:t>
    </dgm:pt>
    <dgm:pt modelId="{CBCB11D9-3B2B-4DCD-B9D9-17777F8FEB5B}">
      <dgm:prSet custT="1"/>
      <dgm:spPr/>
      <dgm:t>
        <a:bodyPr/>
        <a:lstStyle/>
        <a:p>
          <a:r>
            <a:rPr lang="en-US" sz="2000" b="0" i="0"/>
            <a:t>Alternatively, make changes to the workload or code.</a:t>
          </a:r>
          <a:endParaRPr lang="en-US" sz="2000" dirty="0"/>
        </a:p>
      </dgm:t>
    </dgm:pt>
    <dgm:pt modelId="{EF8AEF85-17AB-4373-924E-8D26D14433D9}" type="parTrans" cxnId="{16C1884E-CAD9-4F9D-B45E-00A16A631DAA}">
      <dgm:prSet/>
      <dgm:spPr/>
      <dgm:t>
        <a:bodyPr/>
        <a:lstStyle/>
        <a:p>
          <a:endParaRPr lang="en-US"/>
        </a:p>
      </dgm:t>
    </dgm:pt>
    <dgm:pt modelId="{FDF3A90A-4F09-468D-B21A-593D81B18317}" type="sibTrans" cxnId="{16C1884E-CAD9-4F9D-B45E-00A16A631DAA}">
      <dgm:prSet/>
      <dgm:spPr/>
      <dgm:t>
        <a:bodyPr/>
        <a:lstStyle/>
        <a:p>
          <a:endParaRPr lang="en-US"/>
        </a:p>
      </dgm:t>
    </dgm:pt>
    <dgm:pt modelId="{BCA2F177-B590-4E3F-B210-5C1A1B59FB97}">
      <dgm:prSet custT="1"/>
      <dgm:spPr/>
      <dgm:t>
        <a:bodyPr/>
        <a:lstStyle/>
        <a:p>
          <a:r>
            <a:rPr lang="en-US" sz="2000" b="0" i="0" dirty="0"/>
            <a:t>If contention continues, increase the number of data    files by multiples of four (4) up to the number of logical processors</a:t>
          </a:r>
          <a:endParaRPr lang="en-US" sz="2000" dirty="0"/>
        </a:p>
      </dgm:t>
    </dgm:pt>
    <dgm:pt modelId="{2406BAFD-0A08-4201-B42A-D2F4AD1592B5}" type="parTrans" cxnId="{D0925EDB-59C0-4822-9B6B-C213250BEB0A}">
      <dgm:prSet/>
      <dgm:spPr/>
      <dgm:t>
        <a:bodyPr/>
        <a:lstStyle/>
        <a:p>
          <a:endParaRPr lang="en-US"/>
        </a:p>
      </dgm:t>
    </dgm:pt>
    <dgm:pt modelId="{EBBD0940-7350-4A00-8A84-137B0D10459B}" type="sibTrans" cxnId="{D0925EDB-59C0-4822-9B6B-C213250BEB0A}">
      <dgm:prSet/>
      <dgm:spPr/>
      <dgm:t>
        <a:bodyPr/>
        <a:lstStyle/>
        <a:p>
          <a:endParaRPr lang="en-US"/>
        </a:p>
      </dgm:t>
    </dgm:pt>
    <dgm:pt modelId="{3E0853D8-B67B-4937-8615-62A92E7AA09E}" type="pres">
      <dgm:prSet presAssocID="{60E4E29E-00FC-41B6-8CD3-AA0F652583E7}" presName="diagram" presStyleCnt="0">
        <dgm:presLayoutVars>
          <dgm:dir/>
          <dgm:resizeHandles val="exact"/>
        </dgm:presLayoutVars>
      </dgm:prSet>
      <dgm:spPr/>
    </dgm:pt>
    <dgm:pt modelId="{1DBA622A-2CAD-4CD4-B9F9-2EC91C1157DC}" type="pres">
      <dgm:prSet presAssocID="{EFB595A0-4DD1-4AAD-8EC1-F4FBC7AD3075}" presName="node" presStyleLbl="node1" presStyleIdx="0" presStyleCnt="4" custScaleY="163083">
        <dgm:presLayoutVars>
          <dgm:bulletEnabled val="1"/>
        </dgm:presLayoutVars>
      </dgm:prSet>
      <dgm:spPr/>
    </dgm:pt>
    <dgm:pt modelId="{D38E063A-63FE-45FC-B3C0-B240E9CABDF0}" type="pres">
      <dgm:prSet presAssocID="{4C6B3E41-5F81-4FEA-9650-D33334A6F04E}" presName="sibTrans" presStyleCnt="0"/>
      <dgm:spPr/>
    </dgm:pt>
    <dgm:pt modelId="{B1C4AFFA-3532-437C-B29A-7FDDE5BEC71F}" type="pres">
      <dgm:prSet presAssocID="{B230EE83-DBF3-4A1F-8033-6A84344128EE}" presName="node" presStyleLbl="node1" presStyleIdx="1" presStyleCnt="4" custScaleY="160280">
        <dgm:presLayoutVars>
          <dgm:bulletEnabled val="1"/>
        </dgm:presLayoutVars>
      </dgm:prSet>
      <dgm:spPr/>
    </dgm:pt>
    <dgm:pt modelId="{2B39BB65-AD2D-412B-BF55-4AE75F4E6F53}" type="pres">
      <dgm:prSet presAssocID="{B44D7CA7-8098-468F-90EA-4F42D74067FE}" presName="sibTrans" presStyleCnt="0"/>
      <dgm:spPr/>
    </dgm:pt>
    <dgm:pt modelId="{44D8825F-E5C3-4395-86D5-510F82EDC61E}" type="pres">
      <dgm:prSet presAssocID="{BCA2F177-B590-4E3F-B210-5C1A1B59FB97}" presName="node" presStyleLbl="node1" presStyleIdx="2" presStyleCnt="4" custScaleY="160280">
        <dgm:presLayoutVars>
          <dgm:bulletEnabled val="1"/>
        </dgm:presLayoutVars>
      </dgm:prSet>
      <dgm:spPr/>
    </dgm:pt>
    <dgm:pt modelId="{FB9F0EE4-521D-4651-A5A9-A66D524BF172}" type="pres">
      <dgm:prSet presAssocID="{EBBD0940-7350-4A00-8A84-137B0D10459B}" presName="sibTrans" presStyleCnt="0"/>
      <dgm:spPr/>
    </dgm:pt>
    <dgm:pt modelId="{0A4357DC-3753-4163-A2BD-06FC659AF452}" type="pres">
      <dgm:prSet presAssocID="{CBCB11D9-3B2B-4DCD-B9D9-17777F8FEB5B}" presName="node" presStyleLbl="node1" presStyleIdx="3" presStyleCnt="4" custScaleY="160280">
        <dgm:presLayoutVars>
          <dgm:bulletEnabled val="1"/>
        </dgm:presLayoutVars>
      </dgm:prSet>
      <dgm:spPr/>
    </dgm:pt>
  </dgm:ptLst>
  <dgm:cxnLst>
    <dgm:cxn modelId="{FE259A04-5A32-4171-B752-1E6B7D733EDE}" type="presOf" srcId="{B230EE83-DBF3-4A1F-8033-6A84344128EE}" destId="{B1C4AFFA-3532-437C-B29A-7FDDE5BEC71F}" srcOrd="0" destOrd="0" presId="urn:microsoft.com/office/officeart/2005/8/layout/default"/>
    <dgm:cxn modelId="{9BDDA25F-9A60-485D-98ED-3B33C1E042C6}" srcId="{60E4E29E-00FC-41B6-8CD3-AA0F652583E7}" destId="{B230EE83-DBF3-4A1F-8033-6A84344128EE}" srcOrd="1" destOrd="0" parTransId="{3C23FB24-8BE8-4BC2-887A-1C26A2770F93}" sibTransId="{B44D7CA7-8098-468F-90EA-4F42D74067FE}"/>
    <dgm:cxn modelId="{515B9965-BE28-48E5-A5D3-00D49F14EC9B}" srcId="{60E4E29E-00FC-41B6-8CD3-AA0F652583E7}" destId="{EFB595A0-4DD1-4AAD-8EC1-F4FBC7AD3075}" srcOrd="0" destOrd="0" parTransId="{E953DD66-021B-49D9-9EC0-98274141265F}" sibTransId="{4C6B3E41-5F81-4FEA-9650-D33334A6F04E}"/>
    <dgm:cxn modelId="{16C1884E-CAD9-4F9D-B45E-00A16A631DAA}" srcId="{60E4E29E-00FC-41B6-8CD3-AA0F652583E7}" destId="{CBCB11D9-3B2B-4DCD-B9D9-17777F8FEB5B}" srcOrd="3" destOrd="0" parTransId="{EF8AEF85-17AB-4373-924E-8D26D14433D9}" sibTransId="{FDF3A90A-4F09-468D-B21A-593D81B18317}"/>
    <dgm:cxn modelId="{668C6A5A-A3E0-4094-A2A0-4E7B865D1BC8}" type="presOf" srcId="{EFB595A0-4DD1-4AAD-8EC1-F4FBC7AD3075}" destId="{1DBA622A-2CAD-4CD4-B9F9-2EC91C1157DC}" srcOrd="0" destOrd="0" presId="urn:microsoft.com/office/officeart/2005/8/layout/default"/>
    <dgm:cxn modelId="{E09680CA-9CCC-45F8-BA01-ED7053F2F824}" type="presOf" srcId="{BCA2F177-B590-4E3F-B210-5C1A1B59FB97}" destId="{44D8825F-E5C3-4395-86D5-510F82EDC61E}" srcOrd="0" destOrd="0" presId="urn:microsoft.com/office/officeart/2005/8/layout/default"/>
    <dgm:cxn modelId="{52950BD7-0B8C-4BB5-9BB4-04E5011AD240}" type="presOf" srcId="{CBCB11D9-3B2B-4DCD-B9D9-17777F8FEB5B}" destId="{0A4357DC-3753-4163-A2BD-06FC659AF452}" srcOrd="0" destOrd="0" presId="urn:microsoft.com/office/officeart/2005/8/layout/default"/>
    <dgm:cxn modelId="{D0925EDB-59C0-4822-9B6B-C213250BEB0A}" srcId="{60E4E29E-00FC-41B6-8CD3-AA0F652583E7}" destId="{BCA2F177-B590-4E3F-B210-5C1A1B59FB97}" srcOrd="2" destOrd="0" parTransId="{2406BAFD-0A08-4201-B42A-D2F4AD1592B5}" sibTransId="{EBBD0940-7350-4A00-8A84-137B0D10459B}"/>
    <dgm:cxn modelId="{9FBF91E5-022B-4F86-96B8-907D7B0B8EEA}" type="presOf" srcId="{60E4E29E-00FC-41B6-8CD3-AA0F652583E7}" destId="{3E0853D8-B67B-4937-8615-62A92E7AA09E}" srcOrd="0" destOrd="0" presId="urn:microsoft.com/office/officeart/2005/8/layout/default"/>
    <dgm:cxn modelId="{C753FADE-3CC9-4756-83F4-6860632F5E0B}" type="presParOf" srcId="{3E0853D8-B67B-4937-8615-62A92E7AA09E}" destId="{1DBA622A-2CAD-4CD4-B9F9-2EC91C1157DC}" srcOrd="0" destOrd="0" presId="urn:microsoft.com/office/officeart/2005/8/layout/default"/>
    <dgm:cxn modelId="{192401C3-CDDB-4F23-B56F-E03BE535836B}" type="presParOf" srcId="{3E0853D8-B67B-4937-8615-62A92E7AA09E}" destId="{D38E063A-63FE-45FC-B3C0-B240E9CABDF0}" srcOrd="1" destOrd="0" presId="urn:microsoft.com/office/officeart/2005/8/layout/default"/>
    <dgm:cxn modelId="{A0807EDE-3C4F-4C37-AB0C-72CD2906BDAE}" type="presParOf" srcId="{3E0853D8-B67B-4937-8615-62A92E7AA09E}" destId="{B1C4AFFA-3532-437C-B29A-7FDDE5BEC71F}" srcOrd="2" destOrd="0" presId="urn:microsoft.com/office/officeart/2005/8/layout/default"/>
    <dgm:cxn modelId="{7E62D39B-1D78-4996-8BD1-28C3903DB389}" type="presParOf" srcId="{3E0853D8-B67B-4937-8615-62A92E7AA09E}" destId="{2B39BB65-AD2D-412B-BF55-4AE75F4E6F53}" srcOrd="3" destOrd="0" presId="urn:microsoft.com/office/officeart/2005/8/layout/default"/>
    <dgm:cxn modelId="{59D64556-14EE-4D32-873E-42C1B9EA9D2E}" type="presParOf" srcId="{3E0853D8-B67B-4937-8615-62A92E7AA09E}" destId="{44D8825F-E5C3-4395-86D5-510F82EDC61E}" srcOrd="4" destOrd="0" presId="urn:microsoft.com/office/officeart/2005/8/layout/default"/>
    <dgm:cxn modelId="{79526307-AE5A-4D1B-816A-AB36414CE62F}" type="presParOf" srcId="{3E0853D8-B67B-4937-8615-62A92E7AA09E}" destId="{FB9F0EE4-521D-4651-A5A9-A66D524BF172}" srcOrd="5" destOrd="0" presId="urn:microsoft.com/office/officeart/2005/8/layout/default"/>
    <dgm:cxn modelId="{41A248F2-379B-403C-A2CD-1A704BEE1423}" type="presParOf" srcId="{3E0853D8-B67B-4937-8615-62A92E7AA09E}" destId="{0A4357DC-3753-4163-A2BD-06FC659AF452}"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7B9E6B7-DC00-4E20-AB77-D9D4625B81D9}" type="doc">
      <dgm:prSet loTypeId="urn:microsoft.com/office/officeart/2008/layout/VerticalCurvedList" loCatId="list" qsTypeId="urn:microsoft.com/office/officeart/2005/8/quickstyle/simple1" qsCatId="simple" csTypeId="urn:microsoft.com/office/officeart/2005/8/colors/colorful1" csCatId="colorful"/>
      <dgm:spPr/>
      <dgm:t>
        <a:bodyPr/>
        <a:lstStyle/>
        <a:p>
          <a:endParaRPr lang="en-US"/>
        </a:p>
      </dgm:t>
    </dgm:pt>
    <dgm:pt modelId="{CEAEAA31-ED81-4A57-A5DE-74CA9B184F21}">
      <dgm:prSet custT="1"/>
      <dgm:spPr/>
      <dgm:t>
        <a:bodyPr/>
        <a:lstStyle/>
        <a:p>
          <a:r>
            <a:rPr lang="en-US" sz="2400" baseline="0" dirty="0"/>
            <a:t>Primary filegroup </a:t>
          </a:r>
          <a:endParaRPr lang="en-US" sz="2400" dirty="0"/>
        </a:p>
      </dgm:t>
    </dgm:pt>
    <dgm:pt modelId="{D2F26142-EDDC-4849-A48E-7D25FDEB3280}" type="parTrans" cxnId="{182E09B2-DA91-4595-9164-DBA68E07CAD8}">
      <dgm:prSet/>
      <dgm:spPr/>
      <dgm:t>
        <a:bodyPr/>
        <a:lstStyle/>
        <a:p>
          <a:endParaRPr lang="en-US" sz="1200"/>
        </a:p>
      </dgm:t>
    </dgm:pt>
    <dgm:pt modelId="{7E247CA4-CC14-46FC-BBAA-936406D87CF9}" type="sibTrans" cxnId="{182E09B2-DA91-4595-9164-DBA68E07CAD8}">
      <dgm:prSet/>
      <dgm:spPr/>
      <dgm:t>
        <a:bodyPr/>
        <a:lstStyle/>
        <a:p>
          <a:endParaRPr lang="en-US" sz="1200"/>
        </a:p>
      </dgm:t>
    </dgm:pt>
    <dgm:pt modelId="{5EEDB9FA-C05E-4C39-AF5B-C1664497DC6B}">
      <dgm:prSet custT="1"/>
      <dgm:spPr/>
      <dgm:t>
        <a:bodyPr/>
        <a:lstStyle/>
        <a:p>
          <a:r>
            <a:rPr lang="en-US" sz="2400" baseline="0" dirty="0"/>
            <a:t>User-defined filegroup</a:t>
          </a:r>
          <a:endParaRPr lang="en-US" sz="2400" dirty="0"/>
        </a:p>
      </dgm:t>
    </dgm:pt>
    <dgm:pt modelId="{1EDCCF65-8882-455A-81EB-B24F7942C777}" type="parTrans" cxnId="{7D74915B-E33D-4105-AB2A-53C143D28924}">
      <dgm:prSet/>
      <dgm:spPr/>
      <dgm:t>
        <a:bodyPr/>
        <a:lstStyle/>
        <a:p>
          <a:endParaRPr lang="en-US" sz="1200"/>
        </a:p>
      </dgm:t>
    </dgm:pt>
    <dgm:pt modelId="{734D3641-CD91-4C7F-B968-F2D5B6446DFD}" type="sibTrans" cxnId="{7D74915B-E33D-4105-AB2A-53C143D28924}">
      <dgm:prSet/>
      <dgm:spPr/>
      <dgm:t>
        <a:bodyPr/>
        <a:lstStyle/>
        <a:p>
          <a:endParaRPr lang="en-US" sz="1200"/>
        </a:p>
      </dgm:t>
    </dgm:pt>
    <dgm:pt modelId="{5EE64238-8CCE-4D23-B3C6-590B0BD2834B}">
      <dgm:prSet custT="1"/>
      <dgm:spPr/>
      <dgm:t>
        <a:bodyPr/>
        <a:lstStyle/>
        <a:p>
          <a:r>
            <a:rPr lang="en-US" sz="2400" baseline="0" dirty="0"/>
            <a:t>Memory optimized data filegroup</a:t>
          </a:r>
          <a:endParaRPr lang="en-US" sz="2400" dirty="0"/>
        </a:p>
      </dgm:t>
    </dgm:pt>
    <dgm:pt modelId="{A23906D9-B7EA-4546-8BA2-11F18CEF67EE}" type="parTrans" cxnId="{6DBA52BD-969C-4E60-9314-61F7AF86817C}">
      <dgm:prSet/>
      <dgm:spPr/>
      <dgm:t>
        <a:bodyPr/>
        <a:lstStyle/>
        <a:p>
          <a:endParaRPr lang="en-US" sz="1200"/>
        </a:p>
      </dgm:t>
    </dgm:pt>
    <dgm:pt modelId="{361D9CF0-5C70-41E8-A267-08109503B3F0}" type="sibTrans" cxnId="{6DBA52BD-969C-4E60-9314-61F7AF86817C}">
      <dgm:prSet/>
      <dgm:spPr/>
      <dgm:t>
        <a:bodyPr/>
        <a:lstStyle/>
        <a:p>
          <a:endParaRPr lang="en-US" sz="1200"/>
        </a:p>
      </dgm:t>
    </dgm:pt>
    <dgm:pt modelId="{09DB0953-8C0C-4D79-8C84-AC94D4FED3B5}">
      <dgm:prSet custT="1"/>
      <dgm:spPr/>
      <dgm:t>
        <a:bodyPr/>
        <a:lstStyle/>
        <a:p>
          <a:r>
            <a:rPr lang="en-US" sz="2400" baseline="0" dirty="0"/>
            <a:t>FILESTREAM file group</a:t>
          </a:r>
          <a:endParaRPr lang="en-US" sz="2400" dirty="0"/>
        </a:p>
      </dgm:t>
    </dgm:pt>
    <dgm:pt modelId="{352DA12E-2236-4F3A-9D77-0B40734D9A1E}" type="parTrans" cxnId="{64B261D3-AD2A-4A22-8E6C-3F6078778EB3}">
      <dgm:prSet/>
      <dgm:spPr/>
      <dgm:t>
        <a:bodyPr/>
        <a:lstStyle/>
        <a:p>
          <a:endParaRPr lang="en-US" sz="1200"/>
        </a:p>
      </dgm:t>
    </dgm:pt>
    <dgm:pt modelId="{57C21D90-1486-4B83-ADCD-80335E132286}" type="sibTrans" cxnId="{64B261D3-AD2A-4A22-8E6C-3F6078778EB3}">
      <dgm:prSet/>
      <dgm:spPr/>
      <dgm:t>
        <a:bodyPr/>
        <a:lstStyle/>
        <a:p>
          <a:endParaRPr lang="en-US" sz="1200"/>
        </a:p>
      </dgm:t>
    </dgm:pt>
    <dgm:pt modelId="{CF835910-E25A-4790-8809-26357AE3963A}" type="pres">
      <dgm:prSet presAssocID="{37B9E6B7-DC00-4E20-AB77-D9D4625B81D9}" presName="Name0" presStyleCnt="0">
        <dgm:presLayoutVars>
          <dgm:chMax val="7"/>
          <dgm:chPref val="7"/>
          <dgm:dir/>
        </dgm:presLayoutVars>
      </dgm:prSet>
      <dgm:spPr/>
    </dgm:pt>
    <dgm:pt modelId="{63AA5C18-C326-46F9-BD9E-1B83BFC05FA7}" type="pres">
      <dgm:prSet presAssocID="{37B9E6B7-DC00-4E20-AB77-D9D4625B81D9}" presName="Name1" presStyleCnt="0"/>
      <dgm:spPr/>
    </dgm:pt>
    <dgm:pt modelId="{1EB831F7-308B-49FA-A9E8-414082E05509}" type="pres">
      <dgm:prSet presAssocID="{37B9E6B7-DC00-4E20-AB77-D9D4625B81D9}" presName="cycle" presStyleCnt="0"/>
      <dgm:spPr/>
    </dgm:pt>
    <dgm:pt modelId="{F740B49C-3D65-4557-B1A7-04F934313A8C}" type="pres">
      <dgm:prSet presAssocID="{37B9E6B7-DC00-4E20-AB77-D9D4625B81D9}" presName="srcNode" presStyleLbl="node1" presStyleIdx="0" presStyleCnt="4"/>
      <dgm:spPr/>
    </dgm:pt>
    <dgm:pt modelId="{AD190ACD-3C53-4469-8217-8490013ED998}" type="pres">
      <dgm:prSet presAssocID="{37B9E6B7-DC00-4E20-AB77-D9D4625B81D9}" presName="conn" presStyleLbl="parChTrans1D2" presStyleIdx="0" presStyleCnt="1"/>
      <dgm:spPr/>
    </dgm:pt>
    <dgm:pt modelId="{F5FACC46-5EB8-4EBF-A5C3-1EC3061EC066}" type="pres">
      <dgm:prSet presAssocID="{37B9E6B7-DC00-4E20-AB77-D9D4625B81D9}" presName="extraNode" presStyleLbl="node1" presStyleIdx="0" presStyleCnt="4"/>
      <dgm:spPr/>
    </dgm:pt>
    <dgm:pt modelId="{5A42F2D0-9AB7-4981-BE3B-064C1BEFC206}" type="pres">
      <dgm:prSet presAssocID="{37B9E6B7-DC00-4E20-AB77-D9D4625B81D9}" presName="dstNode" presStyleLbl="node1" presStyleIdx="0" presStyleCnt="4"/>
      <dgm:spPr/>
    </dgm:pt>
    <dgm:pt modelId="{19E0775C-065A-41B0-8322-25B363184CBB}" type="pres">
      <dgm:prSet presAssocID="{CEAEAA31-ED81-4A57-A5DE-74CA9B184F21}" presName="text_1" presStyleLbl="node1" presStyleIdx="0" presStyleCnt="4">
        <dgm:presLayoutVars>
          <dgm:bulletEnabled val="1"/>
        </dgm:presLayoutVars>
      </dgm:prSet>
      <dgm:spPr/>
    </dgm:pt>
    <dgm:pt modelId="{DAC62B60-F810-450B-B543-491D0EA85771}" type="pres">
      <dgm:prSet presAssocID="{CEAEAA31-ED81-4A57-A5DE-74CA9B184F21}" presName="accent_1" presStyleCnt="0"/>
      <dgm:spPr/>
    </dgm:pt>
    <dgm:pt modelId="{9C04FDC8-9C50-4004-8A8D-67598C9055F6}" type="pres">
      <dgm:prSet presAssocID="{CEAEAA31-ED81-4A57-A5DE-74CA9B184F21}" presName="accentRepeatNode" presStyleLbl="solidFgAcc1" presStyleIdx="0" presStyleCnt="4"/>
      <dgm:spPr/>
    </dgm:pt>
    <dgm:pt modelId="{17481774-D1D2-41EA-B32C-76E3A18A1203}" type="pres">
      <dgm:prSet presAssocID="{5EEDB9FA-C05E-4C39-AF5B-C1664497DC6B}" presName="text_2" presStyleLbl="node1" presStyleIdx="1" presStyleCnt="4">
        <dgm:presLayoutVars>
          <dgm:bulletEnabled val="1"/>
        </dgm:presLayoutVars>
      </dgm:prSet>
      <dgm:spPr/>
    </dgm:pt>
    <dgm:pt modelId="{6F89A12E-1536-4762-ABBC-3A6743A4B361}" type="pres">
      <dgm:prSet presAssocID="{5EEDB9FA-C05E-4C39-AF5B-C1664497DC6B}" presName="accent_2" presStyleCnt="0"/>
      <dgm:spPr/>
    </dgm:pt>
    <dgm:pt modelId="{3B5BE661-090B-458E-974E-BFD531E651A2}" type="pres">
      <dgm:prSet presAssocID="{5EEDB9FA-C05E-4C39-AF5B-C1664497DC6B}" presName="accentRepeatNode" presStyleLbl="solidFgAcc1" presStyleIdx="1" presStyleCnt="4"/>
      <dgm:spPr/>
    </dgm:pt>
    <dgm:pt modelId="{0F70B825-517F-45B9-B244-D415BD9DEE88}" type="pres">
      <dgm:prSet presAssocID="{5EE64238-8CCE-4D23-B3C6-590B0BD2834B}" presName="text_3" presStyleLbl="node1" presStyleIdx="2" presStyleCnt="4">
        <dgm:presLayoutVars>
          <dgm:bulletEnabled val="1"/>
        </dgm:presLayoutVars>
      </dgm:prSet>
      <dgm:spPr/>
    </dgm:pt>
    <dgm:pt modelId="{2699F491-72C9-49F2-857C-18FDAF7D06B0}" type="pres">
      <dgm:prSet presAssocID="{5EE64238-8CCE-4D23-B3C6-590B0BD2834B}" presName="accent_3" presStyleCnt="0"/>
      <dgm:spPr/>
    </dgm:pt>
    <dgm:pt modelId="{160295B8-46D3-4F92-BE43-C7B0161F1A81}" type="pres">
      <dgm:prSet presAssocID="{5EE64238-8CCE-4D23-B3C6-590B0BD2834B}" presName="accentRepeatNode" presStyleLbl="solidFgAcc1" presStyleIdx="2" presStyleCnt="4"/>
      <dgm:spPr/>
    </dgm:pt>
    <dgm:pt modelId="{2BA7FF9D-2718-4B85-9127-2BB8209536CF}" type="pres">
      <dgm:prSet presAssocID="{09DB0953-8C0C-4D79-8C84-AC94D4FED3B5}" presName="text_4" presStyleLbl="node1" presStyleIdx="3" presStyleCnt="4">
        <dgm:presLayoutVars>
          <dgm:bulletEnabled val="1"/>
        </dgm:presLayoutVars>
      </dgm:prSet>
      <dgm:spPr/>
    </dgm:pt>
    <dgm:pt modelId="{439C1662-7119-43F1-A039-661EC8B76927}" type="pres">
      <dgm:prSet presAssocID="{09DB0953-8C0C-4D79-8C84-AC94D4FED3B5}" presName="accent_4" presStyleCnt="0"/>
      <dgm:spPr/>
    </dgm:pt>
    <dgm:pt modelId="{1ECA9742-A5B7-4BE2-BBD4-CF63016BD800}" type="pres">
      <dgm:prSet presAssocID="{09DB0953-8C0C-4D79-8C84-AC94D4FED3B5}" presName="accentRepeatNode" presStyleLbl="solidFgAcc1" presStyleIdx="3" presStyleCnt="4"/>
      <dgm:spPr/>
    </dgm:pt>
  </dgm:ptLst>
  <dgm:cxnLst>
    <dgm:cxn modelId="{D21F4813-9E6F-4E28-A41E-0F740BE76338}" type="presOf" srcId="{CEAEAA31-ED81-4A57-A5DE-74CA9B184F21}" destId="{19E0775C-065A-41B0-8322-25B363184CBB}" srcOrd="0" destOrd="0" presId="urn:microsoft.com/office/officeart/2008/layout/VerticalCurvedList"/>
    <dgm:cxn modelId="{35392F20-C5BD-42C6-9D18-2511E3A66B08}" type="presOf" srcId="{37B9E6B7-DC00-4E20-AB77-D9D4625B81D9}" destId="{CF835910-E25A-4790-8809-26357AE3963A}" srcOrd="0" destOrd="0" presId="urn:microsoft.com/office/officeart/2008/layout/VerticalCurvedList"/>
    <dgm:cxn modelId="{7D74915B-E33D-4105-AB2A-53C143D28924}" srcId="{37B9E6B7-DC00-4E20-AB77-D9D4625B81D9}" destId="{5EEDB9FA-C05E-4C39-AF5B-C1664497DC6B}" srcOrd="1" destOrd="0" parTransId="{1EDCCF65-8882-455A-81EB-B24F7942C777}" sibTransId="{734D3641-CD91-4C7F-B968-F2D5B6446DFD}"/>
    <dgm:cxn modelId="{84385648-6E72-44BD-9EED-447E4C09248E}" type="presOf" srcId="{5EE64238-8CCE-4D23-B3C6-590B0BD2834B}" destId="{0F70B825-517F-45B9-B244-D415BD9DEE88}" srcOrd="0" destOrd="0" presId="urn:microsoft.com/office/officeart/2008/layout/VerticalCurvedList"/>
    <dgm:cxn modelId="{DE74F1AE-238A-4D6D-AF1B-7ED28163D971}" type="presOf" srcId="{5EEDB9FA-C05E-4C39-AF5B-C1664497DC6B}" destId="{17481774-D1D2-41EA-B32C-76E3A18A1203}" srcOrd="0" destOrd="0" presId="urn:microsoft.com/office/officeart/2008/layout/VerticalCurvedList"/>
    <dgm:cxn modelId="{182E09B2-DA91-4595-9164-DBA68E07CAD8}" srcId="{37B9E6B7-DC00-4E20-AB77-D9D4625B81D9}" destId="{CEAEAA31-ED81-4A57-A5DE-74CA9B184F21}" srcOrd="0" destOrd="0" parTransId="{D2F26142-EDDC-4849-A48E-7D25FDEB3280}" sibTransId="{7E247CA4-CC14-46FC-BBAA-936406D87CF9}"/>
    <dgm:cxn modelId="{6DBA52BD-969C-4E60-9314-61F7AF86817C}" srcId="{37B9E6B7-DC00-4E20-AB77-D9D4625B81D9}" destId="{5EE64238-8CCE-4D23-B3C6-590B0BD2834B}" srcOrd="2" destOrd="0" parTransId="{A23906D9-B7EA-4546-8BA2-11F18CEF67EE}" sibTransId="{361D9CF0-5C70-41E8-A267-08109503B3F0}"/>
    <dgm:cxn modelId="{B99843C0-27C4-426D-8D2E-0F468AA1B60F}" type="presOf" srcId="{09DB0953-8C0C-4D79-8C84-AC94D4FED3B5}" destId="{2BA7FF9D-2718-4B85-9127-2BB8209536CF}" srcOrd="0" destOrd="0" presId="urn:microsoft.com/office/officeart/2008/layout/VerticalCurvedList"/>
    <dgm:cxn modelId="{64B261D3-AD2A-4A22-8E6C-3F6078778EB3}" srcId="{37B9E6B7-DC00-4E20-AB77-D9D4625B81D9}" destId="{09DB0953-8C0C-4D79-8C84-AC94D4FED3B5}" srcOrd="3" destOrd="0" parTransId="{352DA12E-2236-4F3A-9D77-0B40734D9A1E}" sibTransId="{57C21D90-1486-4B83-ADCD-80335E132286}"/>
    <dgm:cxn modelId="{BA936EEE-5A54-40E5-9178-5090426BA8D3}" type="presOf" srcId="{7E247CA4-CC14-46FC-BBAA-936406D87CF9}" destId="{AD190ACD-3C53-4469-8217-8490013ED998}" srcOrd="0" destOrd="0" presId="urn:microsoft.com/office/officeart/2008/layout/VerticalCurvedList"/>
    <dgm:cxn modelId="{1C608A25-F9B1-4631-A27B-EB4DEF4CBA70}" type="presParOf" srcId="{CF835910-E25A-4790-8809-26357AE3963A}" destId="{63AA5C18-C326-46F9-BD9E-1B83BFC05FA7}" srcOrd="0" destOrd="0" presId="urn:microsoft.com/office/officeart/2008/layout/VerticalCurvedList"/>
    <dgm:cxn modelId="{26DC8AEF-1563-464A-9557-EC8CFC220E96}" type="presParOf" srcId="{63AA5C18-C326-46F9-BD9E-1B83BFC05FA7}" destId="{1EB831F7-308B-49FA-A9E8-414082E05509}" srcOrd="0" destOrd="0" presId="urn:microsoft.com/office/officeart/2008/layout/VerticalCurvedList"/>
    <dgm:cxn modelId="{DA097377-33F0-43E3-B15C-00ECB05F5A8B}" type="presParOf" srcId="{1EB831F7-308B-49FA-A9E8-414082E05509}" destId="{F740B49C-3D65-4557-B1A7-04F934313A8C}" srcOrd="0" destOrd="0" presId="urn:microsoft.com/office/officeart/2008/layout/VerticalCurvedList"/>
    <dgm:cxn modelId="{1C1249BF-73E6-4B3F-A5FF-97695FF845C7}" type="presParOf" srcId="{1EB831F7-308B-49FA-A9E8-414082E05509}" destId="{AD190ACD-3C53-4469-8217-8490013ED998}" srcOrd="1" destOrd="0" presId="urn:microsoft.com/office/officeart/2008/layout/VerticalCurvedList"/>
    <dgm:cxn modelId="{3945F9E2-D867-4239-9271-77A5684BAAFD}" type="presParOf" srcId="{1EB831F7-308B-49FA-A9E8-414082E05509}" destId="{F5FACC46-5EB8-4EBF-A5C3-1EC3061EC066}" srcOrd="2" destOrd="0" presId="urn:microsoft.com/office/officeart/2008/layout/VerticalCurvedList"/>
    <dgm:cxn modelId="{87922A20-3D72-4749-BEEE-ADC1CE9D7EC0}" type="presParOf" srcId="{1EB831F7-308B-49FA-A9E8-414082E05509}" destId="{5A42F2D0-9AB7-4981-BE3B-064C1BEFC206}" srcOrd="3" destOrd="0" presId="urn:microsoft.com/office/officeart/2008/layout/VerticalCurvedList"/>
    <dgm:cxn modelId="{9EE87C98-62AB-484B-932A-A1BB22B34EC0}" type="presParOf" srcId="{63AA5C18-C326-46F9-BD9E-1B83BFC05FA7}" destId="{19E0775C-065A-41B0-8322-25B363184CBB}" srcOrd="1" destOrd="0" presId="urn:microsoft.com/office/officeart/2008/layout/VerticalCurvedList"/>
    <dgm:cxn modelId="{153C7F04-7D70-4324-8B7E-EBCF80ADE942}" type="presParOf" srcId="{63AA5C18-C326-46F9-BD9E-1B83BFC05FA7}" destId="{DAC62B60-F810-450B-B543-491D0EA85771}" srcOrd="2" destOrd="0" presId="urn:microsoft.com/office/officeart/2008/layout/VerticalCurvedList"/>
    <dgm:cxn modelId="{EC407194-E44D-46C9-B2B8-E61DF7D07A22}" type="presParOf" srcId="{DAC62B60-F810-450B-B543-491D0EA85771}" destId="{9C04FDC8-9C50-4004-8A8D-67598C9055F6}" srcOrd="0" destOrd="0" presId="urn:microsoft.com/office/officeart/2008/layout/VerticalCurvedList"/>
    <dgm:cxn modelId="{8DF5CA13-8567-43F3-A4D4-0066C0A4F381}" type="presParOf" srcId="{63AA5C18-C326-46F9-BD9E-1B83BFC05FA7}" destId="{17481774-D1D2-41EA-B32C-76E3A18A1203}" srcOrd="3" destOrd="0" presId="urn:microsoft.com/office/officeart/2008/layout/VerticalCurvedList"/>
    <dgm:cxn modelId="{676CCCFE-9A77-40F8-B3A5-961A67467C46}" type="presParOf" srcId="{63AA5C18-C326-46F9-BD9E-1B83BFC05FA7}" destId="{6F89A12E-1536-4762-ABBC-3A6743A4B361}" srcOrd="4" destOrd="0" presId="urn:microsoft.com/office/officeart/2008/layout/VerticalCurvedList"/>
    <dgm:cxn modelId="{AA06FDAC-0F57-4BB8-B329-F990C9DB7693}" type="presParOf" srcId="{6F89A12E-1536-4762-ABBC-3A6743A4B361}" destId="{3B5BE661-090B-458E-974E-BFD531E651A2}" srcOrd="0" destOrd="0" presId="urn:microsoft.com/office/officeart/2008/layout/VerticalCurvedList"/>
    <dgm:cxn modelId="{6C32EC6A-02AD-4B9B-8D2D-4C3D53F98FF0}" type="presParOf" srcId="{63AA5C18-C326-46F9-BD9E-1B83BFC05FA7}" destId="{0F70B825-517F-45B9-B244-D415BD9DEE88}" srcOrd="5" destOrd="0" presId="urn:microsoft.com/office/officeart/2008/layout/VerticalCurvedList"/>
    <dgm:cxn modelId="{C224B659-BF99-44DA-BC72-07F86702842A}" type="presParOf" srcId="{63AA5C18-C326-46F9-BD9E-1B83BFC05FA7}" destId="{2699F491-72C9-49F2-857C-18FDAF7D06B0}" srcOrd="6" destOrd="0" presId="urn:microsoft.com/office/officeart/2008/layout/VerticalCurvedList"/>
    <dgm:cxn modelId="{53850806-0D3A-40A0-AC9D-967541FC99F9}" type="presParOf" srcId="{2699F491-72C9-49F2-857C-18FDAF7D06B0}" destId="{160295B8-46D3-4F92-BE43-C7B0161F1A81}" srcOrd="0" destOrd="0" presId="urn:microsoft.com/office/officeart/2008/layout/VerticalCurvedList"/>
    <dgm:cxn modelId="{E8224559-6974-4432-AFA8-7E0C891EB72B}" type="presParOf" srcId="{63AA5C18-C326-46F9-BD9E-1B83BFC05FA7}" destId="{2BA7FF9D-2718-4B85-9127-2BB8209536CF}" srcOrd="7" destOrd="0" presId="urn:microsoft.com/office/officeart/2008/layout/VerticalCurvedList"/>
    <dgm:cxn modelId="{D852492D-72B0-41E2-90A2-4C26ED724F1E}" type="presParOf" srcId="{63AA5C18-C326-46F9-BD9E-1B83BFC05FA7}" destId="{439C1662-7119-43F1-A039-661EC8B76927}" srcOrd="8" destOrd="0" presId="urn:microsoft.com/office/officeart/2008/layout/VerticalCurvedList"/>
    <dgm:cxn modelId="{25100C9B-3EF5-45D8-8E0F-52270B93F4A0}" type="presParOf" srcId="{439C1662-7119-43F1-A039-661EC8B76927}" destId="{1ECA9742-A5B7-4BE2-BBD4-CF63016BD800}"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2DF05929-157C-4B15-92F2-BF6BDE8DCA61}"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F2CFAFE8-C07F-42D3-A666-0F3353C7CA11}">
      <dgm:prSet custT="1"/>
      <dgm:spPr/>
      <dgm:t>
        <a:bodyPr/>
        <a:lstStyle/>
        <a:p>
          <a:r>
            <a:rPr lang="en-US" sz="2400" baseline="0" dirty="0"/>
            <a:t>Consider instant file initialization</a:t>
          </a:r>
          <a:endParaRPr lang="en-US" sz="2400" dirty="0"/>
        </a:p>
      </dgm:t>
    </dgm:pt>
    <dgm:pt modelId="{A27B2E1C-7D88-411B-9676-435246736952}" type="parTrans" cxnId="{973E4B3A-95DD-4FE6-B5BA-22DBD21DF18D}">
      <dgm:prSet/>
      <dgm:spPr/>
      <dgm:t>
        <a:bodyPr/>
        <a:lstStyle/>
        <a:p>
          <a:endParaRPr lang="en-US" sz="1400"/>
        </a:p>
      </dgm:t>
    </dgm:pt>
    <dgm:pt modelId="{634931F7-1682-4388-951B-72E45C346E2F}" type="sibTrans" cxnId="{973E4B3A-95DD-4FE6-B5BA-22DBD21DF18D}">
      <dgm:prSet/>
      <dgm:spPr/>
      <dgm:t>
        <a:bodyPr/>
        <a:lstStyle/>
        <a:p>
          <a:endParaRPr lang="en-US" sz="1400"/>
        </a:p>
      </dgm:t>
    </dgm:pt>
    <dgm:pt modelId="{9398C0D8-9E80-4485-9E28-88E046756333}">
      <dgm:prSet custT="1"/>
      <dgm:spPr/>
      <dgm:t>
        <a:bodyPr/>
        <a:lstStyle/>
        <a:p>
          <a:r>
            <a:rPr lang="en-US" sz="2400" baseline="0" dirty="0"/>
            <a:t>Pre-allocate space for all TempDB files</a:t>
          </a:r>
          <a:endParaRPr lang="en-US" sz="2400" dirty="0"/>
        </a:p>
      </dgm:t>
    </dgm:pt>
    <dgm:pt modelId="{E2E40A30-2531-41F4-B2ED-761A165A366A}" type="parTrans" cxnId="{A72FABBC-6B24-4C58-95ED-4C9FC6DC2303}">
      <dgm:prSet/>
      <dgm:spPr/>
      <dgm:t>
        <a:bodyPr/>
        <a:lstStyle/>
        <a:p>
          <a:endParaRPr lang="en-US" sz="1400"/>
        </a:p>
      </dgm:t>
    </dgm:pt>
    <dgm:pt modelId="{6FE77A4D-C0BE-4A2C-A7B1-F53041F288EA}" type="sibTrans" cxnId="{A72FABBC-6B24-4C58-95ED-4C9FC6DC2303}">
      <dgm:prSet/>
      <dgm:spPr/>
      <dgm:t>
        <a:bodyPr/>
        <a:lstStyle/>
        <a:p>
          <a:endParaRPr lang="en-US" sz="1400"/>
        </a:p>
      </dgm:t>
    </dgm:pt>
    <dgm:pt modelId="{8D618624-FA4E-4809-AA0F-DB631093FE23}">
      <dgm:prSet custT="1"/>
      <dgm:spPr/>
      <dgm:t>
        <a:bodyPr/>
        <a:lstStyle/>
        <a:p>
          <a:r>
            <a:rPr lang="en-US" sz="2400" baseline="0" dirty="0"/>
            <a:t>Divide TempDB into multiple data files of equal size</a:t>
          </a:r>
          <a:endParaRPr lang="en-US" sz="2400" dirty="0"/>
        </a:p>
      </dgm:t>
    </dgm:pt>
    <dgm:pt modelId="{D77842F8-D4A4-4CEB-AB40-3896550B90CB}" type="parTrans" cxnId="{898DFFAA-BD0B-45BB-ACBE-432C211A6892}">
      <dgm:prSet/>
      <dgm:spPr/>
      <dgm:t>
        <a:bodyPr/>
        <a:lstStyle/>
        <a:p>
          <a:endParaRPr lang="en-US" sz="1400"/>
        </a:p>
      </dgm:t>
    </dgm:pt>
    <dgm:pt modelId="{FE2B29F5-7482-4AAF-A5BD-2E0D31973F94}" type="sibTrans" cxnId="{898DFFAA-BD0B-45BB-ACBE-432C211A6892}">
      <dgm:prSet/>
      <dgm:spPr/>
      <dgm:t>
        <a:bodyPr/>
        <a:lstStyle/>
        <a:p>
          <a:endParaRPr lang="en-US" sz="1400"/>
        </a:p>
      </dgm:t>
    </dgm:pt>
    <dgm:pt modelId="{338F272E-D681-4C13-B0CB-BE13A97DD5EB}">
      <dgm:prSet custT="1"/>
      <dgm:spPr/>
      <dgm:t>
        <a:bodyPr/>
        <a:lstStyle/>
        <a:p>
          <a:r>
            <a:rPr lang="en-US" sz="2400" baseline="0" dirty="0"/>
            <a:t>Put the TempDB database on a fast I/O subsystem</a:t>
          </a:r>
          <a:endParaRPr lang="en-US" sz="2400" dirty="0"/>
        </a:p>
      </dgm:t>
    </dgm:pt>
    <dgm:pt modelId="{E227C10A-B800-4A9C-A0D1-139AF315E337}" type="parTrans" cxnId="{C7AB2722-846E-4FFD-89D6-48E882BB3AD5}">
      <dgm:prSet/>
      <dgm:spPr/>
      <dgm:t>
        <a:bodyPr/>
        <a:lstStyle/>
        <a:p>
          <a:endParaRPr lang="en-US" sz="1400"/>
        </a:p>
      </dgm:t>
    </dgm:pt>
    <dgm:pt modelId="{24540621-E93B-4B37-9B37-FAB402BBBC8C}" type="sibTrans" cxnId="{C7AB2722-846E-4FFD-89D6-48E882BB3AD5}">
      <dgm:prSet/>
      <dgm:spPr/>
      <dgm:t>
        <a:bodyPr/>
        <a:lstStyle/>
        <a:p>
          <a:endParaRPr lang="en-US" sz="1400"/>
        </a:p>
      </dgm:t>
    </dgm:pt>
    <dgm:pt modelId="{56B0BDE0-B2C0-406F-8881-FD6AFD2AF39B}">
      <dgm:prSet custT="1"/>
      <dgm:spPr/>
      <dgm:t>
        <a:bodyPr/>
        <a:lstStyle/>
        <a:p>
          <a:r>
            <a:rPr lang="en-US" sz="2400" baseline="0" dirty="0"/>
            <a:t>Use disk striping if there are many directly attached disks.</a:t>
          </a:r>
          <a:endParaRPr lang="en-US" sz="2400" dirty="0"/>
        </a:p>
      </dgm:t>
    </dgm:pt>
    <dgm:pt modelId="{FFA9546E-E452-4C1C-84EF-E8A931A4DB1F}" type="parTrans" cxnId="{44B57BCD-49E4-4C7D-AD32-06B06612D900}">
      <dgm:prSet/>
      <dgm:spPr/>
      <dgm:t>
        <a:bodyPr/>
        <a:lstStyle/>
        <a:p>
          <a:endParaRPr lang="en-US" sz="1400"/>
        </a:p>
      </dgm:t>
    </dgm:pt>
    <dgm:pt modelId="{0CA217A1-CD82-400A-BDD0-66B54F8EAB0D}" type="sibTrans" cxnId="{44B57BCD-49E4-4C7D-AD32-06B06612D900}">
      <dgm:prSet/>
      <dgm:spPr/>
      <dgm:t>
        <a:bodyPr/>
        <a:lstStyle/>
        <a:p>
          <a:endParaRPr lang="en-US" sz="1400"/>
        </a:p>
      </dgm:t>
    </dgm:pt>
    <dgm:pt modelId="{0CD97547-67F5-4A37-8E1D-98DBDC37ED90}">
      <dgm:prSet custT="1"/>
      <dgm:spPr/>
      <dgm:t>
        <a:bodyPr/>
        <a:lstStyle/>
        <a:p>
          <a:r>
            <a:rPr lang="en-US" sz="2400" baseline="0" dirty="0"/>
            <a:t>Put the TempDB database on separate disks from user databases</a:t>
          </a:r>
          <a:endParaRPr lang="en-US" sz="2400" dirty="0"/>
        </a:p>
      </dgm:t>
    </dgm:pt>
    <dgm:pt modelId="{D013B7AE-7A7A-4006-9CC8-D708CCEB2294}" type="parTrans" cxnId="{F0A53C68-8B39-4545-A25D-D9AD51EBF3FA}">
      <dgm:prSet/>
      <dgm:spPr/>
      <dgm:t>
        <a:bodyPr/>
        <a:lstStyle/>
        <a:p>
          <a:endParaRPr lang="en-US" sz="1400"/>
        </a:p>
      </dgm:t>
    </dgm:pt>
    <dgm:pt modelId="{FCB220A5-CA12-4AF3-BEDE-9099261CC34C}" type="sibTrans" cxnId="{F0A53C68-8B39-4545-A25D-D9AD51EBF3FA}">
      <dgm:prSet/>
      <dgm:spPr/>
      <dgm:t>
        <a:bodyPr/>
        <a:lstStyle/>
        <a:p>
          <a:endParaRPr lang="en-US" sz="1400"/>
        </a:p>
      </dgm:t>
    </dgm:pt>
    <dgm:pt modelId="{14BD22F7-991E-462A-B0D7-2075713FA611}" type="pres">
      <dgm:prSet presAssocID="{2DF05929-157C-4B15-92F2-BF6BDE8DCA61}" presName="diagram" presStyleCnt="0">
        <dgm:presLayoutVars>
          <dgm:dir/>
          <dgm:resizeHandles val="exact"/>
        </dgm:presLayoutVars>
      </dgm:prSet>
      <dgm:spPr/>
    </dgm:pt>
    <dgm:pt modelId="{1112D7E6-9E7C-4AA2-B124-7E6E29E911AF}" type="pres">
      <dgm:prSet presAssocID="{F2CFAFE8-C07F-42D3-A666-0F3353C7CA11}" presName="node" presStyleLbl="node1" presStyleIdx="0" presStyleCnt="6">
        <dgm:presLayoutVars>
          <dgm:bulletEnabled val="1"/>
        </dgm:presLayoutVars>
      </dgm:prSet>
      <dgm:spPr/>
    </dgm:pt>
    <dgm:pt modelId="{C3E46503-012B-4752-A160-425F77D71B57}" type="pres">
      <dgm:prSet presAssocID="{634931F7-1682-4388-951B-72E45C346E2F}" presName="sibTrans" presStyleCnt="0"/>
      <dgm:spPr/>
    </dgm:pt>
    <dgm:pt modelId="{94DCA6BD-1721-4E61-8F96-42F7D22CF61C}" type="pres">
      <dgm:prSet presAssocID="{9398C0D8-9E80-4485-9E28-88E046756333}" presName="node" presStyleLbl="node1" presStyleIdx="1" presStyleCnt="6">
        <dgm:presLayoutVars>
          <dgm:bulletEnabled val="1"/>
        </dgm:presLayoutVars>
      </dgm:prSet>
      <dgm:spPr/>
    </dgm:pt>
    <dgm:pt modelId="{3305088B-C4B4-4A1F-BA81-1998D6097785}" type="pres">
      <dgm:prSet presAssocID="{6FE77A4D-C0BE-4A2C-A7B1-F53041F288EA}" presName="sibTrans" presStyleCnt="0"/>
      <dgm:spPr/>
    </dgm:pt>
    <dgm:pt modelId="{D32F6E4D-F5C1-4618-93C3-7C08E691EE5B}" type="pres">
      <dgm:prSet presAssocID="{8D618624-FA4E-4809-AA0F-DB631093FE23}" presName="node" presStyleLbl="node1" presStyleIdx="2" presStyleCnt="6">
        <dgm:presLayoutVars>
          <dgm:bulletEnabled val="1"/>
        </dgm:presLayoutVars>
      </dgm:prSet>
      <dgm:spPr/>
    </dgm:pt>
    <dgm:pt modelId="{BC1E083D-EE93-4176-B8A4-79757CAD9B94}" type="pres">
      <dgm:prSet presAssocID="{FE2B29F5-7482-4AAF-A5BD-2E0D31973F94}" presName="sibTrans" presStyleCnt="0"/>
      <dgm:spPr/>
    </dgm:pt>
    <dgm:pt modelId="{7D8C0E8D-C181-4FBD-8CD5-972A56A49965}" type="pres">
      <dgm:prSet presAssocID="{338F272E-D681-4C13-B0CB-BE13A97DD5EB}" presName="node" presStyleLbl="node1" presStyleIdx="3" presStyleCnt="6">
        <dgm:presLayoutVars>
          <dgm:bulletEnabled val="1"/>
        </dgm:presLayoutVars>
      </dgm:prSet>
      <dgm:spPr/>
    </dgm:pt>
    <dgm:pt modelId="{37A5D24B-E16A-4BF5-AE01-39EA0F4F6406}" type="pres">
      <dgm:prSet presAssocID="{24540621-E93B-4B37-9B37-FAB402BBBC8C}" presName="sibTrans" presStyleCnt="0"/>
      <dgm:spPr/>
    </dgm:pt>
    <dgm:pt modelId="{5C5D1959-FD49-4F9F-BE4D-0311FDC3F87A}" type="pres">
      <dgm:prSet presAssocID="{56B0BDE0-B2C0-406F-8881-FD6AFD2AF39B}" presName="node" presStyleLbl="node1" presStyleIdx="4" presStyleCnt="6">
        <dgm:presLayoutVars>
          <dgm:bulletEnabled val="1"/>
        </dgm:presLayoutVars>
      </dgm:prSet>
      <dgm:spPr/>
    </dgm:pt>
    <dgm:pt modelId="{A5020F62-94E2-402A-BECA-C13411AB307A}" type="pres">
      <dgm:prSet presAssocID="{0CA217A1-CD82-400A-BDD0-66B54F8EAB0D}" presName="sibTrans" presStyleCnt="0"/>
      <dgm:spPr/>
    </dgm:pt>
    <dgm:pt modelId="{7A16D7C9-AA21-4FB5-8281-BD4F74B42549}" type="pres">
      <dgm:prSet presAssocID="{0CD97547-67F5-4A37-8E1D-98DBDC37ED90}" presName="node" presStyleLbl="node1" presStyleIdx="5" presStyleCnt="6">
        <dgm:presLayoutVars>
          <dgm:bulletEnabled val="1"/>
        </dgm:presLayoutVars>
      </dgm:prSet>
      <dgm:spPr/>
    </dgm:pt>
  </dgm:ptLst>
  <dgm:cxnLst>
    <dgm:cxn modelId="{39046805-6546-4EA6-9554-8751D1647CFD}" type="presOf" srcId="{338F272E-D681-4C13-B0CB-BE13A97DD5EB}" destId="{7D8C0E8D-C181-4FBD-8CD5-972A56A49965}" srcOrd="0" destOrd="0" presId="urn:microsoft.com/office/officeart/2005/8/layout/default"/>
    <dgm:cxn modelId="{FF609E13-E3D4-466C-BCCD-6943985FEC37}" type="presOf" srcId="{F2CFAFE8-C07F-42D3-A666-0F3353C7CA11}" destId="{1112D7E6-9E7C-4AA2-B124-7E6E29E911AF}" srcOrd="0" destOrd="0" presId="urn:microsoft.com/office/officeart/2005/8/layout/default"/>
    <dgm:cxn modelId="{C7AB2722-846E-4FFD-89D6-48E882BB3AD5}" srcId="{2DF05929-157C-4B15-92F2-BF6BDE8DCA61}" destId="{338F272E-D681-4C13-B0CB-BE13A97DD5EB}" srcOrd="3" destOrd="0" parTransId="{E227C10A-B800-4A9C-A0D1-139AF315E337}" sibTransId="{24540621-E93B-4B37-9B37-FAB402BBBC8C}"/>
    <dgm:cxn modelId="{973E4B3A-95DD-4FE6-B5BA-22DBD21DF18D}" srcId="{2DF05929-157C-4B15-92F2-BF6BDE8DCA61}" destId="{F2CFAFE8-C07F-42D3-A666-0F3353C7CA11}" srcOrd="0" destOrd="0" parTransId="{A27B2E1C-7D88-411B-9676-435246736952}" sibTransId="{634931F7-1682-4388-951B-72E45C346E2F}"/>
    <dgm:cxn modelId="{408F353E-6D53-40D3-8198-1C6DA3FF90EB}" type="presOf" srcId="{9398C0D8-9E80-4485-9E28-88E046756333}" destId="{94DCA6BD-1721-4E61-8F96-42F7D22CF61C}" srcOrd="0" destOrd="0" presId="urn:microsoft.com/office/officeart/2005/8/layout/default"/>
    <dgm:cxn modelId="{12A5EE63-79AF-4177-B059-FDE1040F2D3B}" type="presOf" srcId="{0CD97547-67F5-4A37-8E1D-98DBDC37ED90}" destId="{7A16D7C9-AA21-4FB5-8281-BD4F74B42549}" srcOrd="0" destOrd="0" presId="urn:microsoft.com/office/officeart/2005/8/layout/default"/>
    <dgm:cxn modelId="{F0A53C68-8B39-4545-A25D-D9AD51EBF3FA}" srcId="{2DF05929-157C-4B15-92F2-BF6BDE8DCA61}" destId="{0CD97547-67F5-4A37-8E1D-98DBDC37ED90}" srcOrd="5" destOrd="0" parTransId="{D013B7AE-7A7A-4006-9CC8-D708CCEB2294}" sibTransId="{FCB220A5-CA12-4AF3-BEDE-9099261CC34C}"/>
    <dgm:cxn modelId="{12205788-5B2C-4709-9181-407E28D0739E}" type="presOf" srcId="{2DF05929-157C-4B15-92F2-BF6BDE8DCA61}" destId="{14BD22F7-991E-462A-B0D7-2075713FA611}" srcOrd="0" destOrd="0" presId="urn:microsoft.com/office/officeart/2005/8/layout/default"/>
    <dgm:cxn modelId="{898DFFAA-BD0B-45BB-ACBE-432C211A6892}" srcId="{2DF05929-157C-4B15-92F2-BF6BDE8DCA61}" destId="{8D618624-FA4E-4809-AA0F-DB631093FE23}" srcOrd="2" destOrd="0" parTransId="{D77842F8-D4A4-4CEB-AB40-3896550B90CB}" sibTransId="{FE2B29F5-7482-4AAF-A5BD-2E0D31973F94}"/>
    <dgm:cxn modelId="{A72FABBC-6B24-4C58-95ED-4C9FC6DC2303}" srcId="{2DF05929-157C-4B15-92F2-BF6BDE8DCA61}" destId="{9398C0D8-9E80-4485-9E28-88E046756333}" srcOrd="1" destOrd="0" parTransId="{E2E40A30-2531-41F4-B2ED-761A165A366A}" sibTransId="{6FE77A4D-C0BE-4A2C-A7B1-F53041F288EA}"/>
    <dgm:cxn modelId="{98941FCA-AE40-4D4E-92E8-DFBA789999AF}" type="presOf" srcId="{56B0BDE0-B2C0-406F-8881-FD6AFD2AF39B}" destId="{5C5D1959-FD49-4F9F-BE4D-0311FDC3F87A}" srcOrd="0" destOrd="0" presId="urn:microsoft.com/office/officeart/2005/8/layout/default"/>
    <dgm:cxn modelId="{44B57BCD-49E4-4C7D-AD32-06B06612D900}" srcId="{2DF05929-157C-4B15-92F2-BF6BDE8DCA61}" destId="{56B0BDE0-B2C0-406F-8881-FD6AFD2AF39B}" srcOrd="4" destOrd="0" parTransId="{FFA9546E-E452-4C1C-84EF-E8A931A4DB1F}" sibTransId="{0CA217A1-CD82-400A-BDD0-66B54F8EAB0D}"/>
    <dgm:cxn modelId="{B9FC5EE0-E70A-4C0B-A7F5-32B6F9685FC3}" type="presOf" srcId="{8D618624-FA4E-4809-AA0F-DB631093FE23}" destId="{D32F6E4D-F5C1-4618-93C3-7C08E691EE5B}" srcOrd="0" destOrd="0" presId="urn:microsoft.com/office/officeart/2005/8/layout/default"/>
    <dgm:cxn modelId="{9216509D-AB1D-4176-A842-AA1C4CAFAD08}" type="presParOf" srcId="{14BD22F7-991E-462A-B0D7-2075713FA611}" destId="{1112D7E6-9E7C-4AA2-B124-7E6E29E911AF}" srcOrd="0" destOrd="0" presId="urn:microsoft.com/office/officeart/2005/8/layout/default"/>
    <dgm:cxn modelId="{E69F8D60-7C7D-4A97-8921-45D9D9BA36C6}" type="presParOf" srcId="{14BD22F7-991E-462A-B0D7-2075713FA611}" destId="{C3E46503-012B-4752-A160-425F77D71B57}" srcOrd="1" destOrd="0" presId="urn:microsoft.com/office/officeart/2005/8/layout/default"/>
    <dgm:cxn modelId="{9565E12F-FE9D-4B7D-B7AF-AF3E9AD533AC}" type="presParOf" srcId="{14BD22F7-991E-462A-B0D7-2075713FA611}" destId="{94DCA6BD-1721-4E61-8F96-42F7D22CF61C}" srcOrd="2" destOrd="0" presId="urn:microsoft.com/office/officeart/2005/8/layout/default"/>
    <dgm:cxn modelId="{3DF387B8-2EE3-4FE0-8C0D-ECCA90BD6028}" type="presParOf" srcId="{14BD22F7-991E-462A-B0D7-2075713FA611}" destId="{3305088B-C4B4-4A1F-BA81-1998D6097785}" srcOrd="3" destOrd="0" presId="urn:microsoft.com/office/officeart/2005/8/layout/default"/>
    <dgm:cxn modelId="{70949B43-CD0D-40E9-B8C6-4E36269F19A3}" type="presParOf" srcId="{14BD22F7-991E-462A-B0D7-2075713FA611}" destId="{D32F6E4D-F5C1-4618-93C3-7C08E691EE5B}" srcOrd="4" destOrd="0" presId="urn:microsoft.com/office/officeart/2005/8/layout/default"/>
    <dgm:cxn modelId="{492DA3DC-BD19-4672-A20E-67C3A202C11E}" type="presParOf" srcId="{14BD22F7-991E-462A-B0D7-2075713FA611}" destId="{BC1E083D-EE93-4176-B8A4-79757CAD9B94}" srcOrd="5" destOrd="0" presId="urn:microsoft.com/office/officeart/2005/8/layout/default"/>
    <dgm:cxn modelId="{20684ADD-4AFF-4250-85DE-3B64EA42CC2B}" type="presParOf" srcId="{14BD22F7-991E-462A-B0D7-2075713FA611}" destId="{7D8C0E8D-C181-4FBD-8CD5-972A56A49965}" srcOrd="6" destOrd="0" presId="urn:microsoft.com/office/officeart/2005/8/layout/default"/>
    <dgm:cxn modelId="{E2CFAA1B-C84D-4B60-8F07-CF776BB9699A}" type="presParOf" srcId="{14BD22F7-991E-462A-B0D7-2075713FA611}" destId="{37A5D24B-E16A-4BF5-AE01-39EA0F4F6406}" srcOrd="7" destOrd="0" presId="urn:microsoft.com/office/officeart/2005/8/layout/default"/>
    <dgm:cxn modelId="{333C35EE-BBB8-4F6E-84B2-B84B9EF73F9A}" type="presParOf" srcId="{14BD22F7-991E-462A-B0D7-2075713FA611}" destId="{5C5D1959-FD49-4F9F-BE4D-0311FDC3F87A}" srcOrd="8" destOrd="0" presId="urn:microsoft.com/office/officeart/2005/8/layout/default"/>
    <dgm:cxn modelId="{82F6D926-E27E-4D4C-B8AE-F57A3D2943FC}" type="presParOf" srcId="{14BD22F7-991E-462A-B0D7-2075713FA611}" destId="{A5020F62-94E2-402A-BECA-C13411AB307A}" srcOrd="9" destOrd="0" presId="urn:microsoft.com/office/officeart/2005/8/layout/default"/>
    <dgm:cxn modelId="{EC45AF70-31FB-494F-A697-6EBAE1705DDE}" type="presParOf" srcId="{14BD22F7-991E-462A-B0D7-2075713FA611}" destId="{7A16D7C9-AA21-4FB5-8281-BD4F74B4254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440D681B-3A20-43A9-BBC5-9F2E67980B8C}"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90D7DCF5-C361-40D0-A7EA-EAB4D8F42E1F}">
      <dgm:prSet custT="1"/>
      <dgm:spPr/>
      <dgm:t>
        <a:bodyPr/>
        <a:lstStyle/>
        <a:p>
          <a:r>
            <a:rPr lang="en-US" sz="2400" baseline="0" dirty="0"/>
            <a:t>Trace Flags 1117 and 1118 behavior enabled by default for TempDB</a:t>
          </a:r>
          <a:endParaRPr lang="en-US" sz="2400" dirty="0"/>
        </a:p>
      </dgm:t>
    </dgm:pt>
    <dgm:pt modelId="{77496F0F-AAE8-4450-9AE0-C258247C25A9}" type="parTrans" cxnId="{9CDC2901-AC3E-4E1F-989D-914E0361AEE6}">
      <dgm:prSet/>
      <dgm:spPr/>
      <dgm:t>
        <a:bodyPr/>
        <a:lstStyle/>
        <a:p>
          <a:endParaRPr lang="en-US" sz="1600"/>
        </a:p>
      </dgm:t>
    </dgm:pt>
    <dgm:pt modelId="{7273A2B4-2FD1-4D1F-B274-69A3E9932305}" type="sibTrans" cxnId="{9CDC2901-AC3E-4E1F-989D-914E0361AEE6}">
      <dgm:prSet/>
      <dgm:spPr/>
      <dgm:t>
        <a:bodyPr/>
        <a:lstStyle/>
        <a:p>
          <a:endParaRPr lang="en-US" sz="1600"/>
        </a:p>
      </dgm:t>
    </dgm:pt>
    <dgm:pt modelId="{BAEAC797-FF02-4F97-8243-2B4EC9922EFB}">
      <dgm:prSet custT="1"/>
      <dgm:spPr/>
      <dgm:t>
        <a:bodyPr/>
        <a:lstStyle/>
        <a:p>
          <a:r>
            <a:rPr lang="en-US" sz="2400" baseline="0" dirty="0"/>
            <a:t>Temporary tables and table variables are cached. </a:t>
          </a:r>
          <a:endParaRPr lang="en-US" sz="2400" dirty="0"/>
        </a:p>
      </dgm:t>
    </dgm:pt>
    <dgm:pt modelId="{624D6ACA-992B-4A8A-AFB5-6A63B43E5115}" type="parTrans" cxnId="{870435AC-5739-451E-935F-0CF926907BAB}">
      <dgm:prSet/>
      <dgm:spPr/>
      <dgm:t>
        <a:bodyPr/>
        <a:lstStyle/>
        <a:p>
          <a:endParaRPr lang="en-US" sz="1600"/>
        </a:p>
      </dgm:t>
    </dgm:pt>
    <dgm:pt modelId="{CD9567EE-0B0E-4B8C-B4EF-57BDD1D4673A}" type="sibTrans" cxnId="{870435AC-5739-451E-935F-0CF926907BAB}">
      <dgm:prSet/>
      <dgm:spPr/>
      <dgm:t>
        <a:bodyPr/>
        <a:lstStyle/>
        <a:p>
          <a:endParaRPr lang="en-US" sz="1600"/>
        </a:p>
      </dgm:t>
    </dgm:pt>
    <dgm:pt modelId="{B4C178FC-7FCB-4384-9967-DF18A1BFB903}">
      <dgm:prSet custT="1"/>
      <dgm:spPr/>
      <dgm:t>
        <a:bodyPr/>
        <a:lstStyle/>
        <a:p>
          <a:r>
            <a:rPr lang="en-US" sz="2400" baseline="0" dirty="0"/>
            <a:t>Allocation page latching protocol improved.</a:t>
          </a:r>
          <a:endParaRPr lang="en-US" sz="2400" dirty="0"/>
        </a:p>
      </dgm:t>
    </dgm:pt>
    <dgm:pt modelId="{55C5B6E1-7C7C-491B-99B7-EC4245DC8FE4}" type="parTrans" cxnId="{FB1A772C-F113-4873-A9CA-D025922E5819}">
      <dgm:prSet/>
      <dgm:spPr/>
      <dgm:t>
        <a:bodyPr/>
        <a:lstStyle/>
        <a:p>
          <a:endParaRPr lang="en-US" sz="1600"/>
        </a:p>
      </dgm:t>
    </dgm:pt>
    <dgm:pt modelId="{35FFDB63-89FF-4BF9-B614-E88D653CAC5D}" type="sibTrans" cxnId="{FB1A772C-F113-4873-A9CA-D025922E5819}">
      <dgm:prSet/>
      <dgm:spPr/>
      <dgm:t>
        <a:bodyPr/>
        <a:lstStyle/>
        <a:p>
          <a:endParaRPr lang="en-US" sz="1600"/>
        </a:p>
      </dgm:t>
    </dgm:pt>
    <dgm:pt modelId="{6922852F-051B-4E33-BFEB-D8A829FFED87}">
      <dgm:prSet custT="1"/>
      <dgm:spPr/>
      <dgm:t>
        <a:bodyPr/>
        <a:lstStyle/>
        <a:p>
          <a:r>
            <a:rPr lang="en-US" sz="2400" baseline="0" dirty="0"/>
            <a:t>Logging overhead for TempDB is reduced.</a:t>
          </a:r>
          <a:endParaRPr lang="en-US" sz="2400" dirty="0"/>
        </a:p>
      </dgm:t>
    </dgm:pt>
    <dgm:pt modelId="{EE680D7A-252D-4235-A3A5-1198ED175EDB}" type="parTrans" cxnId="{15703600-3168-4547-BE15-66BFB4655DB3}">
      <dgm:prSet/>
      <dgm:spPr/>
      <dgm:t>
        <a:bodyPr/>
        <a:lstStyle/>
        <a:p>
          <a:endParaRPr lang="en-US" sz="1600"/>
        </a:p>
      </dgm:t>
    </dgm:pt>
    <dgm:pt modelId="{3443487E-1395-4300-A47B-811DF9CD37FB}" type="sibTrans" cxnId="{15703600-3168-4547-BE15-66BFB4655DB3}">
      <dgm:prSet/>
      <dgm:spPr/>
      <dgm:t>
        <a:bodyPr/>
        <a:lstStyle/>
        <a:p>
          <a:endParaRPr lang="en-US" sz="1600"/>
        </a:p>
      </dgm:t>
    </dgm:pt>
    <dgm:pt modelId="{04E53624-7157-400F-A2FD-966934930929}" type="pres">
      <dgm:prSet presAssocID="{440D681B-3A20-43A9-BBC5-9F2E67980B8C}" presName="diagram" presStyleCnt="0">
        <dgm:presLayoutVars>
          <dgm:dir/>
          <dgm:resizeHandles val="exact"/>
        </dgm:presLayoutVars>
      </dgm:prSet>
      <dgm:spPr/>
    </dgm:pt>
    <dgm:pt modelId="{A4D5EC4D-CBE8-4CBE-8720-9892BCEB45F2}" type="pres">
      <dgm:prSet presAssocID="{90D7DCF5-C361-40D0-A7EA-EAB4D8F42E1F}" presName="node" presStyleLbl="node1" presStyleIdx="0" presStyleCnt="4">
        <dgm:presLayoutVars>
          <dgm:bulletEnabled val="1"/>
        </dgm:presLayoutVars>
      </dgm:prSet>
      <dgm:spPr/>
    </dgm:pt>
    <dgm:pt modelId="{A888D341-706E-41A6-8AAB-D327102271F4}" type="pres">
      <dgm:prSet presAssocID="{7273A2B4-2FD1-4D1F-B274-69A3E9932305}" presName="sibTrans" presStyleCnt="0"/>
      <dgm:spPr/>
    </dgm:pt>
    <dgm:pt modelId="{44A64F2E-54C4-4541-A3C6-A973756CBEC7}" type="pres">
      <dgm:prSet presAssocID="{BAEAC797-FF02-4F97-8243-2B4EC9922EFB}" presName="node" presStyleLbl="node1" presStyleIdx="1" presStyleCnt="4">
        <dgm:presLayoutVars>
          <dgm:bulletEnabled val="1"/>
        </dgm:presLayoutVars>
      </dgm:prSet>
      <dgm:spPr/>
    </dgm:pt>
    <dgm:pt modelId="{41C261A0-54A5-4FCD-8DFC-7AB39DAEC8A4}" type="pres">
      <dgm:prSet presAssocID="{CD9567EE-0B0E-4B8C-B4EF-57BDD1D4673A}" presName="sibTrans" presStyleCnt="0"/>
      <dgm:spPr/>
    </dgm:pt>
    <dgm:pt modelId="{0AE8E446-DCA6-4890-83C4-339778F83471}" type="pres">
      <dgm:prSet presAssocID="{B4C178FC-7FCB-4384-9967-DF18A1BFB903}" presName="node" presStyleLbl="node1" presStyleIdx="2" presStyleCnt="4">
        <dgm:presLayoutVars>
          <dgm:bulletEnabled val="1"/>
        </dgm:presLayoutVars>
      </dgm:prSet>
      <dgm:spPr/>
    </dgm:pt>
    <dgm:pt modelId="{0A57DA93-C227-4D06-9C1D-564DB4BF50F4}" type="pres">
      <dgm:prSet presAssocID="{35FFDB63-89FF-4BF9-B614-E88D653CAC5D}" presName="sibTrans" presStyleCnt="0"/>
      <dgm:spPr/>
    </dgm:pt>
    <dgm:pt modelId="{FF76BC0E-757E-4718-A4B1-B3BFFB5BEC79}" type="pres">
      <dgm:prSet presAssocID="{6922852F-051B-4E33-BFEB-D8A829FFED87}" presName="node" presStyleLbl="node1" presStyleIdx="3" presStyleCnt="4">
        <dgm:presLayoutVars>
          <dgm:bulletEnabled val="1"/>
        </dgm:presLayoutVars>
      </dgm:prSet>
      <dgm:spPr/>
    </dgm:pt>
  </dgm:ptLst>
  <dgm:cxnLst>
    <dgm:cxn modelId="{15703600-3168-4547-BE15-66BFB4655DB3}" srcId="{440D681B-3A20-43A9-BBC5-9F2E67980B8C}" destId="{6922852F-051B-4E33-BFEB-D8A829FFED87}" srcOrd="3" destOrd="0" parTransId="{EE680D7A-252D-4235-A3A5-1198ED175EDB}" sibTransId="{3443487E-1395-4300-A47B-811DF9CD37FB}"/>
    <dgm:cxn modelId="{9CDC2901-AC3E-4E1F-989D-914E0361AEE6}" srcId="{440D681B-3A20-43A9-BBC5-9F2E67980B8C}" destId="{90D7DCF5-C361-40D0-A7EA-EAB4D8F42E1F}" srcOrd="0" destOrd="0" parTransId="{77496F0F-AAE8-4450-9AE0-C258247C25A9}" sibTransId="{7273A2B4-2FD1-4D1F-B274-69A3E9932305}"/>
    <dgm:cxn modelId="{FB1A772C-F113-4873-A9CA-D025922E5819}" srcId="{440D681B-3A20-43A9-BBC5-9F2E67980B8C}" destId="{B4C178FC-7FCB-4384-9967-DF18A1BFB903}" srcOrd="2" destOrd="0" parTransId="{55C5B6E1-7C7C-491B-99B7-EC4245DC8FE4}" sibTransId="{35FFDB63-89FF-4BF9-B614-E88D653CAC5D}"/>
    <dgm:cxn modelId="{022C7C6A-4826-4762-8B9D-0EC0AA120A6A}" type="presOf" srcId="{B4C178FC-7FCB-4384-9967-DF18A1BFB903}" destId="{0AE8E446-DCA6-4890-83C4-339778F83471}" srcOrd="0" destOrd="0" presId="urn:microsoft.com/office/officeart/2005/8/layout/default"/>
    <dgm:cxn modelId="{B0030E51-1626-40A4-B390-4FAA96C34773}" type="presOf" srcId="{90D7DCF5-C361-40D0-A7EA-EAB4D8F42E1F}" destId="{A4D5EC4D-CBE8-4CBE-8720-9892BCEB45F2}" srcOrd="0" destOrd="0" presId="urn:microsoft.com/office/officeart/2005/8/layout/default"/>
    <dgm:cxn modelId="{3FA7DD83-F65D-4CF3-A9B8-058DDFB0E931}" type="presOf" srcId="{440D681B-3A20-43A9-BBC5-9F2E67980B8C}" destId="{04E53624-7157-400F-A2FD-966934930929}" srcOrd="0" destOrd="0" presId="urn:microsoft.com/office/officeart/2005/8/layout/default"/>
    <dgm:cxn modelId="{36C18290-AD82-4EF9-A838-20EF150EA0AF}" type="presOf" srcId="{BAEAC797-FF02-4F97-8243-2B4EC9922EFB}" destId="{44A64F2E-54C4-4541-A3C6-A973756CBEC7}" srcOrd="0" destOrd="0" presId="urn:microsoft.com/office/officeart/2005/8/layout/default"/>
    <dgm:cxn modelId="{F4653D9D-3BBE-4DE1-8425-B56E8660A724}" type="presOf" srcId="{6922852F-051B-4E33-BFEB-D8A829FFED87}" destId="{FF76BC0E-757E-4718-A4B1-B3BFFB5BEC79}" srcOrd="0" destOrd="0" presId="urn:microsoft.com/office/officeart/2005/8/layout/default"/>
    <dgm:cxn modelId="{870435AC-5739-451E-935F-0CF926907BAB}" srcId="{440D681B-3A20-43A9-BBC5-9F2E67980B8C}" destId="{BAEAC797-FF02-4F97-8243-2B4EC9922EFB}" srcOrd="1" destOrd="0" parTransId="{624D6ACA-992B-4A8A-AFB5-6A63B43E5115}" sibTransId="{CD9567EE-0B0E-4B8C-B4EF-57BDD1D4673A}"/>
    <dgm:cxn modelId="{FE5F684A-F3BF-4DD9-9347-1C6E0E658E22}" type="presParOf" srcId="{04E53624-7157-400F-A2FD-966934930929}" destId="{A4D5EC4D-CBE8-4CBE-8720-9892BCEB45F2}" srcOrd="0" destOrd="0" presId="urn:microsoft.com/office/officeart/2005/8/layout/default"/>
    <dgm:cxn modelId="{C01D0474-2705-4591-95DB-EAA6390EAE65}" type="presParOf" srcId="{04E53624-7157-400F-A2FD-966934930929}" destId="{A888D341-706E-41A6-8AAB-D327102271F4}" srcOrd="1" destOrd="0" presId="urn:microsoft.com/office/officeart/2005/8/layout/default"/>
    <dgm:cxn modelId="{4CED8878-E9BB-4E36-B7C9-BEADF6D51AA9}" type="presParOf" srcId="{04E53624-7157-400F-A2FD-966934930929}" destId="{44A64F2E-54C4-4541-A3C6-A973756CBEC7}" srcOrd="2" destOrd="0" presId="urn:microsoft.com/office/officeart/2005/8/layout/default"/>
    <dgm:cxn modelId="{A7D244A2-F3D4-4C07-8BEC-BE31A9CF85F7}" type="presParOf" srcId="{04E53624-7157-400F-A2FD-966934930929}" destId="{41C261A0-54A5-4FCD-8DFC-7AB39DAEC8A4}" srcOrd="3" destOrd="0" presId="urn:microsoft.com/office/officeart/2005/8/layout/default"/>
    <dgm:cxn modelId="{38CEE570-17C8-450A-B22F-7F68A5B05C9E}" type="presParOf" srcId="{04E53624-7157-400F-A2FD-966934930929}" destId="{0AE8E446-DCA6-4890-83C4-339778F83471}" srcOrd="4" destOrd="0" presId="urn:microsoft.com/office/officeart/2005/8/layout/default"/>
    <dgm:cxn modelId="{6A9F7CF0-5CA1-4A56-9D7E-F01625ED0027}" type="presParOf" srcId="{04E53624-7157-400F-A2FD-966934930929}" destId="{0A57DA93-C227-4D06-9C1D-564DB4BF50F4}" srcOrd="5" destOrd="0" presId="urn:microsoft.com/office/officeart/2005/8/layout/default"/>
    <dgm:cxn modelId="{2551ABD3-3C63-4507-8283-F60A31BAA667}" type="presParOf" srcId="{04E53624-7157-400F-A2FD-966934930929}" destId="{FF76BC0E-757E-4718-A4B1-B3BFFB5BEC79}"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7DC689BF-AD99-440C-B714-B520C86244D5}" type="doc">
      <dgm:prSet loTypeId="urn:microsoft.com/office/officeart/2005/8/layout/hList1" loCatId="list" qsTypeId="urn:microsoft.com/office/officeart/2005/8/quickstyle/simple1" qsCatId="simple" csTypeId="urn:microsoft.com/office/officeart/2005/8/colors/colorful1" csCatId="colorful"/>
      <dgm:spPr/>
      <dgm:t>
        <a:bodyPr/>
        <a:lstStyle/>
        <a:p>
          <a:endParaRPr lang="en-US"/>
        </a:p>
      </dgm:t>
    </dgm:pt>
    <dgm:pt modelId="{67ACC6A5-0D73-478C-8E6E-258753EB1DC2}">
      <dgm:prSet custT="1"/>
      <dgm:spPr/>
      <dgm:t>
        <a:bodyPr/>
        <a:lstStyle/>
        <a:p>
          <a:r>
            <a:rPr lang="en-US" sz="2400" dirty="0"/>
            <a:t>Default</a:t>
          </a:r>
        </a:p>
      </dgm:t>
    </dgm:pt>
    <dgm:pt modelId="{E123172F-019C-48E4-B549-78B29A50F44B}" type="parTrans" cxnId="{38A65982-667A-4F40-BDB7-83776C5C729D}">
      <dgm:prSet/>
      <dgm:spPr/>
      <dgm:t>
        <a:bodyPr/>
        <a:lstStyle/>
        <a:p>
          <a:endParaRPr lang="en-US" sz="1200"/>
        </a:p>
      </dgm:t>
    </dgm:pt>
    <dgm:pt modelId="{D7777D1A-2AED-446F-913B-7F76B421D415}" type="sibTrans" cxnId="{38A65982-667A-4F40-BDB7-83776C5C729D}">
      <dgm:prSet/>
      <dgm:spPr/>
      <dgm:t>
        <a:bodyPr/>
        <a:lstStyle/>
        <a:p>
          <a:endParaRPr lang="en-US" sz="1200"/>
        </a:p>
      </dgm:t>
    </dgm:pt>
    <dgm:pt modelId="{F1C33CFB-D07F-4F88-B0A4-8EAF7CEFA3D6}">
      <dgm:prSet custT="1"/>
      <dgm:spPr/>
      <dgm:t>
        <a:bodyPr/>
        <a:lstStyle/>
        <a:p>
          <a:r>
            <a:rPr lang="en-US" sz="2000" dirty="0"/>
            <a:t>Temp table cache improvements</a:t>
          </a:r>
        </a:p>
      </dgm:t>
    </dgm:pt>
    <dgm:pt modelId="{3C96AB31-7BAD-4F58-9B5F-816D8CED3C8A}" type="parTrans" cxnId="{D271BED2-4024-437A-BB55-E6FFCADC1763}">
      <dgm:prSet/>
      <dgm:spPr/>
      <dgm:t>
        <a:bodyPr/>
        <a:lstStyle/>
        <a:p>
          <a:endParaRPr lang="en-US" sz="1200"/>
        </a:p>
      </dgm:t>
    </dgm:pt>
    <dgm:pt modelId="{69FBF2E6-DEC5-4C66-BD13-E429869947E8}" type="sibTrans" cxnId="{D271BED2-4024-437A-BB55-E6FFCADC1763}">
      <dgm:prSet/>
      <dgm:spPr/>
      <dgm:t>
        <a:bodyPr/>
        <a:lstStyle/>
        <a:p>
          <a:endParaRPr lang="en-US" sz="1200"/>
        </a:p>
      </dgm:t>
    </dgm:pt>
    <dgm:pt modelId="{3362F1A4-CBF4-4CA4-A00A-3F6D0902646E}">
      <dgm:prSet custT="1"/>
      <dgm:spPr/>
      <dgm:t>
        <a:bodyPr/>
        <a:lstStyle/>
        <a:p>
          <a:r>
            <a:rPr lang="en-US" sz="2000" dirty="0"/>
            <a:t>Concurrent PFS updates</a:t>
          </a:r>
        </a:p>
      </dgm:t>
    </dgm:pt>
    <dgm:pt modelId="{855017B2-BA20-4C9C-A23F-5CBEEE3FFBAB}" type="parTrans" cxnId="{7A57B764-835A-4920-A71B-97C3CA94F075}">
      <dgm:prSet/>
      <dgm:spPr/>
      <dgm:t>
        <a:bodyPr/>
        <a:lstStyle/>
        <a:p>
          <a:endParaRPr lang="en-US" sz="1200"/>
        </a:p>
      </dgm:t>
    </dgm:pt>
    <dgm:pt modelId="{B515BBBB-8B42-4A7D-8196-ABAD6967DCD1}" type="sibTrans" cxnId="{7A57B764-835A-4920-A71B-97C3CA94F075}">
      <dgm:prSet/>
      <dgm:spPr/>
      <dgm:t>
        <a:bodyPr/>
        <a:lstStyle/>
        <a:p>
          <a:endParaRPr lang="en-US" sz="1200"/>
        </a:p>
      </dgm:t>
    </dgm:pt>
    <dgm:pt modelId="{8A2B5EFA-DB19-42CF-B18B-B446A12A7EC6}">
      <dgm:prSet custT="1"/>
      <dgm:spPr/>
      <dgm:t>
        <a:bodyPr/>
        <a:lstStyle/>
        <a:p>
          <a:r>
            <a:rPr lang="en-US" sz="2400" dirty="0"/>
            <a:t>Opt-in</a:t>
          </a:r>
        </a:p>
      </dgm:t>
    </dgm:pt>
    <dgm:pt modelId="{AE6550AE-5B8B-4D58-A77C-1DA603D9CE61}" type="parTrans" cxnId="{77141E1D-D6B9-4FF8-A2D4-F95BDA9C2E5D}">
      <dgm:prSet/>
      <dgm:spPr/>
      <dgm:t>
        <a:bodyPr/>
        <a:lstStyle/>
        <a:p>
          <a:endParaRPr lang="en-US" sz="1200"/>
        </a:p>
      </dgm:t>
    </dgm:pt>
    <dgm:pt modelId="{B59976CB-830F-4366-89E9-C686E0C6F761}" type="sibTrans" cxnId="{77141E1D-D6B9-4FF8-A2D4-F95BDA9C2E5D}">
      <dgm:prSet/>
      <dgm:spPr/>
      <dgm:t>
        <a:bodyPr/>
        <a:lstStyle/>
        <a:p>
          <a:endParaRPr lang="en-US" sz="1200"/>
        </a:p>
      </dgm:t>
    </dgm:pt>
    <dgm:pt modelId="{407DF0B3-3E40-4DDF-87DA-26817C2C393D}">
      <dgm:prSet custT="1"/>
      <dgm:spPr/>
      <dgm:t>
        <a:bodyPr/>
        <a:lstStyle/>
        <a:p>
          <a:r>
            <a:rPr lang="en-US" sz="2000" dirty="0"/>
            <a:t>Memory-Optimized TempDB Metadata</a:t>
          </a:r>
        </a:p>
      </dgm:t>
    </dgm:pt>
    <dgm:pt modelId="{7266615E-5220-40D9-9A53-18CE182447C8}" type="parTrans" cxnId="{995FFF7B-D1E3-417F-BED0-1855069FF053}">
      <dgm:prSet/>
      <dgm:spPr/>
      <dgm:t>
        <a:bodyPr/>
        <a:lstStyle/>
        <a:p>
          <a:endParaRPr lang="en-US" sz="1200"/>
        </a:p>
      </dgm:t>
    </dgm:pt>
    <dgm:pt modelId="{EA735844-21B3-4F91-BFC8-F31641344F09}" type="sibTrans" cxnId="{995FFF7B-D1E3-417F-BED0-1855069FF053}">
      <dgm:prSet/>
      <dgm:spPr/>
      <dgm:t>
        <a:bodyPr/>
        <a:lstStyle/>
        <a:p>
          <a:endParaRPr lang="en-US" sz="1200"/>
        </a:p>
      </dgm:t>
    </dgm:pt>
    <dgm:pt modelId="{919EF28C-7B91-43C9-8785-5F7DBCC99841}" type="pres">
      <dgm:prSet presAssocID="{7DC689BF-AD99-440C-B714-B520C86244D5}" presName="Name0" presStyleCnt="0">
        <dgm:presLayoutVars>
          <dgm:dir/>
          <dgm:animLvl val="lvl"/>
          <dgm:resizeHandles val="exact"/>
        </dgm:presLayoutVars>
      </dgm:prSet>
      <dgm:spPr/>
    </dgm:pt>
    <dgm:pt modelId="{201E8068-39FE-46C8-AD7B-0171CD37E1CA}" type="pres">
      <dgm:prSet presAssocID="{67ACC6A5-0D73-478C-8E6E-258753EB1DC2}" presName="composite" presStyleCnt="0"/>
      <dgm:spPr/>
    </dgm:pt>
    <dgm:pt modelId="{D9947562-EE5E-4366-A87E-0C77C13163CC}" type="pres">
      <dgm:prSet presAssocID="{67ACC6A5-0D73-478C-8E6E-258753EB1DC2}" presName="parTx" presStyleLbl="alignNode1" presStyleIdx="0" presStyleCnt="2">
        <dgm:presLayoutVars>
          <dgm:chMax val="0"/>
          <dgm:chPref val="0"/>
          <dgm:bulletEnabled val="1"/>
        </dgm:presLayoutVars>
      </dgm:prSet>
      <dgm:spPr/>
    </dgm:pt>
    <dgm:pt modelId="{6351C792-56D4-4FB6-ABBD-639A5B7CD53A}" type="pres">
      <dgm:prSet presAssocID="{67ACC6A5-0D73-478C-8E6E-258753EB1DC2}" presName="desTx" presStyleLbl="alignAccFollowNode1" presStyleIdx="0" presStyleCnt="2">
        <dgm:presLayoutVars>
          <dgm:bulletEnabled val="1"/>
        </dgm:presLayoutVars>
      </dgm:prSet>
      <dgm:spPr/>
    </dgm:pt>
    <dgm:pt modelId="{F9177F30-C531-4C0A-BFAA-6A7BFD13E670}" type="pres">
      <dgm:prSet presAssocID="{D7777D1A-2AED-446F-913B-7F76B421D415}" presName="space" presStyleCnt="0"/>
      <dgm:spPr/>
    </dgm:pt>
    <dgm:pt modelId="{A2C22491-557D-4560-B5E1-35DBE9C434A3}" type="pres">
      <dgm:prSet presAssocID="{8A2B5EFA-DB19-42CF-B18B-B446A12A7EC6}" presName="composite" presStyleCnt="0"/>
      <dgm:spPr/>
    </dgm:pt>
    <dgm:pt modelId="{D3753214-71DB-47E9-89C7-BB5CD65E2EA6}" type="pres">
      <dgm:prSet presAssocID="{8A2B5EFA-DB19-42CF-B18B-B446A12A7EC6}" presName="parTx" presStyleLbl="alignNode1" presStyleIdx="1" presStyleCnt="2">
        <dgm:presLayoutVars>
          <dgm:chMax val="0"/>
          <dgm:chPref val="0"/>
          <dgm:bulletEnabled val="1"/>
        </dgm:presLayoutVars>
      </dgm:prSet>
      <dgm:spPr/>
    </dgm:pt>
    <dgm:pt modelId="{00F8EF06-A708-4F18-8A8E-432849871C19}" type="pres">
      <dgm:prSet presAssocID="{8A2B5EFA-DB19-42CF-B18B-B446A12A7EC6}" presName="desTx" presStyleLbl="alignAccFollowNode1" presStyleIdx="1" presStyleCnt="2">
        <dgm:presLayoutVars>
          <dgm:bulletEnabled val="1"/>
        </dgm:presLayoutVars>
      </dgm:prSet>
      <dgm:spPr/>
    </dgm:pt>
  </dgm:ptLst>
  <dgm:cxnLst>
    <dgm:cxn modelId="{77141E1D-D6B9-4FF8-A2D4-F95BDA9C2E5D}" srcId="{7DC689BF-AD99-440C-B714-B520C86244D5}" destId="{8A2B5EFA-DB19-42CF-B18B-B446A12A7EC6}" srcOrd="1" destOrd="0" parTransId="{AE6550AE-5B8B-4D58-A77C-1DA603D9CE61}" sibTransId="{B59976CB-830F-4366-89E9-C686E0C6F761}"/>
    <dgm:cxn modelId="{79B99A2F-5961-48F8-9569-81723D0DF88B}" type="presOf" srcId="{8A2B5EFA-DB19-42CF-B18B-B446A12A7EC6}" destId="{D3753214-71DB-47E9-89C7-BB5CD65E2EA6}" srcOrd="0" destOrd="0" presId="urn:microsoft.com/office/officeart/2005/8/layout/hList1"/>
    <dgm:cxn modelId="{7A57B764-835A-4920-A71B-97C3CA94F075}" srcId="{67ACC6A5-0D73-478C-8E6E-258753EB1DC2}" destId="{3362F1A4-CBF4-4CA4-A00A-3F6D0902646E}" srcOrd="1" destOrd="0" parTransId="{855017B2-BA20-4C9C-A23F-5CBEEE3FFBAB}" sibTransId="{B515BBBB-8B42-4A7D-8196-ABAD6967DCD1}"/>
    <dgm:cxn modelId="{995FFF7B-D1E3-417F-BED0-1855069FF053}" srcId="{8A2B5EFA-DB19-42CF-B18B-B446A12A7EC6}" destId="{407DF0B3-3E40-4DDF-87DA-26817C2C393D}" srcOrd="0" destOrd="0" parTransId="{7266615E-5220-40D9-9A53-18CE182447C8}" sibTransId="{EA735844-21B3-4F91-BFC8-F31641344F09}"/>
    <dgm:cxn modelId="{38A65982-667A-4F40-BDB7-83776C5C729D}" srcId="{7DC689BF-AD99-440C-B714-B520C86244D5}" destId="{67ACC6A5-0D73-478C-8E6E-258753EB1DC2}" srcOrd="0" destOrd="0" parTransId="{E123172F-019C-48E4-B549-78B29A50F44B}" sibTransId="{D7777D1A-2AED-446F-913B-7F76B421D415}"/>
    <dgm:cxn modelId="{2392508B-B4E4-4EFC-8D48-4D5190FE1EE1}" type="presOf" srcId="{3362F1A4-CBF4-4CA4-A00A-3F6D0902646E}" destId="{6351C792-56D4-4FB6-ABBD-639A5B7CD53A}" srcOrd="0" destOrd="1" presId="urn:microsoft.com/office/officeart/2005/8/layout/hList1"/>
    <dgm:cxn modelId="{FD040CA5-30E0-4E39-ADBC-7DBF1BAFABD4}" type="presOf" srcId="{407DF0B3-3E40-4DDF-87DA-26817C2C393D}" destId="{00F8EF06-A708-4F18-8A8E-432849871C19}" srcOrd="0" destOrd="0" presId="urn:microsoft.com/office/officeart/2005/8/layout/hList1"/>
    <dgm:cxn modelId="{D271BED2-4024-437A-BB55-E6FFCADC1763}" srcId="{67ACC6A5-0D73-478C-8E6E-258753EB1DC2}" destId="{F1C33CFB-D07F-4F88-B0A4-8EAF7CEFA3D6}" srcOrd="0" destOrd="0" parTransId="{3C96AB31-7BAD-4F58-9B5F-816D8CED3C8A}" sibTransId="{69FBF2E6-DEC5-4C66-BD13-E429869947E8}"/>
    <dgm:cxn modelId="{30D545E1-BC0A-49F9-BBA1-C8516B4E3733}" type="presOf" srcId="{F1C33CFB-D07F-4F88-B0A4-8EAF7CEFA3D6}" destId="{6351C792-56D4-4FB6-ABBD-639A5B7CD53A}" srcOrd="0" destOrd="0" presId="urn:microsoft.com/office/officeart/2005/8/layout/hList1"/>
    <dgm:cxn modelId="{1F1506F7-38C0-4AA0-84CF-309779CD5107}" type="presOf" srcId="{7DC689BF-AD99-440C-B714-B520C86244D5}" destId="{919EF28C-7B91-43C9-8785-5F7DBCC99841}" srcOrd="0" destOrd="0" presId="urn:microsoft.com/office/officeart/2005/8/layout/hList1"/>
    <dgm:cxn modelId="{793249FD-9E68-4F26-8E00-A45DACBDECB0}" type="presOf" srcId="{67ACC6A5-0D73-478C-8E6E-258753EB1DC2}" destId="{D9947562-EE5E-4366-A87E-0C77C13163CC}" srcOrd="0" destOrd="0" presId="urn:microsoft.com/office/officeart/2005/8/layout/hList1"/>
    <dgm:cxn modelId="{6C62BF32-74EC-4601-BFEE-82559C0F4F44}" type="presParOf" srcId="{919EF28C-7B91-43C9-8785-5F7DBCC99841}" destId="{201E8068-39FE-46C8-AD7B-0171CD37E1CA}" srcOrd="0" destOrd="0" presId="urn:microsoft.com/office/officeart/2005/8/layout/hList1"/>
    <dgm:cxn modelId="{82213CD9-06CB-42C1-922C-8F9CF9593A0B}" type="presParOf" srcId="{201E8068-39FE-46C8-AD7B-0171CD37E1CA}" destId="{D9947562-EE5E-4366-A87E-0C77C13163CC}" srcOrd="0" destOrd="0" presId="urn:microsoft.com/office/officeart/2005/8/layout/hList1"/>
    <dgm:cxn modelId="{F5531FC1-5761-483B-BCB2-1CD0607A1C65}" type="presParOf" srcId="{201E8068-39FE-46C8-AD7B-0171CD37E1CA}" destId="{6351C792-56D4-4FB6-ABBD-639A5B7CD53A}" srcOrd="1" destOrd="0" presId="urn:microsoft.com/office/officeart/2005/8/layout/hList1"/>
    <dgm:cxn modelId="{F272A5D9-8B2B-4F78-B6B4-C3A4FFD55E45}" type="presParOf" srcId="{919EF28C-7B91-43C9-8785-5F7DBCC99841}" destId="{F9177F30-C531-4C0A-BFAA-6A7BFD13E670}" srcOrd="1" destOrd="0" presId="urn:microsoft.com/office/officeart/2005/8/layout/hList1"/>
    <dgm:cxn modelId="{10644D4B-A205-49A4-982D-56927DEC75A4}" type="presParOf" srcId="{919EF28C-7B91-43C9-8785-5F7DBCC99841}" destId="{A2C22491-557D-4560-B5E1-35DBE9C434A3}" srcOrd="2" destOrd="0" presId="urn:microsoft.com/office/officeart/2005/8/layout/hList1"/>
    <dgm:cxn modelId="{0930C990-5EA2-41EB-8347-744AF5B3628C}" type="presParOf" srcId="{A2C22491-557D-4560-B5E1-35DBE9C434A3}" destId="{D3753214-71DB-47E9-89C7-BB5CD65E2EA6}" srcOrd="0" destOrd="0" presId="urn:microsoft.com/office/officeart/2005/8/layout/hList1"/>
    <dgm:cxn modelId="{C21606EE-ECF6-4C63-823F-66957CBE88F6}" type="presParOf" srcId="{A2C22491-557D-4560-B5E1-35DBE9C434A3}" destId="{00F8EF06-A708-4F18-8A8E-432849871C19}"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605C6EDE-4944-467E-B2EF-16E0FFEFF5A3}"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en-US"/>
        </a:p>
      </dgm:t>
    </dgm:pt>
    <dgm:pt modelId="{204D9EAB-2C65-43FC-BA9A-BE1A190FB14B}">
      <dgm:prSet/>
      <dgm:spPr/>
      <dgm:t>
        <a:bodyPr/>
        <a:lstStyle/>
        <a:p>
          <a:r>
            <a:rPr lang="en-US" dirty="0"/>
            <a:t>With this change, not only will increasing the number of files help with PFS contention also increasing the size of the files.</a:t>
          </a:r>
        </a:p>
      </dgm:t>
    </dgm:pt>
    <dgm:pt modelId="{028A9C95-BF00-4E3B-980B-CD15BCAF349D}" type="sibTrans" cxnId="{3F6BAB09-C3DC-4EF2-89D3-1447017C9162}">
      <dgm:prSet/>
      <dgm:spPr/>
      <dgm:t>
        <a:bodyPr/>
        <a:lstStyle/>
        <a:p>
          <a:endParaRPr lang="en-US"/>
        </a:p>
      </dgm:t>
    </dgm:pt>
    <dgm:pt modelId="{D0F410B4-4F18-4981-A5CB-E4AA361846D5}" type="parTrans" cxnId="{3F6BAB09-C3DC-4EF2-89D3-1447017C9162}">
      <dgm:prSet/>
      <dgm:spPr/>
      <dgm:t>
        <a:bodyPr/>
        <a:lstStyle/>
        <a:p>
          <a:endParaRPr lang="en-US"/>
        </a:p>
      </dgm:t>
    </dgm:pt>
    <dgm:pt modelId="{418FB02A-68EE-4EE9-9BD8-C734B85664F3}" type="pres">
      <dgm:prSet presAssocID="{605C6EDE-4944-467E-B2EF-16E0FFEFF5A3}" presName="linear" presStyleCnt="0">
        <dgm:presLayoutVars>
          <dgm:animLvl val="lvl"/>
          <dgm:resizeHandles val="exact"/>
        </dgm:presLayoutVars>
      </dgm:prSet>
      <dgm:spPr/>
    </dgm:pt>
    <dgm:pt modelId="{BB3BA1B9-698A-4E65-B1D9-1250BA80FD86}" type="pres">
      <dgm:prSet presAssocID="{204D9EAB-2C65-43FC-BA9A-BE1A190FB14B}" presName="parentText" presStyleLbl="node1" presStyleIdx="0" presStyleCnt="1" custLinFactNeighborY="33612">
        <dgm:presLayoutVars>
          <dgm:chMax val="0"/>
          <dgm:bulletEnabled val="1"/>
        </dgm:presLayoutVars>
      </dgm:prSet>
      <dgm:spPr/>
    </dgm:pt>
  </dgm:ptLst>
  <dgm:cxnLst>
    <dgm:cxn modelId="{3F6BAB09-C3DC-4EF2-89D3-1447017C9162}" srcId="{605C6EDE-4944-467E-B2EF-16E0FFEFF5A3}" destId="{204D9EAB-2C65-43FC-BA9A-BE1A190FB14B}" srcOrd="0" destOrd="0" parTransId="{D0F410B4-4F18-4981-A5CB-E4AA361846D5}" sibTransId="{028A9C95-BF00-4E3B-980B-CD15BCAF349D}"/>
    <dgm:cxn modelId="{B0FEDF1E-240D-4609-9F83-897D04DA9A81}" type="presOf" srcId="{605C6EDE-4944-467E-B2EF-16E0FFEFF5A3}" destId="{418FB02A-68EE-4EE9-9BD8-C734B85664F3}" srcOrd="0" destOrd="0" presId="urn:microsoft.com/office/officeart/2005/8/layout/vList2"/>
    <dgm:cxn modelId="{ADBEFA2A-F861-4EA1-83E8-9ABE2956664B}" type="presOf" srcId="{204D9EAB-2C65-43FC-BA9A-BE1A190FB14B}" destId="{BB3BA1B9-698A-4E65-B1D9-1250BA80FD86}" srcOrd="0" destOrd="0" presId="urn:microsoft.com/office/officeart/2005/8/layout/vList2"/>
    <dgm:cxn modelId="{8B3C06EB-6951-4B94-88A0-F3E0C3D80B44}" type="presParOf" srcId="{418FB02A-68EE-4EE9-9BD8-C734B85664F3}" destId="{BB3BA1B9-698A-4E65-B1D9-1250BA80FD86}"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is stored in TempDB?</a:t>
          </a:r>
        </a:p>
      </dgm:t>
    </dgm:pt>
    <dgm:pt modelId="{74BFB16A-6DC3-47DD-AE97-F15F596B23DF}" type="parTrans" cxnId="{4BB646B5-2A6D-439D-A88F-AC928930541F}">
      <dgm:prSet/>
      <dgm:spPr/>
      <dgm:t>
        <a:bodyPr/>
        <a:lstStyle/>
        <a:p>
          <a:endParaRPr lang="en-US" sz="1100"/>
        </a:p>
      </dgm:t>
    </dgm:pt>
    <dgm:pt modelId="{CAE4D9F8-FDBB-4525-9125-6BAF56328FCE}" type="sibTrans" cxnId="{4BB646B5-2A6D-439D-A88F-AC928930541F}">
      <dgm:prSet/>
      <dgm:spPr/>
      <dgm:t>
        <a:bodyPr/>
        <a:lstStyle/>
        <a:p>
          <a:endParaRPr lang="en-US" sz="1100"/>
        </a:p>
      </dgm:t>
    </dgm:pt>
    <dgm:pt modelId="{418CC07E-60A8-4964-8F8D-DE5072ACF3AE}">
      <dgm:prSet custT="1"/>
      <dgm:spPr/>
      <dgm:t>
        <a:bodyPr/>
        <a:lstStyle/>
        <a:p>
          <a:r>
            <a:rPr lang="en-US" sz="2400" dirty="0"/>
            <a:t>How can you boost TempDB performance?</a:t>
          </a:r>
        </a:p>
      </dgm:t>
    </dgm:pt>
    <dgm:pt modelId="{71830CAB-A849-43AF-B52F-0AA1356AE93A}" type="parTrans" cxnId="{F2229882-6A6F-462F-BD41-A3383DD8D81A}">
      <dgm:prSet/>
      <dgm:spPr/>
      <dgm:t>
        <a:bodyPr/>
        <a:lstStyle/>
        <a:p>
          <a:endParaRPr lang="en-US" sz="1100"/>
        </a:p>
      </dgm:t>
    </dgm:pt>
    <dgm:pt modelId="{83A99661-D9FA-4C77-A79E-390DBD588621}" type="sibTrans" cxnId="{F2229882-6A6F-462F-BD41-A3383DD8D81A}">
      <dgm:prSet/>
      <dgm:spPr/>
      <dgm:t>
        <a:bodyPr/>
        <a:lstStyle/>
        <a:p>
          <a:endParaRPr lang="en-US" sz="1100"/>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2">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05EADFC-2FAC-4D5E-A6D5-3BC03456B58E}" type="doc">
      <dgm:prSet loTypeId="urn:microsoft.com/office/officeart/2005/8/layout/vList2" loCatId="list" qsTypeId="urn:microsoft.com/office/officeart/2005/8/quickstyle/simple1" qsCatId="simple" csTypeId="urn:microsoft.com/office/officeart/2005/8/colors/colorful1" csCatId="colorful"/>
      <dgm:spPr/>
      <dgm:t>
        <a:bodyPr/>
        <a:lstStyle/>
        <a:p>
          <a:endParaRPr lang="en-US"/>
        </a:p>
      </dgm:t>
    </dgm:pt>
    <dgm:pt modelId="{175F6F73-FCFC-4DC0-AD75-ED259207FD52}">
      <dgm:prSet custT="1"/>
      <dgm:spPr/>
      <dgm:t>
        <a:bodyPr/>
        <a:lstStyle/>
        <a:p>
          <a:r>
            <a:rPr lang="en-US" sz="3200" baseline="0" dirty="0"/>
            <a:t>SQL Server will flush the log buffer to the log file</a:t>
          </a:r>
          <a:endParaRPr lang="en-US" sz="3200" dirty="0"/>
        </a:p>
      </dgm:t>
    </dgm:pt>
    <dgm:pt modelId="{016FAE5A-306C-47F1-9775-927808989621}" type="parTrans" cxnId="{C31C0E7B-3525-4DAA-BA3B-3553E7C9497B}">
      <dgm:prSet/>
      <dgm:spPr/>
      <dgm:t>
        <a:bodyPr/>
        <a:lstStyle/>
        <a:p>
          <a:endParaRPr lang="en-US"/>
        </a:p>
      </dgm:t>
    </dgm:pt>
    <dgm:pt modelId="{B694F62B-1755-4A2D-925A-C6F7D715882A}" type="sibTrans" cxnId="{C31C0E7B-3525-4DAA-BA3B-3553E7C9497B}">
      <dgm:prSet/>
      <dgm:spPr/>
      <dgm:t>
        <a:bodyPr/>
        <a:lstStyle/>
        <a:p>
          <a:endParaRPr lang="en-US"/>
        </a:p>
      </dgm:t>
    </dgm:pt>
    <dgm:pt modelId="{5A3B8D5C-6FD2-4A8A-951A-EE65A7782C45}">
      <dgm:prSet custT="1"/>
      <dgm:spPr/>
      <dgm:t>
        <a:bodyPr/>
        <a:lstStyle/>
        <a:p>
          <a:r>
            <a:rPr lang="en-US" sz="2400" baseline="0" dirty="0"/>
            <a:t>SQL Server gets a commit request of a transaction that changes data.</a:t>
          </a:r>
          <a:endParaRPr lang="en-US" sz="2400" dirty="0"/>
        </a:p>
      </dgm:t>
    </dgm:pt>
    <dgm:pt modelId="{F3957295-B2F7-4DEF-938E-C041F411F020}" type="parTrans" cxnId="{8E8B1D30-99E2-40B0-B5EE-1B11A59026D1}">
      <dgm:prSet/>
      <dgm:spPr/>
      <dgm:t>
        <a:bodyPr/>
        <a:lstStyle/>
        <a:p>
          <a:endParaRPr lang="en-US"/>
        </a:p>
      </dgm:t>
    </dgm:pt>
    <dgm:pt modelId="{EA02A364-318F-441C-866A-59DF60DFFE76}" type="sibTrans" cxnId="{8E8B1D30-99E2-40B0-B5EE-1B11A59026D1}">
      <dgm:prSet/>
      <dgm:spPr/>
      <dgm:t>
        <a:bodyPr/>
        <a:lstStyle/>
        <a:p>
          <a:endParaRPr lang="en-US"/>
        </a:p>
      </dgm:t>
    </dgm:pt>
    <dgm:pt modelId="{F332BC46-E0CB-4A71-97F1-F186D1A527B5}">
      <dgm:prSet custT="1"/>
      <dgm:spPr/>
      <dgm:t>
        <a:bodyPr/>
        <a:lstStyle/>
        <a:p>
          <a:r>
            <a:rPr lang="en-US" sz="2400" baseline="0" dirty="0"/>
            <a:t>The log buffer fills up. (Max size 60kb.)</a:t>
          </a:r>
          <a:endParaRPr lang="en-US" sz="2400" dirty="0"/>
        </a:p>
      </dgm:t>
    </dgm:pt>
    <dgm:pt modelId="{F224F40A-8DA4-4A07-914B-718936D40C22}" type="parTrans" cxnId="{D311C514-B75F-4CFE-8D69-CB67DE248189}">
      <dgm:prSet/>
      <dgm:spPr/>
      <dgm:t>
        <a:bodyPr/>
        <a:lstStyle/>
        <a:p>
          <a:endParaRPr lang="en-US"/>
        </a:p>
      </dgm:t>
    </dgm:pt>
    <dgm:pt modelId="{B680B321-C17F-4226-B07C-F2346CD3FD8D}" type="sibTrans" cxnId="{D311C514-B75F-4CFE-8D69-CB67DE248189}">
      <dgm:prSet/>
      <dgm:spPr/>
      <dgm:t>
        <a:bodyPr/>
        <a:lstStyle/>
        <a:p>
          <a:endParaRPr lang="en-US"/>
        </a:p>
      </dgm:t>
    </dgm:pt>
    <dgm:pt modelId="{098E019B-6BCE-46E9-AF83-C28DB7B2B120}">
      <dgm:prSet custT="1"/>
      <dgm:spPr/>
      <dgm:t>
        <a:bodyPr/>
        <a:lstStyle/>
        <a:p>
          <a:r>
            <a:rPr lang="en-US" sz="2400" baseline="0" dirty="0"/>
            <a:t>SQL Server needs to harden dirty data pages (checkpoints)</a:t>
          </a:r>
          <a:endParaRPr lang="en-US" sz="2400" dirty="0"/>
        </a:p>
      </dgm:t>
    </dgm:pt>
    <dgm:pt modelId="{90121E53-C160-45FF-9FF5-2ED9851C7580}" type="parTrans" cxnId="{730DB5B7-7DDE-4C17-A497-BD1B9FBC2991}">
      <dgm:prSet/>
      <dgm:spPr/>
      <dgm:t>
        <a:bodyPr/>
        <a:lstStyle/>
        <a:p>
          <a:endParaRPr lang="en-US"/>
        </a:p>
      </dgm:t>
    </dgm:pt>
    <dgm:pt modelId="{B2821825-C4AA-4916-8BF3-CC9879DB8AD0}" type="sibTrans" cxnId="{730DB5B7-7DDE-4C17-A497-BD1B9FBC2991}">
      <dgm:prSet/>
      <dgm:spPr/>
      <dgm:t>
        <a:bodyPr/>
        <a:lstStyle/>
        <a:p>
          <a:endParaRPr lang="en-US"/>
        </a:p>
      </dgm:t>
    </dgm:pt>
    <dgm:pt modelId="{4E6A14CE-D16B-4589-90CD-78297D7492D3}">
      <dgm:prSet custT="1"/>
      <dgm:spPr/>
      <dgm:t>
        <a:bodyPr/>
        <a:lstStyle/>
        <a:p>
          <a:r>
            <a:rPr lang="en-US" sz="2400" baseline="0" dirty="0"/>
            <a:t>Manually request a log buffer flush using the </a:t>
          </a:r>
          <a:r>
            <a:rPr lang="en-US" sz="2400" baseline="0" dirty="0" err="1"/>
            <a:t>sys.sp_flush_log</a:t>
          </a:r>
          <a:r>
            <a:rPr lang="en-US" sz="2400" baseline="0" dirty="0"/>
            <a:t> procedure</a:t>
          </a:r>
          <a:endParaRPr lang="en-US" sz="2400" dirty="0"/>
        </a:p>
      </dgm:t>
    </dgm:pt>
    <dgm:pt modelId="{3519050B-094E-41C1-BA75-B20BCAD50627}" type="parTrans" cxnId="{8F91FEA6-4FF9-469B-AF6E-BD5BDA97E903}">
      <dgm:prSet/>
      <dgm:spPr/>
      <dgm:t>
        <a:bodyPr/>
        <a:lstStyle/>
        <a:p>
          <a:endParaRPr lang="en-US"/>
        </a:p>
      </dgm:t>
    </dgm:pt>
    <dgm:pt modelId="{DBB35BCE-4C01-4E34-A282-91ED28788AC1}" type="sibTrans" cxnId="{8F91FEA6-4FF9-469B-AF6E-BD5BDA97E903}">
      <dgm:prSet/>
      <dgm:spPr/>
      <dgm:t>
        <a:bodyPr/>
        <a:lstStyle/>
        <a:p>
          <a:endParaRPr lang="en-US"/>
        </a:p>
      </dgm:t>
    </dgm:pt>
    <dgm:pt modelId="{9AB92BAE-00FE-48B7-98F0-A94F53DB542D}">
      <dgm:prSet custT="1"/>
      <dgm:spPr/>
      <dgm:t>
        <a:bodyPr/>
        <a:lstStyle/>
        <a:p>
          <a:r>
            <a:rPr lang="en-US" sz="3200" baseline="0" dirty="0"/>
            <a:t>Log buffer flushing results in a WRITELOG wait type.</a:t>
          </a:r>
          <a:endParaRPr lang="en-US" sz="3200" dirty="0"/>
        </a:p>
      </dgm:t>
    </dgm:pt>
    <dgm:pt modelId="{F71DE4A1-BF95-42BA-8178-36785FF80657}" type="parTrans" cxnId="{C6CC31DA-A95E-4B91-95F2-1C77D11B0E1F}">
      <dgm:prSet/>
      <dgm:spPr/>
      <dgm:t>
        <a:bodyPr/>
        <a:lstStyle/>
        <a:p>
          <a:endParaRPr lang="en-US"/>
        </a:p>
      </dgm:t>
    </dgm:pt>
    <dgm:pt modelId="{4D0DCD73-E2A7-4F75-843B-14C3CD1F44D1}" type="sibTrans" cxnId="{C6CC31DA-A95E-4B91-95F2-1C77D11B0E1F}">
      <dgm:prSet/>
      <dgm:spPr/>
      <dgm:t>
        <a:bodyPr/>
        <a:lstStyle/>
        <a:p>
          <a:endParaRPr lang="en-US"/>
        </a:p>
      </dgm:t>
    </dgm:pt>
    <dgm:pt modelId="{C1D1552C-6320-4BC1-860B-3DEB5F6F7969}" type="pres">
      <dgm:prSet presAssocID="{605EADFC-2FAC-4D5E-A6D5-3BC03456B58E}" presName="linear" presStyleCnt="0">
        <dgm:presLayoutVars>
          <dgm:animLvl val="lvl"/>
          <dgm:resizeHandles val="exact"/>
        </dgm:presLayoutVars>
      </dgm:prSet>
      <dgm:spPr/>
    </dgm:pt>
    <dgm:pt modelId="{BD3D046F-8B4E-4968-BA21-B8542A4D65D5}" type="pres">
      <dgm:prSet presAssocID="{175F6F73-FCFC-4DC0-AD75-ED259207FD52}" presName="parentText" presStyleLbl="node1" presStyleIdx="0" presStyleCnt="2" custLinFactNeighborY="-15438">
        <dgm:presLayoutVars>
          <dgm:chMax val="0"/>
          <dgm:bulletEnabled val="1"/>
        </dgm:presLayoutVars>
      </dgm:prSet>
      <dgm:spPr/>
    </dgm:pt>
    <dgm:pt modelId="{90C5942A-676D-4C7E-971D-5ADE5985D74D}" type="pres">
      <dgm:prSet presAssocID="{175F6F73-FCFC-4DC0-AD75-ED259207FD52}" presName="childText" presStyleLbl="revTx" presStyleIdx="0" presStyleCnt="1" custLinFactNeighborY="-21900">
        <dgm:presLayoutVars>
          <dgm:bulletEnabled val="1"/>
        </dgm:presLayoutVars>
      </dgm:prSet>
      <dgm:spPr/>
    </dgm:pt>
    <dgm:pt modelId="{D145050A-2D0A-48DE-B8EB-0A9036A8EE26}" type="pres">
      <dgm:prSet presAssocID="{9AB92BAE-00FE-48B7-98F0-A94F53DB542D}" presName="parentText" presStyleLbl="node1" presStyleIdx="1" presStyleCnt="2" custLinFactNeighborY="-13446">
        <dgm:presLayoutVars>
          <dgm:chMax val="0"/>
          <dgm:bulletEnabled val="1"/>
        </dgm:presLayoutVars>
      </dgm:prSet>
      <dgm:spPr/>
    </dgm:pt>
  </dgm:ptLst>
  <dgm:cxnLst>
    <dgm:cxn modelId="{8AD1980F-BD5D-43B0-8C5B-8F3F6CE43866}" type="presOf" srcId="{175F6F73-FCFC-4DC0-AD75-ED259207FD52}" destId="{BD3D046F-8B4E-4968-BA21-B8542A4D65D5}" srcOrd="0" destOrd="0" presId="urn:microsoft.com/office/officeart/2005/8/layout/vList2"/>
    <dgm:cxn modelId="{D311C514-B75F-4CFE-8D69-CB67DE248189}" srcId="{175F6F73-FCFC-4DC0-AD75-ED259207FD52}" destId="{F332BC46-E0CB-4A71-97F1-F186D1A527B5}" srcOrd="1" destOrd="0" parTransId="{F224F40A-8DA4-4A07-914B-718936D40C22}" sibTransId="{B680B321-C17F-4226-B07C-F2346CD3FD8D}"/>
    <dgm:cxn modelId="{6EBB531B-168F-4083-B022-86AE2DA6210B}" type="presOf" srcId="{4E6A14CE-D16B-4589-90CD-78297D7492D3}" destId="{90C5942A-676D-4C7E-971D-5ADE5985D74D}" srcOrd="0" destOrd="3" presId="urn:microsoft.com/office/officeart/2005/8/layout/vList2"/>
    <dgm:cxn modelId="{8E8B1D30-99E2-40B0-B5EE-1B11A59026D1}" srcId="{175F6F73-FCFC-4DC0-AD75-ED259207FD52}" destId="{5A3B8D5C-6FD2-4A8A-951A-EE65A7782C45}" srcOrd="0" destOrd="0" parTransId="{F3957295-B2F7-4DEF-938E-C041F411F020}" sibTransId="{EA02A364-318F-441C-866A-59DF60DFFE76}"/>
    <dgm:cxn modelId="{66D9B832-7D49-40B9-BE8F-BD085D074B8B}" type="presOf" srcId="{9AB92BAE-00FE-48B7-98F0-A94F53DB542D}" destId="{D145050A-2D0A-48DE-B8EB-0A9036A8EE26}" srcOrd="0" destOrd="0" presId="urn:microsoft.com/office/officeart/2005/8/layout/vList2"/>
    <dgm:cxn modelId="{C4A87C72-9854-4D44-B2EF-1DE1919C7C9A}" type="presOf" srcId="{5A3B8D5C-6FD2-4A8A-951A-EE65A7782C45}" destId="{90C5942A-676D-4C7E-971D-5ADE5985D74D}" srcOrd="0" destOrd="0" presId="urn:microsoft.com/office/officeart/2005/8/layout/vList2"/>
    <dgm:cxn modelId="{E7F9CC75-E738-4F4D-8AB2-5681F1C8DB72}" type="presOf" srcId="{F332BC46-E0CB-4A71-97F1-F186D1A527B5}" destId="{90C5942A-676D-4C7E-971D-5ADE5985D74D}" srcOrd="0" destOrd="1" presId="urn:microsoft.com/office/officeart/2005/8/layout/vList2"/>
    <dgm:cxn modelId="{C31C0E7B-3525-4DAA-BA3B-3553E7C9497B}" srcId="{605EADFC-2FAC-4D5E-A6D5-3BC03456B58E}" destId="{175F6F73-FCFC-4DC0-AD75-ED259207FD52}" srcOrd="0" destOrd="0" parTransId="{016FAE5A-306C-47F1-9775-927808989621}" sibTransId="{B694F62B-1755-4A2D-925A-C6F7D715882A}"/>
    <dgm:cxn modelId="{8F91FEA6-4FF9-469B-AF6E-BD5BDA97E903}" srcId="{175F6F73-FCFC-4DC0-AD75-ED259207FD52}" destId="{4E6A14CE-D16B-4589-90CD-78297D7492D3}" srcOrd="3" destOrd="0" parTransId="{3519050B-094E-41C1-BA75-B20BCAD50627}" sibTransId="{DBB35BCE-4C01-4E34-A282-91ED28788AC1}"/>
    <dgm:cxn modelId="{11DE65AD-E3A2-401F-A685-BE2971234970}" type="presOf" srcId="{605EADFC-2FAC-4D5E-A6D5-3BC03456B58E}" destId="{C1D1552C-6320-4BC1-860B-3DEB5F6F7969}" srcOrd="0" destOrd="0" presId="urn:microsoft.com/office/officeart/2005/8/layout/vList2"/>
    <dgm:cxn modelId="{1C92DAB3-CB88-490C-922F-AA2C468B43B8}" type="presOf" srcId="{098E019B-6BCE-46E9-AF83-C28DB7B2B120}" destId="{90C5942A-676D-4C7E-971D-5ADE5985D74D}" srcOrd="0" destOrd="2" presId="urn:microsoft.com/office/officeart/2005/8/layout/vList2"/>
    <dgm:cxn modelId="{730DB5B7-7DDE-4C17-A497-BD1B9FBC2991}" srcId="{175F6F73-FCFC-4DC0-AD75-ED259207FD52}" destId="{098E019B-6BCE-46E9-AF83-C28DB7B2B120}" srcOrd="2" destOrd="0" parTransId="{90121E53-C160-45FF-9FF5-2ED9851C7580}" sibTransId="{B2821825-C4AA-4916-8BF3-CC9879DB8AD0}"/>
    <dgm:cxn modelId="{C6CC31DA-A95E-4B91-95F2-1C77D11B0E1F}" srcId="{605EADFC-2FAC-4D5E-A6D5-3BC03456B58E}" destId="{9AB92BAE-00FE-48B7-98F0-A94F53DB542D}" srcOrd="1" destOrd="0" parTransId="{F71DE4A1-BF95-42BA-8178-36785FF80657}" sibTransId="{4D0DCD73-E2A7-4F75-843B-14C3CD1F44D1}"/>
    <dgm:cxn modelId="{24F715CD-22BB-4D38-B6B8-61733A2A011C}" type="presParOf" srcId="{C1D1552C-6320-4BC1-860B-3DEB5F6F7969}" destId="{BD3D046F-8B4E-4968-BA21-B8542A4D65D5}" srcOrd="0" destOrd="0" presId="urn:microsoft.com/office/officeart/2005/8/layout/vList2"/>
    <dgm:cxn modelId="{84E5DEAD-0333-4EA4-BC31-F648445B15A3}" type="presParOf" srcId="{C1D1552C-6320-4BC1-860B-3DEB5F6F7969}" destId="{90C5942A-676D-4C7E-971D-5ADE5985D74D}" srcOrd="1" destOrd="0" presId="urn:microsoft.com/office/officeart/2005/8/layout/vList2"/>
    <dgm:cxn modelId="{887F53D1-CF50-4524-818C-1FD6221C9A16}" type="presParOf" srcId="{C1D1552C-6320-4BC1-860B-3DEB5F6F7969}" destId="{D145050A-2D0A-48DE-B8EB-0A9036A8EE26}"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6040105-1E92-4AB6-BB5C-3C4E7EC36311}"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0F464C63-4435-4BD9-8BC4-6FF8EE571A22}">
      <dgm:prSet phldrT="[Text]" custT="1"/>
      <dgm:spPr/>
      <dgm:t>
        <a:bodyPr/>
        <a:lstStyle/>
        <a:p>
          <a:r>
            <a:rPr lang="en-US" sz="2400"/>
            <a:t>Stores 8 kilobytes (KB) pages of data to avoid repeated disk I/O.</a:t>
          </a:r>
          <a:endParaRPr lang="en-US" sz="2400" dirty="0"/>
        </a:p>
      </dgm:t>
    </dgm:pt>
    <dgm:pt modelId="{19308289-4E4E-4B5B-95A8-8C099CE2E876}" type="parTrans" cxnId="{BF640412-4851-42E3-96FC-D39337C2D935}">
      <dgm:prSet/>
      <dgm:spPr/>
      <dgm:t>
        <a:bodyPr/>
        <a:lstStyle/>
        <a:p>
          <a:endParaRPr lang="en-US"/>
        </a:p>
      </dgm:t>
    </dgm:pt>
    <dgm:pt modelId="{EE731859-F98E-4AC0-B65B-10DAAE071F54}" type="sibTrans" cxnId="{BF640412-4851-42E3-96FC-D39337C2D935}">
      <dgm:prSet/>
      <dgm:spPr/>
      <dgm:t>
        <a:bodyPr/>
        <a:lstStyle/>
        <a:p>
          <a:endParaRPr lang="en-US"/>
        </a:p>
      </dgm:t>
    </dgm:pt>
    <dgm:pt modelId="{67E17738-299F-4FD5-83A3-C7B1C8E6B2C5}">
      <dgm:prSet phldrT="[Text]" custT="1"/>
      <dgm:spPr/>
      <dgm:t>
        <a:bodyPr/>
        <a:lstStyle/>
        <a:p>
          <a:r>
            <a:rPr lang="en-US" sz="2400"/>
            <a:t>Pages held in the buffer until the space is needed by something else.</a:t>
          </a:r>
          <a:endParaRPr lang="en-US" sz="2400" dirty="0"/>
        </a:p>
      </dgm:t>
    </dgm:pt>
    <dgm:pt modelId="{99E992C1-87A1-463C-8807-ECFE2ADA73FF}" type="parTrans" cxnId="{4B0CA908-C5A1-4896-9A5B-F679016F67D6}">
      <dgm:prSet/>
      <dgm:spPr/>
      <dgm:t>
        <a:bodyPr/>
        <a:lstStyle/>
        <a:p>
          <a:endParaRPr lang="en-US"/>
        </a:p>
      </dgm:t>
    </dgm:pt>
    <dgm:pt modelId="{AAA0D5D7-8ED2-4B87-ADB1-D44B93C98229}" type="sibTrans" cxnId="{4B0CA908-C5A1-4896-9A5B-F679016F67D6}">
      <dgm:prSet/>
      <dgm:spPr/>
      <dgm:t>
        <a:bodyPr/>
        <a:lstStyle/>
        <a:p>
          <a:endParaRPr lang="en-US"/>
        </a:p>
      </dgm:t>
    </dgm:pt>
    <dgm:pt modelId="{AADD6B1B-92A4-446B-84B1-B0C734E955D2}">
      <dgm:prSet phldrT="[Text]" custT="1"/>
      <dgm:spPr/>
      <dgm:t>
        <a:bodyPr/>
        <a:lstStyle/>
        <a:p>
          <a:r>
            <a:rPr lang="en-US" sz="2400" dirty="0"/>
            <a:t>Lazy Writer searches for eligible buffers.</a:t>
          </a:r>
        </a:p>
      </dgm:t>
    </dgm:pt>
    <dgm:pt modelId="{18E0E943-6484-4C97-842A-8A16F82E89C8}" type="parTrans" cxnId="{17EC358D-B099-4CEE-B916-679D6CDEC914}">
      <dgm:prSet/>
      <dgm:spPr/>
      <dgm:t>
        <a:bodyPr/>
        <a:lstStyle/>
        <a:p>
          <a:endParaRPr lang="en-US"/>
        </a:p>
      </dgm:t>
    </dgm:pt>
    <dgm:pt modelId="{CB03AA14-A9EF-4741-A0B4-CB24A730B870}" type="sibTrans" cxnId="{17EC358D-B099-4CEE-B916-679D6CDEC914}">
      <dgm:prSet/>
      <dgm:spPr/>
      <dgm:t>
        <a:bodyPr/>
        <a:lstStyle/>
        <a:p>
          <a:endParaRPr lang="en-US"/>
        </a:p>
      </dgm:t>
    </dgm:pt>
    <dgm:pt modelId="{F96BD1CD-A516-4C87-A961-EF4E45DAE639}">
      <dgm:prSet phldrT="[Text]" custT="1"/>
      <dgm:spPr/>
      <dgm:t>
        <a:bodyPr/>
        <a:lstStyle/>
        <a:p>
          <a:r>
            <a:rPr lang="en-US" sz="2400" dirty="0"/>
            <a:t>If the buffer is dirty, an asynchronous write (lazy write) is posted so that the buffer can later be freed.</a:t>
          </a:r>
        </a:p>
      </dgm:t>
    </dgm:pt>
    <dgm:pt modelId="{0E32A75C-A249-43AB-8AF3-5FB533E591C9}" type="parTrans" cxnId="{A391CB16-A64C-439A-80E6-13E3800832DF}">
      <dgm:prSet/>
      <dgm:spPr/>
      <dgm:t>
        <a:bodyPr/>
        <a:lstStyle/>
        <a:p>
          <a:endParaRPr lang="en-US"/>
        </a:p>
      </dgm:t>
    </dgm:pt>
    <dgm:pt modelId="{0BF20044-B1B3-4DB0-A7AB-5C40649EE601}" type="sibTrans" cxnId="{A391CB16-A64C-439A-80E6-13E3800832DF}">
      <dgm:prSet/>
      <dgm:spPr/>
      <dgm:t>
        <a:bodyPr/>
        <a:lstStyle/>
        <a:p>
          <a:endParaRPr lang="en-US"/>
        </a:p>
      </dgm:t>
    </dgm:pt>
    <dgm:pt modelId="{821ED3F8-05FB-4161-989E-A5073C719AA8}">
      <dgm:prSet phldrT="[Text]" custT="1"/>
      <dgm:spPr/>
      <dgm:t>
        <a:bodyPr/>
        <a:lstStyle/>
        <a:p>
          <a:r>
            <a:rPr lang="en-US" sz="2400" dirty="0"/>
            <a:t>If the buffer is not dirty, it is freed.</a:t>
          </a:r>
        </a:p>
      </dgm:t>
    </dgm:pt>
    <dgm:pt modelId="{B50F9A41-0B7C-4C9A-9861-71BC952B7820}" type="parTrans" cxnId="{A9D1EC4A-0943-48FD-86B0-B51673DAA92D}">
      <dgm:prSet/>
      <dgm:spPr/>
      <dgm:t>
        <a:bodyPr/>
        <a:lstStyle/>
        <a:p>
          <a:endParaRPr lang="en-US"/>
        </a:p>
      </dgm:t>
    </dgm:pt>
    <dgm:pt modelId="{57CB635D-D1A1-47A3-A56E-45160AB8002B}" type="sibTrans" cxnId="{A9D1EC4A-0943-48FD-86B0-B51673DAA92D}">
      <dgm:prSet/>
      <dgm:spPr/>
      <dgm:t>
        <a:bodyPr/>
        <a:lstStyle/>
        <a:p>
          <a:endParaRPr lang="en-US"/>
        </a:p>
      </dgm:t>
    </dgm:pt>
    <dgm:pt modelId="{DDF3A48C-9044-4623-9CDC-0F23F895C60C}" type="pres">
      <dgm:prSet presAssocID="{56040105-1E92-4AB6-BB5C-3C4E7EC36311}" presName="linear" presStyleCnt="0">
        <dgm:presLayoutVars>
          <dgm:animLvl val="lvl"/>
          <dgm:resizeHandles val="exact"/>
        </dgm:presLayoutVars>
      </dgm:prSet>
      <dgm:spPr/>
    </dgm:pt>
    <dgm:pt modelId="{AAE66C88-09DA-40B7-823E-7E7CC6D7DE8E}" type="pres">
      <dgm:prSet presAssocID="{0F464C63-4435-4BD9-8BC4-6FF8EE571A22}" presName="parentText" presStyleLbl="node1" presStyleIdx="0" presStyleCnt="2">
        <dgm:presLayoutVars>
          <dgm:chMax val="0"/>
          <dgm:bulletEnabled val="1"/>
        </dgm:presLayoutVars>
      </dgm:prSet>
      <dgm:spPr/>
    </dgm:pt>
    <dgm:pt modelId="{243A05DC-3C79-4F85-8091-E770D7B8BE1C}" type="pres">
      <dgm:prSet presAssocID="{0F464C63-4435-4BD9-8BC4-6FF8EE571A22}" presName="childText" presStyleLbl="revTx" presStyleIdx="0" presStyleCnt="2">
        <dgm:presLayoutVars>
          <dgm:bulletEnabled val="1"/>
        </dgm:presLayoutVars>
      </dgm:prSet>
      <dgm:spPr/>
    </dgm:pt>
    <dgm:pt modelId="{8A8E48AC-E044-4373-91C2-A5EBBB4E8D5D}" type="pres">
      <dgm:prSet presAssocID="{AADD6B1B-92A4-446B-84B1-B0C734E955D2}" presName="parentText" presStyleLbl="node1" presStyleIdx="1" presStyleCnt="2">
        <dgm:presLayoutVars>
          <dgm:chMax val="0"/>
          <dgm:bulletEnabled val="1"/>
        </dgm:presLayoutVars>
      </dgm:prSet>
      <dgm:spPr/>
    </dgm:pt>
    <dgm:pt modelId="{D9796843-2685-4002-815D-6B4869E1BB94}" type="pres">
      <dgm:prSet presAssocID="{AADD6B1B-92A4-446B-84B1-B0C734E955D2}" presName="childText" presStyleLbl="revTx" presStyleIdx="1" presStyleCnt="2">
        <dgm:presLayoutVars>
          <dgm:bulletEnabled val="1"/>
        </dgm:presLayoutVars>
      </dgm:prSet>
      <dgm:spPr/>
    </dgm:pt>
  </dgm:ptLst>
  <dgm:cxnLst>
    <dgm:cxn modelId="{4B0CA908-C5A1-4896-9A5B-F679016F67D6}" srcId="{0F464C63-4435-4BD9-8BC4-6FF8EE571A22}" destId="{67E17738-299F-4FD5-83A3-C7B1C8E6B2C5}" srcOrd="0" destOrd="0" parTransId="{99E992C1-87A1-463C-8807-ECFE2ADA73FF}" sibTransId="{AAA0D5D7-8ED2-4B87-ADB1-D44B93C98229}"/>
    <dgm:cxn modelId="{BF640412-4851-42E3-96FC-D39337C2D935}" srcId="{56040105-1E92-4AB6-BB5C-3C4E7EC36311}" destId="{0F464C63-4435-4BD9-8BC4-6FF8EE571A22}" srcOrd="0" destOrd="0" parTransId="{19308289-4E4E-4B5B-95A8-8C099CE2E876}" sibTransId="{EE731859-F98E-4AC0-B65B-10DAAE071F54}"/>
    <dgm:cxn modelId="{A391CB16-A64C-439A-80E6-13E3800832DF}" srcId="{AADD6B1B-92A4-446B-84B1-B0C734E955D2}" destId="{F96BD1CD-A516-4C87-A961-EF4E45DAE639}" srcOrd="0" destOrd="0" parTransId="{0E32A75C-A249-43AB-8AF3-5FB533E591C9}" sibTransId="{0BF20044-B1B3-4DB0-A7AB-5C40649EE601}"/>
    <dgm:cxn modelId="{3DC8395B-D9FB-4DD2-8F77-7A889AF4AADF}" type="presOf" srcId="{67E17738-299F-4FD5-83A3-C7B1C8E6B2C5}" destId="{243A05DC-3C79-4F85-8091-E770D7B8BE1C}" srcOrd="0" destOrd="0" presId="urn:microsoft.com/office/officeart/2005/8/layout/vList2"/>
    <dgm:cxn modelId="{A9D1EC4A-0943-48FD-86B0-B51673DAA92D}" srcId="{AADD6B1B-92A4-446B-84B1-B0C734E955D2}" destId="{821ED3F8-05FB-4161-989E-A5073C719AA8}" srcOrd="1" destOrd="0" parTransId="{B50F9A41-0B7C-4C9A-9861-71BC952B7820}" sibTransId="{57CB635D-D1A1-47A3-A56E-45160AB8002B}"/>
    <dgm:cxn modelId="{2556426F-8645-4D00-90FD-A9750614858C}" type="presOf" srcId="{821ED3F8-05FB-4161-989E-A5073C719AA8}" destId="{D9796843-2685-4002-815D-6B4869E1BB94}" srcOrd="0" destOrd="1" presId="urn:microsoft.com/office/officeart/2005/8/layout/vList2"/>
    <dgm:cxn modelId="{17EC358D-B099-4CEE-B916-679D6CDEC914}" srcId="{56040105-1E92-4AB6-BB5C-3C4E7EC36311}" destId="{AADD6B1B-92A4-446B-84B1-B0C734E955D2}" srcOrd="1" destOrd="0" parTransId="{18E0E943-6484-4C97-842A-8A16F82E89C8}" sibTransId="{CB03AA14-A9EF-4741-A0B4-CB24A730B870}"/>
    <dgm:cxn modelId="{EBE5D091-8C65-4C2F-B304-B55C9A6948DA}" type="presOf" srcId="{F96BD1CD-A516-4C87-A961-EF4E45DAE639}" destId="{D9796843-2685-4002-815D-6B4869E1BB94}" srcOrd="0" destOrd="0" presId="urn:microsoft.com/office/officeart/2005/8/layout/vList2"/>
    <dgm:cxn modelId="{9B26F8A3-336E-43D5-BD5E-17BCDEFF4B4A}" type="presOf" srcId="{AADD6B1B-92A4-446B-84B1-B0C734E955D2}" destId="{8A8E48AC-E044-4373-91C2-A5EBBB4E8D5D}" srcOrd="0" destOrd="0" presId="urn:microsoft.com/office/officeart/2005/8/layout/vList2"/>
    <dgm:cxn modelId="{22696FEC-5C34-482A-A30B-04FE55D86FF2}" type="presOf" srcId="{56040105-1E92-4AB6-BB5C-3C4E7EC36311}" destId="{DDF3A48C-9044-4623-9CDC-0F23F895C60C}" srcOrd="0" destOrd="0" presId="urn:microsoft.com/office/officeart/2005/8/layout/vList2"/>
    <dgm:cxn modelId="{29559FF1-6A81-4F72-8B56-D683DE35F12B}" type="presOf" srcId="{0F464C63-4435-4BD9-8BC4-6FF8EE571A22}" destId="{AAE66C88-09DA-40B7-823E-7E7CC6D7DE8E}" srcOrd="0" destOrd="0" presId="urn:microsoft.com/office/officeart/2005/8/layout/vList2"/>
    <dgm:cxn modelId="{81ED60A1-122F-4799-8791-37E21D06D28B}" type="presParOf" srcId="{DDF3A48C-9044-4623-9CDC-0F23F895C60C}" destId="{AAE66C88-09DA-40B7-823E-7E7CC6D7DE8E}" srcOrd="0" destOrd="0" presId="urn:microsoft.com/office/officeart/2005/8/layout/vList2"/>
    <dgm:cxn modelId="{EDDF6EA8-1AB5-4B4D-BFDE-33F5358383A4}" type="presParOf" srcId="{DDF3A48C-9044-4623-9CDC-0F23F895C60C}" destId="{243A05DC-3C79-4F85-8091-E770D7B8BE1C}" srcOrd="1" destOrd="0" presId="urn:microsoft.com/office/officeart/2005/8/layout/vList2"/>
    <dgm:cxn modelId="{C56A4E03-EA3D-4993-A3FD-11E2CCD2A4D2}" type="presParOf" srcId="{DDF3A48C-9044-4623-9CDC-0F23F895C60C}" destId="{8A8E48AC-E044-4373-91C2-A5EBBB4E8D5D}" srcOrd="2" destOrd="0" presId="urn:microsoft.com/office/officeart/2005/8/layout/vList2"/>
    <dgm:cxn modelId="{FE80356A-B135-4155-8341-301CCF192171}" type="presParOf" srcId="{DDF3A48C-9044-4623-9CDC-0F23F895C60C}" destId="{D9796843-2685-4002-815D-6B4869E1BB94}"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B35A029-B5B0-469E-AB39-8CABD215B099}" type="doc">
      <dgm:prSet loTypeId="urn:microsoft.com/office/officeart/2005/8/layout/equation1" loCatId="process" qsTypeId="urn:microsoft.com/office/officeart/2005/8/quickstyle/simple1" qsCatId="simple" csTypeId="urn:microsoft.com/office/officeart/2005/8/colors/colorful2" csCatId="colorful" phldr="1"/>
      <dgm:spPr/>
    </dgm:pt>
    <dgm:pt modelId="{D314815A-C099-4DFC-A019-7E3BC830CA88}">
      <dgm:prSet phldrT="[Text]"/>
      <dgm:spPr/>
      <dgm:t>
        <a:bodyPr/>
        <a:lstStyle/>
        <a:p>
          <a:r>
            <a:rPr lang="en-US">
              <a:latin typeface="Segoe UI Light" panose="020B0502040204020203" pitchFamily="34" charset="0"/>
              <a:cs typeface="Segoe UI Light" panose="020B0502040204020203" pitchFamily="34" charset="0"/>
            </a:rPr>
            <a:t>CPU Time (RUNNING)</a:t>
          </a:r>
          <a:endParaRPr lang="pt-PT">
            <a:latin typeface="Segoe UI Light" panose="020B0502040204020203" pitchFamily="34" charset="0"/>
            <a:cs typeface="Segoe UI Light" panose="020B0502040204020203" pitchFamily="34" charset="0"/>
          </a:endParaRPr>
        </a:p>
      </dgm:t>
    </dgm:pt>
    <dgm:pt modelId="{056B3F22-BF06-463C-95F0-406A106E0349}" type="parTrans" cxnId="{5E136964-2FFF-4A2C-A414-BD39E9C6601F}">
      <dgm:prSet/>
      <dgm:spPr/>
      <dgm:t>
        <a:bodyPr/>
        <a:lstStyle/>
        <a:p>
          <a:endParaRPr lang="pt-PT">
            <a:latin typeface="Segoe UI Light" panose="020B0502040204020203" pitchFamily="34" charset="0"/>
            <a:cs typeface="Segoe UI Light" panose="020B0502040204020203" pitchFamily="34" charset="0"/>
          </a:endParaRPr>
        </a:p>
      </dgm:t>
    </dgm:pt>
    <dgm:pt modelId="{70E3976A-575C-446D-8AAD-C4187B931A0A}" type="sibTrans" cxnId="{5E136964-2FFF-4A2C-A414-BD39E9C6601F}">
      <dgm:prSet/>
      <dgm:spPr/>
      <dgm:t>
        <a:bodyPr/>
        <a:lstStyle/>
        <a:p>
          <a:endParaRPr lang="pt-PT">
            <a:latin typeface="Segoe UI Light" panose="020B0502040204020203" pitchFamily="34" charset="0"/>
            <a:cs typeface="Segoe UI Light" panose="020B0502040204020203" pitchFamily="34" charset="0"/>
          </a:endParaRPr>
        </a:p>
      </dgm:t>
    </dgm:pt>
    <dgm:pt modelId="{6E821775-9F97-4722-9828-9CC231903B07}">
      <dgm:prSet phldrT="[Text]"/>
      <dgm:spPr/>
      <dgm:t>
        <a:bodyPr/>
        <a:lstStyle/>
        <a:p>
          <a:r>
            <a:rPr lang="pt-PT">
              <a:latin typeface="Segoe UI Light" panose="020B0502040204020203" pitchFamily="34" charset="0"/>
              <a:cs typeface="Segoe UI Light" panose="020B0502040204020203" pitchFamily="34" charset="0"/>
            </a:rPr>
            <a:t>Total Query Response Time</a:t>
          </a:r>
        </a:p>
      </dgm:t>
    </dgm:pt>
    <dgm:pt modelId="{70E05511-033F-4232-BE52-4C289F8A5EA0}" type="parTrans" cxnId="{F2502EE9-274F-413F-B879-47B13BEBDA79}">
      <dgm:prSet/>
      <dgm:spPr/>
      <dgm:t>
        <a:bodyPr/>
        <a:lstStyle/>
        <a:p>
          <a:endParaRPr lang="pt-PT">
            <a:latin typeface="Segoe UI Light" panose="020B0502040204020203" pitchFamily="34" charset="0"/>
            <a:cs typeface="Segoe UI Light" panose="020B0502040204020203" pitchFamily="34" charset="0"/>
          </a:endParaRPr>
        </a:p>
      </dgm:t>
    </dgm:pt>
    <dgm:pt modelId="{02FF7F3D-563E-4DBF-AE63-33ECBE6EA5AC}" type="sibTrans" cxnId="{F2502EE9-274F-413F-B879-47B13BEBDA79}">
      <dgm:prSet/>
      <dgm:spPr/>
      <dgm:t>
        <a:bodyPr/>
        <a:lstStyle/>
        <a:p>
          <a:endParaRPr lang="pt-PT">
            <a:latin typeface="Segoe UI Light" panose="020B0502040204020203" pitchFamily="34" charset="0"/>
            <a:cs typeface="Segoe UI Light" panose="020B0502040204020203" pitchFamily="34" charset="0"/>
          </a:endParaRPr>
        </a:p>
      </dgm:t>
    </dgm:pt>
    <dgm:pt modelId="{C93C4C6A-9402-45DE-A18A-BD144BF404B8}">
      <dgm:prSet phldrT="[Text]"/>
      <dgm:spPr/>
      <dgm:t>
        <a:bodyPr/>
        <a:lstStyle/>
        <a:p>
          <a:r>
            <a:rPr lang="en-US">
              <a:latin typeface="Segoe UI Light" panose="020B0502040204020203" pitchFamily="34" charset="0"/>
              <a:cs typeface="Segoe UI Light" panose="020B0502040204020203" pitchFamily="34" charset="0"/>
            </a:rPr>
            <a:t>Signal Wait Time (RUNNABLE)</a:t>
          </a:r>
          <a:endParaRPr lang="pt-PT">
            <a:latin typeface="Segoe UI Light" panose="020B0502040204020203" pitchFamily="34" charset="0"/>
            <a:cs typeface="Segoe UI Light" panose="020B0502040204020203" pitchFamily="34" charset="0"/>
          </a:endParaRPr>
        </a:p>
      </dgm:t>
    </dgm:pt>
    <dgm:pt modelId="{9867C768-687D-49C5-8400-7BEA31BCCD3A}" type="parTrans" cxnId="{381C370D-F00E-4779-81FC-0A5A6E898B01}">
      <dgm:prSet/>
      <dgm:spPr/>
      <dgm:t>
        <a:bodyPr/>
        <a:lstStyle/>
        <a:p>
          <a:endParaRPr lang="en-US"/>
        </a:p>
      </dgm:t>
    </dgm:pt>
    <dgm:pt modelId="{5A623CA4-550C-412F-9EF6-B065066EAABF}" type="sibTrans" cxnId="{381C370D-F00E-4779-81FC-0A5A6E898B01}">
      <dgm:prSet/>
      <dgm:spPr/>
      <dgm:t>
        <a:bodyPr/>
        <a:lstStyle/>
        <a:p>
          <a:endParaRPr lang="en-US"/>
        </a:p>
      </dgm:t>
    </dgm:pt>
    <dgm:pt modelId="{0781EDC9-B2A9-4D17-894E-C2B369D4771A}">
      <dgm:prSet phldrT="[Text]"/>
      <dgm:spPr/>
      <dgm:t>
        <a:bodyPr/>
        <a:lstStyle/>
        <a:p>
          <a:r>
            <a:rPr lang="en-US">
              <a:latin typeface="Segoe UI Light" panose="020B0502040204020203" pitchFamily="34" charset="0"/>
              <a:cs typeface="Segoe UI Light" panose="020B0502040204020203" pitchFamily="34" charset="0"/>
            </a:rPr>
            <a:t>Resource Wait Time (SUSPENDED)</a:t>
          </a:r>
          <a:endParaRPr lang="pt-PT">
            <a:latin typeface="Segoe UI Light" panose="020B0502040204020203" pitchFamily="34" charset="0"/>
            <a:cs typeface="Segoe UI Light" panose="020B0502040204020203" pitchFamily="34" charset="0"/>
          </a:endParaRPr>
        </a:p>
      </dgm:t>
    </dgm:pt>
    <dgm:pt modelId="{3E93F19D-2AA0-4533-B428-8E7AB7F767B3}" type="parTrans" cxnId="{C8E38A1A-F592-4925-A43C-FB1FF9AD2ED5}">
      <dgm:prSet/>
      <dgm:spPr/>
      <dgm:t>
        <a:bodyPr/>
        <a:lstStyle/>
        <a:p>
          <a:endParaRPr lang="en-US"/>
        </a:p>
      </dgm:t>
    </dgm:pt>
    <dgm:pt modelId="{D81E2ED9-E419-4AB8-8B97-711DDB59EB55}" type="sibTrans" cxnId="{C8E38A1A-F592-4925-A43C-FB1FF9AD2ED5}">
      <dgm:prSet/>
      <dgm:spPr/>
      <dgm:t>
        <a:bodyPr/>
        <a:lstStyle/>
        <a:p>
          <a:endParaRPr lang="en-US"/>
        </a:p>
      </dgm:t>
    </dgm:pt>
    <dgm:pt modelId="{263D1411-8B94-4BD3-86FE-2A81E0FA527D}" type="pres">
      <dgm:prSet presAssocID="{AB35A029-B5B0-469E-AB39-8CABD215B099}" presName="linearFlow" presStyleCnt="0">
        <dgm:presLayoutVars>
          <dgm:dir/>
          <dgm:resizeHandles val="exact"/>
        </dgm:presLayoutVars>
      </dgm:prSet>
      <dgm:spPr/>
    </dgm:pt>
    <dgm:pt modelId="{F0F50DC7-A385-4C3D-85E8-5A190CB72709}" type="pres">
      <dgm:prSet presAssocID="{D314815A-C099-4DFC-A019-7E3BC830CA88}" presName="node" presStyleLbl="node1" presStyleIdx="0" presStyleCnt="4">
        <dgm:presLayoutVars>
          <dgm:bulletEnabled val="1"/>
        </dgm:presLayoutVars>
      </dgm:prSet>
      <dgm:spPr/>
    </dgm:pt>
    <dgm:pt modelId="{9D909C93-961C-4D42-A56F-573BF303D3EB}" type="pres">
      <dgm:prSet presAssocID="{70E3976A-575C-446D-8AAD-C4187B931A0A}" presName="spacerL" presStyleCnt="0"/>
      <dgm:spPr/>
    </dgm:pt>
    <dgm:pt modelId="{6673E2C0-687C-4813-9CDF-C1D7AB877466}" type="pres">
      <dgm:prSet presAssocID="{70E3976A-575C-446D-8AAD-C4187B931A0A}" presName="sibTrans" presStyleLbl="sibTrans2D1" presStyleIdx="0" presStyleCnt="3"/>
      <dgm:spPr/>
    </dgm:pt>
    <dgm:pt modelId="{AAD7898C-5FD6-4578-A749-1FC8705C0B87}" type="pres">
      <dgm:prSet presAssocID="{70E3976A-575C-446D-8AAD-C4187B931A0A}" presName="spacerR" presStyleCnt="0"/>
      <dgm:spPr/>
    </dgm:pt>
    <dgm:pt modelId="{10CBBA21-79EB-41F6-B412-F391EAA0507A}" type="pres">
      <dgm:prSet presAssocID="{C93C4C6A-9402-45DE-A18A-BD144BF404B8}" presName="node" presStyleLbl="node1" presStyleIdx="1" presStyleCnt="4">
        <dgm:presLayoutVars>
          <dgm:bulletEnabled val="1"/>
        </dgm:presLayoutVars>
      </dgm:prSet>
      <dgm:spPr/>
    </dgm:pt>
    <dgm:pt modelId="{7DF48E54-3BD7-422B-B7D0-B15DBFC5ACB4}" type="pres">
      <dgm:prSet presAssocID="{5A623CA4-550C-412F-9EF6-B065066EAABF}" presName="spacerL" presStyleCnt="0"/>
      <dgm:spPr/>
    </dgm:pt>
    <dgm:pt modelId="{8B0DDA86-1B95-48DA-B6BA-3D7A249A161A}" type="pres">
      <dgm:prSet presAssocID="{5A623CA4-550C-412F-9EF6-B065066EAABF}" presName="sibTrans" presStyleLbl="sibTrans2D1" presStyleIdx="1" presStyleCnt="3"/>
      <dgm:spPr/>
    </dgm:pt>
    <dgm:pt modelId="{A6376049-2292-4B32-ABDC-EAF619E7D27C}" type="pres">
      <dgm:prSet presAssocID="{5A623CA4-550C-412F-9EF6-B065066EAABF}" presName="spacerR" presStyleCnt="0"/>
      <dgm:spPr/>
    </dgm:pt>
    <dgm:pt modelId="{8654DA70-295E-47B4-95D9-098230C9A89A}" type="pres">
      <dgm:prSet presAssocID="{0781EDC9-B2A9-4D17-894E-C2B369D4771A}" presName="node" presStyleLbl="node1" presStyleIdx="2" presStyleCnt="4">
        <dgm:presLayoutVars>
          <dgm:bulletEnabled val="1"/>
        </dgm:presLayoutVars>
      </dgm:prSet>
      <dgm:spPr/>
    </dgm:pt>
    <dgm:pt modelId="{D46D89DA-5BE8-4685-940C-3D53E21A4601}" type="pres">
      <dgm:prSet presAssocID="{D81E2ED9-E419-4AB8-8B97-711DDB59EB55}" presName="spacerL" presStyleCnt="0"/>
      <dgm:spPr/>
    </dgm:pt>
    <dgm:pt modelId="{46BABBF9-D006-443D-8111-5C6F404BF7AA}" type="pres">
      <dgm:prSet presAssocID="{D81E2ED9-E419-4AB8-8B97-711DDB59EB55}" presName="sibTrans" presStyleLbl="sibTrans2D1" presStyleIdx="2" presStyleCnt="3"/>
      <dgm:spPr/>
    </dgm:pt>
    <dgm:pt modelId="{79E14D49-221A-4119-A0CA-7F054AC847A2}" type="pres">
      <dgm:prSet presAssocID="{D81E2ED9-E419-4AB8-8B97-711DDB59EB55}" presName="spacerR" presStyleCnt="0"/>
      <dgm:spPr/>
    </dgm:pt>
    <dgm:pt modelId="{1E63E032-A34B-40F9-9996-7094989E1D20}" type="pres">
      <dgm:prSet presAssocID="{6E821775-9F97-4722-9828-9CC231903B07}" presName="node" presStyleLbl="node1" presStyleIdx="3" presStyleCnt="4">
        <dgm:presLayoutVars>
          <dgm:bulletEnabled val="1"/>
        </dgm:presLayoutVars>
      </dgm:prSet>
      <dgm:spPr/>
    </dgm:pt>
  </dgm:ptLst>
  <dgm:cxnLst>
    <dgm:cxn modelId="{CB007802-C416-40F2-A17B-4CCB9AEF29D2}" type="presOf" srcId="{AB35A029-B5B0-469E-AB39-8CABD215B099}" destId="{263D1411-8B94-4BD3-86FE-2A81E0FA527D}" srcOrd="0" destOrd="0" presId="urn:microsoft.com/office/officeart/2005/8/layout/equation1"/>
    <dgm:cxn modelId="{A6671A06-22E0-4CD8-800E-85E5983261AC}" type="presOf" srcId="{70E3976A-575C-446D-8AAD-C4187B931A0A}" destId="{6673E2C0-687C-4813-9CDF-C1D7AB877466}" srcOrd="0" destOrd="0" presId="urn:microsoft.com/office/officeart/2005/8/layout/equation1"/>
    <dgm:cxn modelId="{381C370D-F00E-4779-81FC-0A5A6E898B01}" srcId="{AB35A029-B5B0-469E-AB39-8CABD215B099}" destId="{C93C4C6A-9402-45DE-A18A-BD144BF404B8}" srcOrd="1" destOrd="0" parTransId="{9867C768-687D-49C5-8400-7BEA31BCCD3A}" sibTransId="{5A623CA4-550C-412F-9EF6-B065066EAABF}"/>
    <dgm:cxn modelId="{ACD5B518-8214-4ACE-92F5-2106E579D1B7}" type="presOf" srcId="{5A623CA4-550C-412F-9EF6-B065066EAABF}" destId="{8B0DDA86-1B95-48DA-B6BA-3D7A249A161A}" srcOrd="0" destOrd="0" presId="urn:microsoft.com/office/officeart/2005/8/layout/equation1"/>
    <dgm:cxn modelId="{C8E38A1A-F592-4925-A43C-FB1FF9AD2ED5}" srcId="{AB35A029-B5B0-469E-AB39-8CABD215B099}" destId="{0781EDC9-B2A9-4D17-894E-C2B369D4771A}" srcOrd="2" destOrd="0" parTransId="{3E93F19D-2AA0-4533-B428-8E7AB7F767B3}" sibTransId="{D81E2ED9-E419-4AB8-8B97-711DDB59EB55}"/>
    <dgm:cxn modelId="{F2A91F1F-1368-465A-8C77-0525252E7408}" type="presOf" srcId="{0781EDC9-B2A9-4D17-894E-C2B369D4771A}" destId="{8654DA70-295E-47B4-95D9-098230C9A89A}" srcOrd="0" destOrd="0" presId="urn:microsoft.com/office/officeart/2005/8/layout/equation1"/>
    <dgm:cxn modelId="{21A20A61-6861-48D7-8C53-F96CA262C5BC}" type="presOf" srcId="{D81E2ED9-E419-4AB8-8B97-711DDB59EB55}" destId="{46BABBF9-D006-443D-8111-5C6F404BF7AA}" srcOrd="0" destOrd="0" presId="urn:microsoft.com/office/officeart/2005/8/layout/equation1"/>
    <dgm:cxn modelId="{A1FC5263-6F79-4A71-8D7B-91C3CC177824}" type="presOf" srcId="{D314815A-C099-4DFC-A019-7E3BC830CA88}" destId="{F0F50DC7-A385-4C3D-85E8-5A190CB72709}" srcOrd="0" destOrd="0" presId="urn:microsoft.com/office/officeart/2005/8/layout/equation1"/>
    <dgm:cxn modelId="{5E136964-2FFF-4A2C-A414-BD39E9C6601F}" srcId="{AB35A029-B5B0-469E-AB39-8CABD215B099}" destId="{D314815A-C099-4DFC-A019-7E3BC830CA88}" srcOrd="0" destOrd="0" parTransId="{056B3F22-BF06-463C-95F0-406A106E0349}" sibTransId="{70E3976A-575C-446D-8AAD-C4187B931A0A}"/>
    <dgm:cxn modelId="{015833A1-A4D1-454A-BFEB-712BE11827AA}" type="presOf" srcId="{C93C4C6A-9402-45DE-A18A-BD144BF404B8}" destId="{10CBBA21-79EB-41F6-B412-F391EAA0507A}" srcOrd="0" destOrd="0" presId="urn:microsoft.com/office/officeart/2005/8/layout/equation1"/>
    <dgm:cxn modelId="{FF09D0E2-2736-43F0-B1F6-2E79A86D1560}" type="presOf" srcId="{6E821775-9F97-4722-9828-9CC231903B07}" destId="{1E63E032-A34B-40F9-9996-7094989E1D20}" srcOrd="0" destOrd="0" presId="urn:microsoft.com/office/officeart/2005/8/layout/equation1"/>
    <dgm:cxn modelId="{F2502EE9-274F-413F-B879-47B13BEBDA79}" srcId="{AB35A029-B5B0-469E-AB39-8CABD215B099}" destId="{6E821775-9F97-4722-9828-9CC231903B07}" srcOrd="3" destOrd="0" parTransId="{70E05511-033F-4232-BE52-4C289F8A5EA0}" sibTransId="{02FF7F3D-563E-4DBF-AE63-33ECBE6EA5AC}"/>
    <dgm:cxn modelId="{7F2D2C44-CB2B-4048-BDF4-EF71EFD2069C}" type="presParOf" srcId="{263D1411-8B94-4BD3-86FE-2A81E0FA527D}" destId="{F0F50DC7-A385-4C3D-85E8-5A190CB72709}" srcOrd="0" destOrd="0" presId="urn:microsoft.com/office/officeart/2005/8/layout/equation1"/>
    <dgm:cxn modelId="{103E8CCA-F962-450E-A304-762A4334EC6D}" type="presParOf" srcId="{263D1411-8B94-4BD3-86FE-2A81E0FA527D}" destId="{9D909C93-961C-4D42-A56F-573BF303D3EB}" srcOrd="1" destOrd="0" presId="urn:microsoft.com/office/officeart/2005/8/layout/equation1"/>
    <dgm:cxn modelId="{D31B2CBA-534E-456A-BBC4-EC6215831690}" type="presParOf" srcId="{263D1411-8B94-4BD3-86FE-2A81E0FA527D}" destId="{6673E2C0-687C-4813-9CDF-C1D7AB877466}" srcOrd="2" destOrd="0" presId="urn:microsoft.com/office/officeart/2005/8/layout/equation1"/>
    <dgm:cxn modelId="{DC82742D-4EC2-42AE-861E-AFE2CACDB7A8}" type="presParOf" srcId="{263D1411-8B94-4BD3-86FE-2A81E0FA527D}" destId="{AAD7898C-5FD6-4578-A749-1FC8705C0B87}" srcOrd="3" destOrd="0" presId="urn:microsoft.com/office/officeart/2005/8/layout/equation1"/>
    <dgm:cxn modelId="{880364C0-B8EE-4CA2-BBF9-4ED105743CC9}" type="presParOf" srcId="{263D1411-8B94-4BD3-86FE-2A81E0FA527D}" destId="{10CBBA21-79EB-41F6-B412-F391EAA0507A}" srcOrd="4" destOrd="0" presId="urn:microsoft.com/office/officeart/2005/8/layout/equation1"/>
    <dgm:cxn modelId="{605F09AF-6F1F-439F-A9BE-56126684B4CC}" type="presParOf" srcId="{263D1411-8B94-4BD3-86FE-2A81E0FA527D}" destId="{7DF48E54-3BD7-422B-B7D0-B15DBFC5ACB4}" srcOrd="5" destOrd="0" presId="urn:microsoft.com/office/officeart/2005/8/layout/equation1"/>
    <dgm:cxn modelId="{8DE0BBA8-9999-4A40-8E72-D127F2EF6273}" type="presParOf" srcId="{263D1411-8B94-4BD3-86FE-2A81E0FA527D}" destId="{8B0DDA86-1B95-48DA-B6BA-3D7A249A161A}" srcOrd="6" destOrd="0" presId="urn:microsoft.com/office/officeart/2005/8/layout/equation1"/>
    <dgm:cxn modelId="{CD6BAFFC-A9B0-41DA-88B5-A0F554764567}" type="presParOf" srcId="{263D1411-8B94-4BD3-86FE-2A81E0FA527D}" destId="{A6376049-2292-4B32-ABDC-EAF619E7D27C}" srcOrd="7" destOrd="0" presId="urn:microsoft.com/office/officeart/2005/8/layout/equation1"/>
    <dgm:cxn modelId="{E2492B6E-2F81-442E-84F2-C95AFB0F8830}" type="presParOf" srcId="{263D1411-8B94-4BD3-86FE-2A81E0FA527D}" destId="{8654DA70-295E-47B4-95D9-098230C9A89A}" srcOrd="8" destOrd="0" presId="urn:microsoft.com/office/officeart/2005/8/layout/equation1"/>
    <dgm:cxn modelId="{B561FD97-1D72-4BB0-A57E-6BFEFC64AECD}" type="presParOf" srcId="{263D1411-8B94-4BD3-86FE-2A81E0FA527D}" destId="{D46D89DA-5BE8-4685-940C-3D53E21A4601}" srcOrd="9" destOrd="0" presId="urn:microsoft.com/office/officeart/2005/8/layout/equation1"/>
    <dgm:cxn modelId="{784EB207-23E9-4902-B058-39923F29008C}" type="presParOf" srcId="{263D1411-8B94-4BD3-86FE-2A81E0FA527D}" destId="{46BABBF9-D006-443D-8111-5C6F404BF7AA}" srcOrd="10" destOrd="0" presId="urn:microsoft.com/office/officeart/2005/8/layout/equation1"/>
    <dgm:cxn modelId="{2FFB14CB-1874-41D4-BDDC-8B5931450C93}" type="presParOf" srcId="{263D1411-8B94-4BD3-86FE-2A81E0FA527D}" destId="{79E14D49-221A-4119-A0CA-7F054AC847A2}" srcOrd="11" destOrd="0" presId="urn:microsoft.com/office/officeart/2005/8/layout/equation1"/>
    <dgm:cxn modelId="{0D1D8947-69ED-42CB-A1C4-A92AFE56906C}" type="presParOf" srcId="{263D1411-8B94-4BD3-86FE-2A81E0FA527D}" destId="{1E63E032-A34B-40F9-9996-7094989E1D20}" srcOrd="12" destOrd="0" presId="urn:microsoft.com/office/officeart/2005/8/layout/equati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A76FF16-3CDD-45E1-8DF8-C4BAB716911A}"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8331A5FE-0937-42BB-851A-E401D04790A0}">
      <dgm:prSet/>
      <dgm:spPr/>
      <dgm:t>
        <a:bodyPr/>
        <a:lstStyle/>
        <a:p>
          <a:r>
            <a:rPr lang="en-US" b="1" dirty="0"/>
            <a:t>Automatic</a:t>
          </a:r>
          <a:r>
            <a:rPr lang="en-US" dirty="0"/>
            <a:t> (default) – Database engine issues checkpoints automatically based on the server level “recovery interval” configuration option</a:t>
          </a:r>
        </a:p>
      </dgm:t>
    </dgm:pt>
    <dgm:pt modelId="{7F8F6BC6-D92A-4837-9A29-D783F2B70E20}" type="parTrans" cxnId="{0463552D-DF9C-439B-9B12-2AF5F55222A0}">
      <dgm:prSet/>
      <dgm:spPr/>
      <dgm:t>
        <a:bodyPr/>
        <a:lstStyle/>
        <a:p>
          <a:endParaRPr lang="en-US"/>
        </a:p>
      </dgm:t>
    </dgm:pt>
    <dgm:pt modelId="{76E07976-7831-4731-929D-024828E83D62}" type="sibTrans" cxnId="{0463552D-DF9C-439B-9B12-2AF5F55222A0}">
      <dgm:prSet/>
      <dgm:spPr/>
      <dgm:t>
        <a:bodyPr/>
        <a:lstStyle/>
        <a:p>
          <a:endParaRPr lang="en-US"/>
        </a:p>
      </dgm:t>
    </dgm:pt>
    <dgm:pt modelId="{07068F90-6DC6-4275-86B5-AD0B1F2F97CD}">
      <dgm:prSet/>
      <dgm:spPr/>
      <dgm:t>
        <a:bodyPr/>
        <a:lstStyle/>
        <a:p>
          <a:r>
            <a:rPr lang="en-US" b="1" dirty="0"/>
            <a:t>Indirect</a:t>
          </a:r>
          <a:r>
            <a:rPr lang="en-US" dirty="0"/>
            <a:t> (new in SQL Server 2012) – Database engine issues checkpoints automatically based on the database level TARGET_RECOVERY_TIME</a:t>
          </a:r>
        </a:p>
      </dgm:t>
    </dgm:pt>
    <dgm:pt modelId="{8C6C121B-8B4B-4819-92A2-26BC2F527871}" type="parTrans" cxnId="{84E0CB70-D351-414D-9723-98EA6DA6A624}">
      <dgm:prSet/>
      <dgm:spPr/>
      <dgm:t>
        <a:bodyPr/>
        <a:lstStyle/>
        <a:p>
          <a:endParaRPr lang="en-US"/>
        </a:p>
      </dgm:t>
    </dgm:pt>
    <dgm:pt modelId="{BC7406FE-8270-4AA2-83FF-523B07F1DBCC}" type="sibTrans" cxnId="{84E0CB70-D351-414D-9723-98EA6DA6A624}">
      <dgm:prSet/>
      <dgm:spPr/>
      <dgm:t>
        <a:bodyPr/>
        <a:lstStyle/>
        <a:p>
          <a:endParaRPr lang="en-US"/>
        </a:p>
      </dgm:t>
    </dgm:pt>
    <dgm:pt modelId="{84972595-1857-402E-BD44-B8C9E1048B0D}">
      <dgm:prSet/>
      <dgm:spPr/>
      <dgm:t>
        <a:bodyPr/>
        <a:lstStyle/>
        <a:p>
          <a:r>
            <a:rPr lang="en-US" b="1" dirty="0"/>
            <a:t>Manual</a:t>
          </a:r>
          <a:r>
            <a:rPr lang="en-US" dirty="0"/>
            <a:t> – Issued in the current database for your connection when you execute the T-SQL CHECKPOINT command</a:t>
          </a:r>
        </a:p>
      </dgm:t>
    </dgm:pt>
    <dgm:pt modelId="{6083E805-0CEA-4EE2-88FA-A1DA7D185C48}" type="parTrans" cxnId="{AE153EBE-1E72-439D-AC89-BB092D822061}">
      <dgm:prSet/>
      <dgm:spPr/>
      <dgm:t>
        <a:bodyPr/>
        <a:lstStyle/>
        <a:p>
          <a:endParaRPr lang="en-US"/>
        </a:p>
      </dgm:t>
    </dgm:pt>
    <dgm:pt modelId="{DC09C0A9-E77E-40EF-9573-05045BBBDB52}" type="sibTrans" cxnId="{AE153EBE-1E72-439D-AC89-BB092D822061}">
      <dgm:prSet/>
      <dgm:spPr/>
      <dgm:t>
        <a:bodyPr/>
        <a:lstStyle/>
        <a:p>
          <a:endParaRPr lang="en-US"/>
        </a:p>
      </dgm:t>
    </dgm:pt>
    <dgm:pt modelId="{DAE9F991-6572-4F64-B7F1-F31BB10A008E}">
      <dgm:prSet/>
      <dgm:spPr/>
      <dgm:t>
        <a:bodyPr/>
        <a:lstStyle/>
        <a:p>
          <a:r>
            <a:rPr lang="en-US" b="1" dirty="0"/>
            <a:t>Internal</a:t>
          </a:r>
          <a:r>
            <a:rPr lang="en-US" dirty="0"/>
            <a:t> – Issued by various server operations</a:t>
          </a:r>
        </a:p>
      </dgm:t>
    </dgm:pt>
    <dgm:pt modelId="{C169FDEF-938C-43DE-82A2-485D02FCE2B2}" type="parTrans" cxnId="{B2CAB1F5-8DA5-42C9-8F63-033F9BDB1CCD}">
      <dgm:prSet/>
      <dgm:spPr/>
      <dgm:t>
        <a:bodyPr/>
        <a:lstStyle/>
        <a:p>
          <a:endParaRPr lang="en-US"/>
        </a:p>
      </dgm:t>
    </dgm:pt>
    <dgm:pt modelId="{8DC1791F-043B-4AF5-A2E2-460168006F09}" type="sibTrans" cxnId="{B2CAB1F5-8DA5-42C9-8F63-033F9BDB1CCD}">
      <dgm:prSet/>
      <dgm:spPr/>
      <dgm:t>
        <a:bodyPr/>
        <a:lstStyle/>
        <a:p>
          <a:endParaRPr lang="en-US"/>
        </a:p>
      </dgm:t>
    </dgm:pt>
    <dgm:pt modelId="{392FA100-3E91-4BDC-A0DF-3845E8635450}">
      <dgm:prSet/>
      <dgm:spPr/>
      <dgm:t>
        <a:bodyPr/>
        <a:lstStyle/>
        <a:p>
          <a:endParaRPr lang="en-US" dirty="0"/>
        </a:p>
      </dgm:t>
    </dgm:pt>
    <dgm:pt modelId="{EC22291B-37D6-41CE-9AE5-D5F85AF5A51D}" type="parTrans" cxnId="{87EC574C-C0B4-464C-8921-363C31C64BB7}">
      <dgm:prSet/>
      <dgm:spPr/>
      <dgm:t>
        <a:bodyPr/>
        <a:lstStyle/>
        <a:p>
          <a:endParaRPr lang="en-US"/>
        </a:p>
      </dgm:t>
    </dgm:pt>
    <dgm:pt modelId="{886690BB-8C8A-4DE6-AC01-8CC0366CF4F5}" type="sibTrans" cxnId="{87EC574C-C0B4-464C-8921-363C31C64BB7}">
      <dgm:prSet/>
      <dgm:spPr/>
      <dgm:t>
        <a:bodyPr/>
        <a:lstStyle/>
        <a:p>
          <a:endParaRPr lang="en-US"/>
        </a:p>
      </dgm:t>
    </dgm:pt>
    <dgm:pt modelId="{3820659C-B5E1-4CED-B38B-50A98050BED8}" type="pres">
      <dgm:prSet presAssocID="{4A76FF16-3CDD-45E1-8DF8-C4BAB716911A}" presName="linear" presStyleCnt="0">
        <dgm:presLayoutVars>
          <dgm:animLvl val="lvl"/>
          <dgm:resizeHandles val="exact"/>
        </dgm:presLayoutVars>
      </dgm:prSet>
      <dgm:spPr/>
    </dgm:pt>
    <dgm:pt modelId="{96A805E4-2107-49A3-BD77-3C70BA121985}" type="pres">
      <dgm:prSet presAssocID="{8331A5FE-0937-42BB-851A-E401D04790A0}" presName="parentText" presStyleLbl="node1" presStyleIdx="0" presStyleCnt="4">
        <dgm:presLayoutVars>
          <dgm:chMax val="0"/>
          <dgm:bulletEnabled val="1"/>
        </dgm:presLayoutVars>
      </dgm:prSet>
      <dgm:spPr/>
    </dgm:pt>
    <dgm:pt modelId="{66A61B0C-287D-406D-B09A-80E4C31EC81E}" type="pres">
      <dgm:prSet presAssocID="{76E07976-7831-4731-929D-024828E83D62}" presName="spacer" presStyleCnt="0"/>
      <dgm:spPr/>
    </dgm:pt>
    <dgm:pt modelId="{95DD3C3F-6913-4DF8-BA60-D5B77EE51AD0}" type="pres">
      <dgm:prSet presAssocID="{07068F90-6DC6-4275-86B5-AD0B1F2F97CD}" presName="parentText" presStyleLbl="node1" presStyleIdx="1" presStyleCnt="4">
        <dgm:presLayoutVars>
          <dgm:chMax val="0"/>
          <dgm:bulletEnabled val="1"/>
        </dgm:presLayoutVars>
      </dgm:prSet>
      <dgm:spPr/>
    </dgm:pt>
    <dgm:pt modelId="{AE6B6D19-C792-4D73-A9A4-722404BFC6F5}" type="pres">
      <dgm:prSet presAssocID="{07068F90-6DC6-4275-86B5-AD0B1F2F97CD}" presName="childText" presStyleLbl="revTx" presStyleIdx="0" presStyleCnt="1">
        <dgm:presLayoutVars>
          <dgm:bulletEnabled val="1"/>
        </dgm:presLayoutVars>
      </dgm:prSet>
      <dgm:spPr/>
    </dgm:pt>
    <dgm:pt modelId="{191229E1-A669-4C80-929D-90658F54B41C}" type="pres">
      <dgm:prSet presAssocID="{84972595-1857-402E-BD44-B8C9E1048B0D}" presName="parentText" presStyleLbl="node1" presStyleIdx="2" presStyleCnt="4">
        <dgm:presLayoutVars>
          <dgm:chMax val="0"/>
          <dgm:bulletEnabled val="1"/>
        </dgm:presLayoutVars>
      </dgm:prSet>
      <dgm:spPr/>
    </dgm:pt>
    <dgm:pt modelId="{82797555-CE34-4620-A414-A0D7DDE0ADDA}" type="pres">
      <dgm:prSet presAssocID="{DC09C0A9-E77E-40EF-9573-05045BBBDB52}" presName="spacer" presStyleCnt="0"/>
      <dgm:spPr/>
    </dgm:pt>
    <dgm:pt modelId="{9FB0B889-7813-4D35-8556-384C3E45CE9B}" type="pres">
      <dgm:prSet presAssocID="{DAE9F991-6572-4F64-B7F1-F31BB10A008E}" presName="parentText" presStyleLbl="node1" presStyleIdx="3" presStyleCnt="4">
        <dgm:presLayoutVars>
          <dgm:chMax val="0"/>
          <dgm:bulletEnabled val="1"/>
        </dgm:presLayoutVars>
      </dgm:prSet>
      <dgm:spPr/>
    </dgm:pt>
  </dgm:ptLst>
  <dgm:cxnLst>
    <dgm:cxn modelId="{1CE7B80E-DB07-49E4-A0DF-44AD0570221A}" type="presOf" srcId="{84972595-1857-402E-BD44-B8C9E1048B0D}" destId="{191229E1-A669-4C80-929D-90658F54B41C}" srcOrd="0" destOrd="0" presId="urn:microsoft.com/office/officeart/2005/8/layout/vList2"/>
    <dgm:cxn modelId="{0463552D-DF9C-439B-9B12-2AF5F55222A0}" srcId="{4A76FF16-3CDD-45E1-8DF8-C4BAB716911A}" destId="{8331A5FE-0937-42BB-851A-E401D04790A0}" srcOrd="0" destOrd="0" parTransId="{7F8F6BC6-D92A-4837-9A29-D783F2B70E20}" sibTransId="{76E07976-7831-4731-929D-024828E83D62}"/>
    <dgm:cxn modelId="{A9D02C3E-7BB6-45C6-BFAC-8DF6888523D0}" type="presOf" srcId="{4A76FF16-3CDD-45E1-8DF8-C4BAB716911A}" destId="{3820659C-B5E1-4CED-B38B-50A98050BED8}" srcOrd="0" destOrd="0" presId="urn:microsoft.com/office/officeart/2005/8/layout/vList2"/>
    <dgm:cxn modelId="{87EC574C-C0B4-464C-8921-363C31C64BB7}" srcId="{07068F90-6DC6-4275-86B5-AD0B1F2F97CD}" destId="{392FA100-3E91-4BDC-A0DF-3845E8635450}" srcOrd="0" destOrd="0" parTransId="{EC22291B-37D6-41CE-9AE5-D5F85AF5A51D}" sibTransId="{886690BB-8C8A-4DE6-AC01-8CC0366CF4F5}"/>
    <dgm:cxn modelId="{84E0CB70-D351-414D-9723-98EA6DA6A624}" srcId="{4A76FF16-3CDD-45E1-8DF8-C4BAB716911A}" destId="{07068F90-6DC6-4275-86B5-AD0B1F2F97CD}" srcOrd="1" destOrd="0" parTransId="{8C6C121B-8B4B-4819-92A2-26BC2F527871}" sibTransId="{BC7406FE-8270-4AA2-83FF-523B07F1DBCC}"/>
    <dgm:cxn modelId="{670D528B-6B17-4A61-ACD3-6C26F5CBE42D}" type="presOf" srcId="{DAE9F991-6572-4F64-B7F1-F31BB10A008E}" destId="{9FB0B889-7813-4D35-8556-384C3E45CE9B}" srcOrd="0" destOrd="0" presId="urn:microsoft.com/office/officeart/2005/8/layout/vList2"/>
    <dgm:cxn modelId="{82898FA6-05F9-45CF-9A82-8D084FECD12B}" type="presOf" srcId="{8331A5FE-0937-42BB-851A-E401D04790A0}" destId="{96A805E4-2107-49A3-BD77-3C70BA121985}" srcOrd="0" destOrd="0" presId="urn:microsoft.com/office/officeart/2005/8/layout/vList2"/>
    <dgm:cxn modelId="{AE153EBE-1E72-439D-AC89-BB092D822061}" srcId="{4A76FF16-3CDD-45E1-8DF8-C4BAB716911A}" destId="{84972595-1857-402E-BD44-B8C9E1048B0D}" srcOrd="2" destOrd="0" parTransId="{6083E805-0CEA-4EE2-88FA-A1DA7D185C48}" sibTransId="{DC09C0A9-E77E-40EF-9573-05045BBBDB52}"/>
    <dgm:cxn modelId="{23FC29C1-54EB-45E6-B723-3FF4BDECE12B}" type="presOf" srcId="{07068F90-6DC6-4275-86B5-AD0B1F2F97CD}" destId="{95DD3C3F-6913-4DF8-BA60-D5B77EE51AD0}" srcOrd="0" destOrd="0" presId="urn:microsoft.com/office/officeart/2005/8/layout/vList2"/>
    <dgm:cxn modelId="{367798ED-FE6C-4FDB-8763-1ABC1B03B6E2}" type="presOf" srcId="{392FA100-3E91-4BDC-A0DF-3845E8635450}" destId="{AE6B6D19-C792-4D73-A9A4-722404BFC6F5}" srcOrd="0" destOrd="0" presId="urn:microsoft.com/office/officeart/2005/8/layout/vList2"/>
    <dgm:cxn modelId="{B2CAB1F5-8DA5-42C9-8F63-033F9BDB1CCD}" srcId="{4A76FF16-3CDD-45E1-8DF8-C4BAB716911A}" destId="{DAE9F991-6572-4F64-B7F1-F31BB10A008E}" srcOrd="3" destOrd="0" parTransId="{C169FDEF-938C-43DE-82A2-485D02FCE2B2}" sibTransId="{8DC1791F-043B-4AF5-A2E2-460168006F09}"/>
    <dgm:cxn modelId="{359789AC-BFCB-4AAC-8C2E-70956790FF24}" type="presParOf" srcId="{3820659C-B5E1-4CED-B38B-50A98050BED8}" destId="{96A805E4-2107-49A3-BD77-3C70BA121985}" srcOrd="0" destOrd="0" presId="urn:microsoft.com/office/officeart/2005/8/layout/vList2"/>
    <dgm:cxn modelId="{3189B42B-28E2-4B56-9ED6-A8A97A2535CC}" type="presParOf" srcId="{3820659C-B5E1-4CED-B38B-50A98050BED8}" destId="{66A61B0C-287D-406D-B09A-80E4C31EC81E}" srcOrd="1" destOrd="0" presId="urn:microsoft.com/office/officeart/2005/8/layout/vList2"/>
    <dgm:cxn modelId="{656C0CF3-B50E-4932-90A8-DE29A5C25EF1}" type="presParOf" srcId="{3820659C-B5E1-4CED-B38B-50A98050BED8}" destId="{95DD3C3F-6913-4DF8-BA60-D5B77EE51AD0}" srcOrd="2" destOrd="0" presId="urn:microsoft.com/office/officeart/2005/8/layout/vList2"/>
    <dgm:cxn modelId="{5CB37221-B3D6-4E0E-B648-93A9A2D99065}" type="presParOf" srcId="{3820659C-B5E1-4CED-B38B-50A98050BED8}" destId="{AE6B6D19-C792-4D73-A9A4-722404BFC6F5}" srcOrd="3" destOrd="0" presId="urn:microsoft.com/office/officeart/2005/8/layout/vList2"/>
    <dgm:cxn modelId="{C4205696-68F4-4D3C-B5A3-BBB2C7AA33F1}" type="presParOf" srcId="{3820659C-B5E1-4CED-B38B-50A98050BED8}" destId="{191229E1-A669-4C80-929D-90658F54B41C}" srcOrd="4" destOrd="0" presId="urn:microsoft.com/office/officeart/2005/8/layout/vList2"/>
    <dgm:cxn modelId="{0FF9D968-C090-4DAC-B8B8-8B4014310394}" type="presParOf" srcId="{3820659C-B5E1-4CED-B38B-50A98050BED8}" destId="{82797555-CE34-4620-A414-A0D7DDE0ADDA}" srcOrd="5" destOrd="0" presId="urn:microsoft.com/office/officeart/2005/8/layout/vList2"/>
    <dgm:cxn modelId="{A75CD7C7-6244-427E-80F7-7FCDD216B920}" type="presParOf" srcId="{3820659C-B5E1-4CED-B38B-50A98050BED8}" destId="{9FB0B889-7813-4D35-8556-384C3E45CE9B}"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29D93E8-E5D7-4F8E-99CB-D9A6C5415546}"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F9EF8A99-18FC-4CCB-9181-4D44D379DC87}">
      <dgm:prSet/>
      <dgm:spPr/>
      <dgm:t>
        <a:bodyPr/>
        <a:lstStyle/>
        <a:p>
          <a:r>
            <a:rPr lang="en-US" baseline="0" dirty="0"/>
            <a:t>A data page is the fundamental unit of data storage in SQL Server.</a:t>
          </a:r>
          <a:endParaRPr lang="en-US" dirty="0"/>
        </a:p>
      </dgm:t>
    </dgm:pt>
    <dgm:pt modelId="{14BD4039-EEF0-4D85-AB36-01F9540BA69A}" type="parTrans" cxnId="{4D1AF5AC-24AE-44C8-93D5-E50D164D1B30}">
      <dgm:prSet/>
      <dgm:spPr/>
      <dgm:t>
        <a:bodyPr/>
        <a:lstStyle/>
        <a:p>
          <a:endParaRPr lang="en-US"/>
        </a:p>
      </dgm:t>
    </dgm:pt>
    <dgm:pt modelId="{ABD79CF5-4008-495C-8CAA-22736D2574A4}" type="sibTrans" cxnId="{4D1AF5AC-24AE-44C8-93D5-E50D164D1B30}">
      <dgm:prSet/>
      <dgm:spPr/>
      <dgm:t>
        <a:bodyPr/>
        <a:lstStyle/>
        <a:p>
          <a:endParaRPr lang="en-US"/>
        </a:p>
      </dgm:t>
    </dgm:pt>
    <dgm:pt modelId="{DEF4B9F8-4D87-428D-8AF0-6A8365B1B7FD}">
      <dgm:prSet/>
      <dgm:spPr/>
      <dgm:t>
        <a:bodyPr/>
        <a:lstStyle/>
        <a:p>
          <a:r>
            <a:rPr lang="en-US" baseline="0"/>
            <a:t>The disk space allocated to a data file (.mdf or .ndf) is logically divided into pages.</a:t>
          </a:r>
          <a:endParaRPr lang="en-US"/>
        </a:p>
      </dgm:t>
    </dgm:pt>
    <dgm:pt modelId="{640ECEFD-6503-4F20-8220-D1A9F695AE7A}" type="parTrans" cxnId="{575923CF-9BFD-4DE8-BC0C-C901E9B493CC}">
      <dgm:prSet/>
      <dgm:spPr/>
      <dgm:t>
        <a:bodyPr/>
        <a:lstStyle/>
        <a:p>
          <a:endParaRPr lang="en-US"/>
        </a:p>
      </dgm:t>
    </dgm:pt>
    <dgm:pt modelId="{C68A7289-EBCC-4F60-8980-A6750656FE11}" type="sibTrans" cxnId="{575923CF-9BFD-4DE8-BC0C-C901E9B493CC}">
      <dgm:prSet/>
      <dgm:spPr/>
      <dgm:t>
        <a:bodyPr/>
        <a:lstStyle/>
        <a:p>
          <a:endParaRPr lang="en-US"/>
        </a:p>
      </dgm:t>
    </dgm:pt>
    <dgm:pt modelId="{3F544BC3-618C-4131-8BD9-F8B7F5BE517A}">
      <dgm:prSet/>
      <dgm:spPr/>
      <dgm:t>
        <a:bodyPr/>
        <a:lstStyle/>
        <a:p>
          <a:r>
            <a:rPr lang="en-US" baseline="0"/>
            <a:t>Each page is 8 KB in size</a:t>
          </a:r>
          <a:endParaRPr lang="en-US"/>
        </a:p>
      </dgm:t>
    </dgm:pt>
    <dgm:pt modelId="{A8A24A74-0635-48C5-845D-4D3067374116}" type="parTrans" cxnId="{569D8073-6E48-45E1-A62D-A6AE389FEFFD}">
      <dgm:prSet/>
      <dgm:spPr/>
      <dgm:t>
        <a:bodyPr/>
        <a:lstStyle/>
        <a:p>
          <a:endParaRPr lang="en-US"/>
        </a:p>
      </dgm:t>
    </dgm:pt>
    <dgm:pt modelId="{AF328828-6E0F-4520-B74A-6DC9213BC8E8}" type="sibTrans" cxnId="{569D8073-6E48-45E1-A62D-A6AE389FEFFD}">
      <dgm:prSet/>
      <dgm:spPr/>
      <dgm:t>
        <a:bodyPr/>
        <a:lstStyle/>
        <a:p>
          <a:endParaRPr lang="en-US"/>
        </a:p>
      </dgm:t>
    </dgm:pt>
    <dgm:pt modelId="{AEE3908D-BB68-4C20-BCC0-1357C6F4AB3C}">
      <dgm:prSet/>
      <dgm:spPr/>
      <dgm:t>
        <a:bodyPr/>
        <a:lstStyle/>
        <a:p>
          <a:r>
            <a:rPr lang="en-US" baseline="0"/>
            <a:t>Pages are numbered contiguously from 0 to n. </a:t>
          </a:r>
          <a:endParaRPr lang="en-US"/>
        </a:p>
      </dgm:t>
    </dgm:pt>
    <dgm:pt modelId="{DA56CE51-55F0-4766-B3F6-E44295E4571D}" type="parTrans" cxnId="{1D413A74-A4A4-482A-988A-C76B027D936C}">
      <dgm:prSet/>
      <dgm:spPr/>
      <dgm:t>
        <a:bodyPr/>
        <a:lstStyle/>
        <a:p>
          <a:endParaRPr lang="en-US"/>
        </a:p>
      </dgm:t>
    </dgm:pt>
    <dgm:pt modelId="{FDEB6DB6-70AB-4BF2-A551-18A7451FC132}" type="sibTrans" cxnId="{1D413A74-A4A4-482A-988A-C76B027D936C}">
      <dgm:prSet/>
      <dgm:spPr/>
      <dgm:t>
        <a:bodyPr/>
        <a:lstStyle/>
        <a:p>
          <a:endParaRPr lang="en-US"/>
        </a:p>
      </dgm:t>
    </dgm:pt>
    <dgm:pt modelId="{6F00449F-1269-4D42-8F1D-9AB12C705CD2}">
      <dgm:prSet/>
      <dgm:spPr/>
      <dgm:t>
        <a:bodyPr/>
        <a:lstStyle/>
        <a:p>
          <a:r>
            <a:rPr lang="en-US" baseline="0"/>
            <a:t>Disk I/O operations are performed at the page level.</a:t>
          </a:r>
          <a:endParaRPr lang="en-US"/>
        </a:p>
      </dgm:t>
    </dgm:pt>
    <dgm:pt modelId="{687EFFB1-887A-4D9D-ABD5-AD50097D96DA}" type="parTrans" cxnId="{61B66761-1F3E-4F8A-86D9-E1087D477129}">
      <dgm:prSet/>
      <dgm:spPr/>
      <dgm:t>
        <a:bodyPr/>
        <a:lstStyle/>
        <a:p>
          <a:endParaRPr lang="en-US"/>
        </a:p>
      </dgm:t>
    </dgm:pt>
    <dgm:pt modelId="{ED7C89E6-CEC2-4368-AF72-4B0CBA0D5AB1}" type="sibTrans" cxnId="{61B66761-1F3E-4F8A-86D9-E1087D477129}">
      <dgm:prSet/>
      <dgm:spPr/>
      <dgm:t>
        <a:bodyPr/>
        <a:lstStyle/>
        <a:p>
          <a:endParaRPr lang="en-US"/>
        </a:p>
      </dgm:t>
    </dgm:pt>
    <dgm:pt modelId="{AC6FB9C3-0730-4BE1-9122-564D8A8F26F6}">
      <dgm:prSet/>
      <dgm:spPr/>
      <dgm:t>
        <a:bodyPr/>
        <a:lstStyle/>
        <a:p>
          <a:r>
            <a:rPr lang="en-US" baseline="0"/>
            <a:t>Extents are a collection of eight physically contiguous pages (64KB) and are used to efficiently manage the pages. </a:t>
          </a:r>
          <a:endParaRPr lang="en-US"/>
        </a:p>
      </dgm:t>
    </dgm:pt>
    <dgm:pt modelId="{89CC61C0-4FDD-4C52-B1A3-4476FBBC917C}" type="parTrans" cxnId="{F73D015C-79D6-44D5-A041-06D0B928C26A}">
      <dgm:prSet/>
      <dgm:spPr/>
      <dgm:t>
        <a:bodyPr/>
        <a:lstStyle/>
        <a:p>
          <a:endParaRPr lang="en-US"/>
        </a:p>
      </dgm:t>
    </dgm:pt>
    <dgm:pt modelId="{FE09AC67-92B6-4C7A-8EF7-359B708C9C83}" type="sibTrans" cxnId="{F73D015C-79D6-44D5-A041-06D0B928C26A}">
      <dgm:prSet/>
      <dgm:spPr/>
      <dgm:t>
        <a:bodyPr/>
        <a:lstStyle/>
        <a:p>
          <a:endParaRPr lang="en-US"/>
        </a:p>
      </dgm:t>
    </dgm:pt>
    <dgm:pt modelId="{6B415267-0143-4FEC-8599-4EFD74853C0B}" type="pres">
      <dgm:prSet presAssocID="{329D93E8-E5D7-4F8E-99CB-D9A6C5415546}" presName="linear" presStyleCnt="0">
        <dgm:presLayoutVars>
          <dgm:animLvl val="lvl"/>
          <dgm:resizeHandles val="exact"/>
        </dgm:presLayoutVars>
      </dgm:prSet>
      <dgm:spPr/>
    </dgm:pt>
    <dgm:pt modelId="{DC818F98-D77E-404D-8396-2CD567FBCDCB}" type="pres">
      <dgm:prSet presAssocID="{F9EF8A99-18FC-4CCB-9181-4D44D379DC87}" presName="parentText" presStyleLbl="node1" presStyleIdx="0" presStyleCnt="2">
        <dgm:presLayoutVars>
          <dgm:chMax val="0"/>
          <dgm:bulletEnabled val="1"/>
        </dgm:presLayoutVars>
      </dgm:prSet>
      <dgm:spPr/>
    </dgm:pt>
    <dgm:pt modelId="{4E07E69E-F0D7-4C1A-ABB4-C91FBDE32562}" type="pres">
      <dgm:prSet presAssocID="{F9EF8A99-18FC-4CCB-9181-4D44D379DC87}" presName="childText" presStyleLbl="revTx" presStyleIdx="0" presStyleCnt="1">
        <dgm:presLayoutVars>
          <dgm:bulletEnabled val="1"/>
        </dgm:presLayoutVars>
      </dgm:prSet>
      <dgm:spPr/>
    </dgm:pt>
    <dgm:pt modelId="{1B848AEE-BC85-4AA9-8DEF-430F253DFCD7}" type="pres">
      <dgm:prSet presAssocID="{AC6FB9C3-0730-4BE1-9122-564D8A8F26F6}" presName="parentText" presStyleLbl="node1" presStyleIdx="1" presStyleCnt="2">
        <dgm:presLayoutVars>
          <dgm:chMax val="0"/>
          <dgm:bulletEnabled val="1"/>
        </dgm:presLayoutVars>
      </dgm:prSet>
      <dgm:spPr/>
    </dgm:pt>
  </dgm:ptLst>
  <dgm:cxnLst>
    <dgm:cxn modelId="{F73D015C-79D6-44D5-A041-06D0B928C26A}" srcId="{329D93E8-E5D7-4F8E-99CB-D9A6C5415546}" destId="{AC6FB9C3-0730-4BE1-9122-564D8A8F26F6}" srcOrd="1" destOrd="0" parTransId="{89CC61C0-4FDD-4C52-B1A3-4476FBBC917C}" sibTransId="{FE09AC67-92B6-4C7A-8EF7-359B708C9C83}"/>
    <dgm:cxn modelId="{61B66761-1F3E-4F8A-86D9-E1087D477129}" srcId="{F9EF8A99-18FC-4CCB-9181-4D44D379DC87}" destId="{6F00449F-1269-4D42-8F1D-9AB12C705CD2}" srcOrd="3" destOrd="0" parTransId="{687EFFB1-887A-4D9D-ABD5-AD50097D96DA}" sibTransId="{ED7C89E6-CEC2-4368-AF72-4B0CBA0D5AB1}"/>
    <dgm:cxn modelId="{AE8E8A69-3C67-44C7-9FCB-CCEA010DDA03}" type="presOf" srcId="{329D93E8-E5D7-4F8E-99CB-D9A6C5415546}" destId="{6B415267-0143-4FEC-8599-4EFD74853C0B}" srcOrd="0" destOrd="0" presId="urn:microsoft.com/office/officeart/2005/8/layout/vList2"/>
    <dgm:cxn modelId="{569D8073-6E48-45E1-A62D-A6AE389FEFFD}" srcId="{F9EF8A99-18FC-4CCB-9181-4D44D379DC87}" destId="{3F544BC3-618C-4131-8BD9-F8B7F5BE517A}" srcOrd="1" destOrd="0" parTransId="{A8A24A74-0635-48C5-845D-4D3067374116}" sibTransId="{AF328828-6E0F-4520-B74A-6DC9213BC8E8}"/>
    <dgm:cxn modelId="{1D413A74-A4A4-482A-988A-C76B027D936C}" srcId="{F9EF8A99-18FC-4CCB-9181-4D44D379DC87}" destId="{AEE3908D-BB68-4C20-BCC0-1357C6F4AB3C}" srcOrd="2" destOrd="0" parTransId="{DA56CE51-55F0-4766-B3F6-E44295E4571D}" sibTransId="{FDEB6DB6-70AB-4BF2-A551-18A7451FC132}"/>
    <dgm:cxn modelId="{5B788854-0343-4E52-9732-76BFB671E4C6}" type="presOf" srcId="{DEF4B9F8-4D87-428D-8AF0-6A8365B1B7FD}" destId="{4E07E69E-F0D7-4C1A-ABB4-C91FBDE32562}" srcOrd="0" destOrd="0" presId="urn:microsoft.com/office/officeart/2005/8/layout/vList2"/>
    <dgm:cxn modelId="{373CDA75-303B-4B4D-B00D-0C5A8A2DBF84}" type="presOf" srcId="{F9EF8A99-18FC-4CCB-9181-4D44D379DC87}" destId="{DC818F98-D77E-404D-8396-2CD567FBCDCB}" srcOrd="0" destOrd="0" presId="urn:microsoft.com/office/officeart/2005/8/layout/vList2"/>
    <dgm:cxn modelId="{30AFD080-A24B-48B4-830F-A033BCD05441}" type="presOf" srcId="{6F00449F-1269-4D42-8F1D-9AB12C705CD2}" destId="{4E07E69E-F0D7-4C1A-ABB4-C91FBDE32562}" srcOrd="0" destOrd="3" presId="urn:microsoft.com/office/officeart/2005/8/layout/vList2"/>
    <dgm:cxn modelId="{4D1AF5AC-24AE-44C8-93D5-E50D164D1B30}" srcId="{329D93E8-E5D7-4F8E-99CB-D9A6C5415546}" destId="{F9EF8A99-18FC-4CCB-9181-4D44D379DC87}" srcOrd="0" destOrd="0" parTransId="{14BD4039-EEF0-4D85-AB36-01F9540BA69A}" sibTransId="{ABD79CF5-4008-495C-8CAA-22736D2574A4}"/>
    <dgm:cxn modelId="{FC9D1EC6-0E6B-48C2-8B54-D518B1E76FB6}" type="presOf" srcId="{3F544BC3-618C-4131-8BD9-F8B7F5BE517A}" destId="{4E07E69E-F0D7-4C1A-ABB4-C91FBDE32562}" srcOrd="0" destOrd="1" presId="urn:microsoft.com/office/officeart/2005/8/layout/vList2"/>
    <dgm:cxn modelId="{575923CF-9BFD-4DE8-BC0C-C901E9B493CC}" srcId="{F9EF8A99-18FC-4CCB-9181-4D44D379DC87}" destId="{DEF4B9F8-4D87-428D-8AF0-6A8365B1B7FD}" srcOrd="0" destOrd="0" parTransId="{640ECEFD-6503-4F20-8220-D1A9F695AE7A}" sibTransId="{C68A7289-EBCC-4F60-8980-A6750656FE11}"/>
    <dgm:cxn modelId="{064F09DF-667F-4371-B281-A0E4572F682D}" type="presOf" srcId="{AEE3908D-BB68-4C20-BCC0-1357C6F4AB3C}" destId="{4E07E69E-F0D7-4C1A-ABB4-C91FBDE32562}" srcOrd="0" destOrd="2" presId="urn:microsoft.com/office/officeart/2005/8/layout/vList2"/>
    <dgm:cxn modelId="{FAFC20F3-C4D7-46D3-80A5-A869B9CCE490}" type="presOf" srcId="{AC6FB9C3-0730-4BE1-9122-564D8A8F26F6}" destId="{1B848AEE-BC85-4AA9-8DEF-430F253DFCD7}" srcOrd="0" destOrd="0" presId="urn:microsoft.com/office/officeart/2005/8/layout/vList2"/>
    <dgm:cxn modelId="{0C98E095-F182-4B35-B8AD-3C3FB3FB847C}" type="presParOf" srcId="{6B415267-0143-4FEC-8599-4EFD74853C0B}" destId="{DC818F98-D77E-404D-8396-2CD567FBCDCB}" srcOrd="0" destOrd="0" presId="urn:microsoft.com/office/officeart/2005/8/layout/vList2"/>
    <dgm:cxn modelId="{6A204B4B-C035-46B7-843A-A29FAC1CE423}" type="presParOf" srcId="{6B415267-0143-4FEC-8599-4EFD74853C0B}" destId="{4E07E69E-F0D7-4C1A-ABB4-C91FBDE32562}" srcOrd="1" destOrd="0" presId="urn:microsoft.com/office/officeart/2005/8/layout/vList2"/>
    <dgm:cxn modelId="{4998B517-ADC3-4BF3-971D-87DB6C9A4232}" type="presParOf" srcId="{6B415267-0143-4FEC-8599-4EFD74853C0B}" destId="{1B848AEE-BC85-4AA9-8DEF-430F253DFCD7}"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4F60257-3897-4CA9-931C-0AE259394A81}"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A5BDA99D-F128-4511-B48A-7BF30D4585DC}">
      <dgm:prSet phldrT="[Text]"/>
      <dgm:spPr/>
      <dgm:t>
        <a:bodyPr/>
        <a:lstStyle/>
        <a:p>
          <a:r>
            <a:rPr lang="en-US" dirty="0"/>
            <a:t>IN_ROW_DATA</a:t>
          </a:r>
        </a:p>
      </dgm:t>
    </dgm:pt>
    <dgm:pt modelId="{313CBCCC-13DB-4666-A5F8-A8B025081730}" type="parTrans" cxnId="{00B6C034-9209-4203-BFBA-CBEF119AB808}">
      <dgm:prSet/>
      <dgm:spPr/>
      <dgm:t>
        <a:bodyPr/>
        <a:lstStyle/>
        <a:p>
          <a:endParaRPr lang="en-US"/>
        </a:p>
      </dgm:t>
    </dgm:pt>
    <dgm:pt modelId="{D7F94B1D-4AA9-485F-B50B-96EFA191EC0C}" type="sibTrans" cxnId="{00B6C034-9209-4203-BFBA-CBEF119AB808}">
      <dgm:prSet/>
      <dgm:spPr/>
      <dgm:t>
        <a:bodyPr/>
        <a:lstStyle/>
        <a:p>
          <a:endParaRPr lang="en-US"/>
        </a:p>
      </dgm:t>
    </dgm:pt>
    <dgm:pt modelId="{A8357F90-6211-41A3-A3B9-B5DB8578DF52}">
      <dgm:prSet phldrT="[Text]"/>
      <dgm:spPr/>
      <dgm:t>
        <a:bodyPr/>
        <a:lstStyle/>
        <a:p>
          <a:r>
            <a:rPr lang="en-US" dirty="0"/>
            <a:t>LOB_DATA (For out of row storage)</a:t>
          </a:r>
        </a:p>
      </dgm:t>
    </dgm:pt>
    <dgm:pt modelId="{B5130284-BF6C-48DE-981D-917B5FF65B90}" type="parTrans" cxnId="{62812389-BFE8-40A2-87B5-5B8C5CFD5290}">
      <dgm:prSet/>
      <dgm:spPr/>
      <dgm:t>
        <a:bodyPr/>
        <a:lstStyle/>
        <a:p>
          <a:endParaRPr lang="en-US"/>
        </a:p>
      </dgm:t>
    </dgm:pt>
    <dgm:pt modelId="{3F8B007A-FFD3-44AC-8600-298260B75A69}" type="sibTrans" cxnId="{62812389-BFE8-40A2-87B5-5B8C5CFD5290}">
      <dgm:prSet/>
      <dgm:spPr/>
      <dgm:t>
        <a:bodyPr/>
        <a:lstStyle/>
        <a:p>
          <a:endParaRPr lang="en-US"/>
        </a:p>
      </dgm:t>
    </dgm:pt>
    <dgm:pt modelId="{8FA5E645-B0B4-423A-A6E0-A52504E47646}">
      <dgm:prSet phldrT="[Text]"/>
      <dgm:spPr/>
      <dgm:t>
        <a:bodyPr/>
        <a:lstStyle/>
        <a:p>
          <a:r>
            <a:rPr lang="en-US" dirty="0"/>
            <a:t>ROW_OVERFLOW_DATA (SLOB)</a:t>
          </a:r>
        </a:p>
      </dgm:t>
    </dgm:pt>
    <dgm:pt modelId="{ACDAC54A-9438-4DF1-A101-EB3F6E983493}" type="parTrans" cxnId="{64B7A434-32A7-4476-8DFC-D753E395C486}">
      <dgm:prSet/>
      <dgm:spPr/>
      <dgm:t>
        <a:bodyPr/>
        <a:lstStyle/>
        <a:p>
          <a:endParaRPr lang="en-US"/>
        </a:p>
      </dgm:t>
    </dgm:pt>
    <dgm:pt modelId="{BE27BF12-C404-4750-A107-D86481A43F6B}" type="sibTrans" cxnId="{64B7A434-32A7-4476-8DFC-D753E395C486}">
      <dgm:prSet/>
      <dgm:spPr/>
      <dgm:t>
        <a:bodyPr/>
        <a:lstStyle/>
        <a:p>
          <a:endParaRPr lang="en-US"/>
        </a:p>
      </dgm:t>
    </dgm:pt>
    <dgm:pt modelId="{C26FC71B-6007-406B-9247-2B3FC23EC45E}">
      <dgm:prSet/>
      <dgm:spPr/>
      <dgm:t>
        <a:bodyPr/>
        <a:lstStyle/>
        <a:p>
          <a:r>
            <a:rPr lang="en-US" dirty="0"/>
            <a:t>Fixed length data must be store here.</a:t>
          </a:r>
        </a:p>
      </dgm:t>
    </dgm:pt>
    <dgm:pt modelId="{70D56258-3770-44A7-8861-DED26F6AD0E2}" type="parTrans" cxnId="{4A0ACE87-B4B8-4819-B29D-41FB9F7A3A6E}">
      <dgm:prSet/>
      <dgm:spPr/>
      <dgm:t>
        <a:bodyPr/>
        <a:lstStyle/>
        <a:p>
          <a:endParaRPr lang="en-US"/>
        </a:p>
      </dgm:t>
    </dgm:pt>
    <dgm:pt modelId="{E7F3A3BA-D770-48A0-8A4E-B839B4A416D9}" type="sibTrans" cxnId="{4A0ACE87-B4B8-4819-B29D-41FB9F7A3A6E}">
      <dgm:prSet/>
      <dgm:spPr/>
      <dgm:t>
        <a:bodyPr/>
        <a:lstStyle/>
        <a:p>
          <a:endParaRPr lang="en-US"/>
        </a:p>
      </dgm:t>
    </dgm:pt>
    <dgm:pt modelId="{ED88BB0B-4C7A-499B-A9CD-986E81615AEF}">
      <dgm:prSet/>
      <dgm:spPr/>
      <dgm:t>
        <a:bodyPr/>
        <a:lstStyle/>
        <a:p>
          <a:r>
            <a:rPr lang="en-US" dirty="0"/>
            <a:t>Rows cannot extend beyond pages</a:t>
          </a:r>
        </a:p>
      </dgm:t>
    </dgm:pt>
    <dgm:pt modelId="{F92240B6-4F39-4008-B8A3-18DFB137BF0C}" type="parTrans" cxnId="{95403C44-A8D4-4AE8-8E7C-58A2FE8D374F}">
      <dgm:prSet/>
      <dgm:spPr/>
      <dgm:t>
        <a:bodyPr/>
        <a:lstStyle/>
        <a:p>
          <a:endParaRPr lang="en-US"/>
        </a:p>
      </dgm:t>
    </dgm:pt>
    <dgm:pt modelId="{0AC21AAA-4764-42FD-8870-5DAD147F8E70}" type="sibTrans" cxnId="{95403C44-A8D4-4AE8-8E7C-58A2FE8D374F}">
      <dgm:prSet/>
      <dgm:spPr/>
      <dgm:t>
        <a:bodyPr/>
        <a:lstStyle/>
        <a:p>
          <a:endParaRPr lang="en-US"/>
        </a:p>
      </dgm:t>
    </dgm:pt>
    <dgm:pt modelId="{0CE02802-2CAE-46B9-8E1A-6CD2E063D918}">
      <dgm:prSet/>
      <dgm:spPr/>
      <dgm:t>
        <a:bodyPr/>
        <a:lstStyle/>
        <a:p>
          <a:r>
            <a:rPr lang="en-US" dirty="0"/>
            <a:t>Data Page is 8060 bytes</a:t>
          </a:r>
        </a:p>
      </dgm:t>
    </dgm:pt>
    <dgm:pt modelId="{20357974-144A-4AEB-B06D-F8F59F61F838}" type="parTrans" cxnId="{C7F42C92-9A52-4396-B92B-0B282BDDFF74}">
      <dgm:prSet/>
      <dgm:spPr/>
      <dgm:t>
        <a:bodyPr/>
        <a:lstStyle/>
        <a:p>
          <a:endParaRPr lang="en-US"/>
        </a:p>
      </dgm:t>
    </dgm:pt>
    <dgm:pt modelId="{35FAA91F-2DA9-4E8D-B391-B24BB9E695D0}" type="sibTrans" cxnId="{C7F42C92-9A52-4396-B92B-0B282BDDFF74}">
      <dgm:prSet/>
      <dgm:spPr/>
      <dgm:t>
        <a:bodyPr/>
        <a:lstStyle/>
        <a:p>
          <a:endParaRPr lang="en-US"/>
        </a:p>
      </dgm:t>
    </dgm:pt>
    <dgm:pt modelId="{C9B2FCE1-8C83-4316-B039-44F32A1FFDC1}">
      <dgm:prSet/>
      <dgm:spPr/>
      <dgm:t>
        <a:bodyPr/>
        <a:lstStyle/>
        <a:p>
          <a:r>
            <a:rPr lang="en-US" dirty="0"/>
            <a:t>varchar(max) / nvarchar(max) / varbinary(max)</a:t>
          </a:r>
        </a:p>
      </dgm:t>
    </dgm:pt>
    <dgm:pt modelId="{624ECF28-5DBE-4381-A757-A9C989425D5C}" type="parTrans" cxnId="{90815394-2229-4F0D-8D64-01CEFF83EBD2}">
      <dgm:prSet/>
      <dgm:spPr/>
      <dgm:t>
        <a:bodyPr/>
        <a:lstStyle/>
        <a:p>
          <a:endParaRPr lang="en-US"/>
        </a:p>
      </dgm:t>
    </dgm:pt>
    <dgm:pt modelId="{B8B5A3E9-701A-4B26-8417-F3B2EF2BBB0B}" type="sibTrans" cxnId="{90815394-2229-4F0D-8D64-01CEFF83EBD2}">
      <dgm:prSet/>
      <dgm:spPr/>
      <dgm:t>
        <a:bodyPr/>
        <a:lstStyle/>
        <a:p>
          <a:endParaRPr lang="en-US"/>
        </a:p>
      </dgm:t>
    </dgm:pt>
    <dgm:pt modelId="{0B892884-4F41-4B6D-8AE6-CD9B2C659107}">
      <dgm:prSet/>
      <dgm:spPr/>
      <dgm:t>
        <a:bodyPr/>
        <a:lstStyle/>
        <a:p>
          <a:r>
            <a:rPr lang="en-US" dirty="0"/>
            <a:t>16-byte point to out of row tree</a:t>
          </a:r>
        </a:p>
      </dgm:t>
    </dgm:pt>
    <dgm:pt modelId="{06016C8B-E2BD-4BAB-9B05-B600005D4DDA}" type="parTrans" cxnId="{A85B8D7B-EF2F-4587-BFEB-01D6E6CACAAB}">
      <dgm:prSet/>
      <dgm:spPr/>
      <dgm:t>
        <a:bodyPr/>
        <a:lstStyle/>
        <a:p>
          <a:endParaRPr lang="en-US"/>
        </a:p>
      </dgm:t>
    </dgm:pt>
    <dgm:pt modelId="{3543215F-61D2-4D91-A336-2855327CDA3B}" type="sibTrans" cxnId="{A85B8D7B-EF2F-4587-BFEB-01D6E6CACAAB}">
      <dgm:prSet/>
      <dgm:spPr/>
      <dgm:t>
        <a:bodyPr/>
        <a:lstStyle/>
        <a:p>
          <a:endParaRPr lang="en-US"/>
        </a:p>
      </dgm:t>
    </dgm:pt>
    <dgm:pt modelId="{733CB742-2A31-482C-8175-7697CE3DBC6A}">
      <dgm:prSet/>
      <dgm:spPr/>
      <dgm:t>
        <a:bodyPr/>
        <a:lstStyle/>
        <a:p>
          <a:r>
            <a:rPr lang="en-US" dirty="0"/>
            <a:t>Uses text page to store a stream of data</a:t>
          </a:r>
        </a:p>
      </dgm:t>
    </dgm:pt>
    <dgm:pt modelId="{47EAF8BC-0568-484D-818D-DE5277F1D799}" type="parTrans" cxnId="{596E9921-4B11-4700-8F08-702C2B4D90E4}">
      <dgm:prSet/>
      <dgm:spPr/>
      <dgm:t>
        <a:bodyPr/>
        <a:lstStyle/>
        <a:p>
          <a:endParaRPr lang="en-US"/>
        </a:p>
      </dgm:t>
    </dgm:pt>
    <dgm:pt modelId="{14AA8A16-6AD2-4AC5-8A7F-C84DEFBACF2D}" type="sibTrans" cxnId="{596E9921-4B11-4700-8F08-702C2B4D90E4}">
      <dgm:prSet/>
      <dgm:spPr/>
      <dgm:t>
        <a:bodyPr/>
        <a:lstStyle/>
        <a:p>
          <a:endParaRPr lang="en-US"/>
        </a:p>
      </dgm:t>
    </dgm:pt>
    <dgm:pt modelId="{37AE5DB6-5D7E-40A6-B2A5-38D421A5FCF6}">
      <dgm:prSet/>
      <dgm:spPr/>
      <dgm:t>
        <a:bodyPr/>
        <a:lstStyle/>
        <a:p>
          <a:r>
            <a:rPr lang="en-US" dirty="0"/>
            <a:t>varchar(8000) / nvarchar(4000) / varbinary(8000)</a:t>
          </a:r>
        </a:p>
      </dgm:t>
    </dgm:pt>
    <dgm:pt modelId="{EA78B916-2A70-400A-84F1-E18149D9118B}" type="parTrans" cxnId="{38DA21C2-189F-4AF4-A0E3-B22C56478EF1}">
      <dgm:prSet/>
      <dgm:spPr/>
      <dgm:t>
        <a:bodyPr/>
        <a:lstStyle/>
        <a:p>
          <a:endParaRPr lang="en-US"/>
        </a:p>
      </dgm:t>
    </dgm:pt>
    <dgm:pt modelId="{CC69915A-8629-429F-85FB-88EAF2EE1945}" type="sibTrans" cxnId="{38DA21C2-189F-4AF4-A0E3-B22C56478EF1}">
      <dgm:prSet/>
      <dgm:spPr/>
      <dgm:t>
        <a:bodyPr/>
        <a:lstStyle/>
        <a:p>
          <a:endParaRPr lang="en-US"/>
        </a:p>
      </dgm:t>
    </dgm:pt>
    <dgm:pt modelId="{BAB1D937-8256-4BEF-8804-326357BAD934}">
      <dgm:prSet/>
      <dgm:spPr/>
      <dgm:t>
        <a:bodyPr/>
        <a:lstStyle/>
        <a:p>
          <a:r>
            <a:rPr lang="en-US" dirty="0"/>
            <a:t>When a column can’t fit onto a page</a:t>
          </a:r>
        </a:p>
      </dgm:t>
    </dgm:pt>
    <dgm:pt modelId="{F3957BC2-EE2C-47B4-9D35-144DA9C83490}" type="parTrans" cxnId="{8D30F761-409C-426A-A8A7-2AD1FA6E8C75}">
      <dgm:prSet/>
      <dgm:spPr/>
      <dgm:t>
        <a:bodyPr/>
        <a:lstStyle/>
        <a:p>
          <a:endParaRPr lang="en-US"/>
        </a:p>
      </dgm:t>
    </dgm:pt>
    <dgm:pt modelId="{15DECDAA-2308-49FA-A66A-3ACC9F15E2E9}" type="sibTrans" cxnId="{8D30F761-409C-426A-A8A7-2AD1FA6E8C75}">
      <dgm:prSet/>
      <dgm:spPr/>
      <dgm:t>
        <a:bodyPr/>
        <a:lstStyle/>
        <a:p>
          <a:endParaRPr lang="en-US"/>
        </a:p>
      </dgm:t>
    </dgm:pt>
    <dgm:pt modelId="{18CACD65-6291-4278-9201-60DE58C637F5}">
      <dgm:prSet/>
      <dgm:spPr/>
      <dgm:t>
        <a:bodyPr/>
        <a:lstStyle/>
        <a:p>
          <a:r>
            <a:rPr lang="en-US" dirty="0"/>
            <a:t>No control over which column overflows</a:t>
          </a:r>
        </a:p>
      </dgm:t>
    </dgm:pt>
    <dgm:pt modelId="{C3338CA2-4644-4271-B2D3-7843DA63CC27}" type="parTrans" cxnId="{531B3DBE-E338-44F1-974F-F9663EA741C4}">
      <dgm:prSet/>
      <dgm:spPr/>
      <dgm:t>
        <a:bodyPr/>
        <a:lstStyle/>
        <a:p>
          <a:endParaRPr lang="en-US"/>
        </a:p>
      </dgm:t>
    </dgm:pt>
    <dgm:pt modelId="{4EA181B0-CBBE-4824-BA88-6FE269680B0E}" type="sibTrans" cxnId="{531B3DBE-E338-44F1-974F-F9663EA741C4}">
      <dgm:prSet/>
      <dgm:spPr/>
      <dgm:t>
        <a:bodyPr/>
        <a:lstStyle/>
        <a:p>
          <a:endParaRPr lang="en-US"/>
        </a:p>
      </dgm:t>
    </dgm:pt>
    <dgm:pt modelId="{14F71304-7523-4C61-B3FF-10A57A5BC66D}" type="pres">
      <dgm:prSet presAssocID="{94F60257-3897-4CA9-931C-0AE259394A81}" presName="linear" presStyleCnt="0">
        <dgm:presLayoutVars>
          <dgm:dir/>
          <dgm:animLvl val="lvl"/>
          <dgm:resizeHandles val="exact"/>
        </dgm:presLayoutVars>
      </dgm:prSet>
      <dgm:spPr/>
    </dgm:pt>
    <dgm:pt modelId="{5EFDB258-E7E9-4639-9DE2-4DDD1351A346}" type="pres">
      <dgm:prSet presAssocID="{A5BDA99D-F128-4511-B48A-7BF30D4585DC}" presName="parentLin" presStyleCnt="0"/>
      <dgm:spPr/>
    </dgm:pt>
    <dgm:pt modelId="{0B39A00B-2017-40B3-AE69-DC600D82E5D6}" type="pres">
      <dgm:prSet presAssocID="{A5BDA99D-F128-4511-B48A-7BF30D4585DC}" presName="parentLeftMargin" presStyleLbl="node1" presStyleIdx="0" presStyleCnt="3"/>
      <dgm:spPr/>
    </dgm:pt>
    <dgm:pt modelId="{5345CC5A-3CA0-4CD0-885F-750DC14CBE0B}" type="pres">
      <dgm:prSet presAssocID="{A5BDA99D-F128-4511-B48A-7BF30D4585DC}" presName="parentText" presStyleLbl="node1" presStyleIdx="0" presStyleCnt="3">
        <dgm:presLayoutVars>
          <dgm:chMax val="0"/>
          <dgm:bulletEnabled val="1"/>
        </dgm:presLayoutVars>
      </dgm:prSet>
      <dgm:spPr/>
    </dgm:pt>
    <dgm:pt modelId="{8D51E8C6-788C-463D-9416-517BFAF239D1}" type="pres">
      <dgm:prSet presAssocID="{A5BDA99D-F128-4511-B48A-7BF30D4585DC}" presName="negativeSpace" presStyleCnt="0"/>
      <dgm:spPr/>
    </dgm:pt>
    <dgm:pt modelId="{4B0A1F1B-53A7-4E26-A228-B358B2D55A24}" type="pres">
      <dgm:prSet presAssocID="{A5BDA99D-F128-4511-B48A-7BF30D4585DC}" presName="childText" presStyleLbl="conFgAcc1" presStyleIdx="0" presStyleCnt="3">
        <dgm:presLayoutVars>
          <dgm:bulletEnabled val="1"/>
        </dgm:presLayoutVars>
      </dgm:prSet>
      <dgm:spPr/>
    </dgm:pt>
    <dgm:pt modelId="{49C7463E-6B71-4C0C-99E6-739470BBF00E}" type="pres">
      <dgm:prSet presAssocID="{D7F94B1D-4AA9-485F-B50B-96EFA191EC0C}" presName="spaceBetweenRectangles" presStyleCnt="0"/>
      <dgm:spPr/>
    </dgm:pt>
    <dgm:pt modelId="{0895B101-1AC8-4EAD-8D72-1E9145197251}" type="pres">
      <dgm:prSet presAssocID="{A8357F90-6211-41A3-A3B9-B5DB8578DF52}" presName="parentLin" presStyleCnt="0"/>
      <dgm:spPr/>
    </dgm:pt>
    <dgm:pt modelId="{B5543202-2FE9-4E30-B25A-596FA256A2CB}" type="pres">
      <dgm:prSet presAssocID="{A8357F90-6211-41A3-A3B9-B5DB8578DF52}" presName="parentLeftMargin" presStyleLbl="node1" presStyleIdx="0" presStyleCnt="3"/>
      <dgm:spPr/>
    </dgm:pt>
    <dgm:pt modelId="{9AC1164C-B8A9-4BA0-826C-837D06002D2B}" type="pres">
      <dgm:prSet presAssocID="{A8357F90-6211-41A3-A3B9-B5DB8578DF52}" presName="parentText" presStyleLbl="node1" presStyleIdx="1" presStyleCnt="3">
        <dgm:presLayoutVars>
          <dgm:chMax val="0"/>
          <dgm:bulletEnabled val="1"/>
        </dgm:presLayoutVars>
      </dgm:prSet>
      <dgm:spPr/>
    </dgm:pt>
    <dgm:pt modelId="{49DCAD58-D452-4DEA-B44D-9714AC42BB17}" type="pres">
      <dgm:prSet presAssocID="{A8357F90-6211-41A3-A3B9-B5DB8578DF52}" presName="negativeSpace" presStyleCnt="0"/>
      <dgm:spPr/>
    </dgm:pt>
    <dgm:pt modelId="{1BE6CC60-0F0D-46CE-A406-F857BBCCE870}" type="pres">
      <dgm:prSet presAssocID="{A8357F90-6211-41A3-A3B9-B5DB8578DF52}" presName="childText" presStyleLbl="conFgAcc1" presStyleIdx="1" presStyleCnt="3">
        <dgm:presLayoutVars>
          <dgm:bulletEnabled val="1"/>
        </dgm:presLayoutVars>
      </dgm:prSet>
      <dgm:spPr/>
    </dgm:pt>
    <dgm:pt modelId="{7C5B6C29-D72D-462B-A9A2-97BC4E7DE2A1}" type="pres">
      <dgm:prSet presAssocID="{3F8B007A-FFD3-44AC-8600-298260B75A69}" presName="spaceBetweenRectangles" presStyleCnt="0"/>
      <dgm:spPr/>
    </dgm:pt>
    <dgm:pt modelId="{5D99D752-C898-4AC3-BEA6-FAEE27154FB0}" type="pres">
      <dgm:prSet presAssocID="{8FA5E645-B0B4-423A-A6E0-A52504E47646}" presName="parentLin" presStyleCnt="0"/>
      <dgm:spPr/>
    </dgm:pt>
    <dgm:pt modelId="{B4B866C6-89C4-4EC6-86F7-321F9634A816}" type="pres">
      <dgm:prSet presAssocID="{8FA5E645-B0B4-423A-A6E0-A52504E47646}" presName="parentLeftMargin" presStyleLbl="node1" presStyleIdx="1" presStyleCnt="3"/>
      <dgm:spPr/>
    </dgm:pt>
    <dgm:pt modelId="{A2693F37-0C62-4143-8E0A-2BC5D60CCFE2}" type="pres">
      <dgm:prSet presAssocID="{8FA5E645-B0B4-423A-A6E0-A52504E47646}" presName="parentText" presStyleLbl="node1" presStyleIdx="2" presStyleCnt="3">
        <dgm:presLayoutVars>
          <dgm:chMax val="0"/>
          <dgm:bulletEnabled val="1"/>
        </dgm:presLayoutVars>
      </dgm:prSet>
      <dgm:spPr/>
    </dgm:pt>
    <dgm:pt modelId="{B9AB6BDE-446A-49CA-B8BC-BB1E016618EF}" type="pres">
      <dgm:prSet presAssocID="{8FA5E645-B0B4-423A-A6E0-A52504E47646}" presName="negativeSpace" presStyleCnt="0"/>
      <dgm:spPr/>
    </dgm:pt>
    <dgm:pt modelId="{612B4DC7-D7D5-447A-8782-9062D6CCA1B2}" type="pres">
      <dgm:prSet presAssocID="{8FA5E645-B0B4-423A-A6E0-A52504E47646}" presName="childText" presStyleLbl="conFgAcc1" presStyleIdx="2" presStyleCnt="3">
        <dgm:presLayoutVars>
          <dgm:bulletEnabled val="1"/>
        </dgm:presLayoutVars>
      </dgm:prSet>
      <dgm:spPr/>
    </dgm:pt>
  </dgm:ptLst>
  <dgm:cxnLst>
    <dgm:cxn modelId="{8EB42F05-2E96-4CA8-9B16-070E65959556}" type="presOf" srcId="{0CE02802-2CAE-46B9-8E1A-6CD2E063D918}" destId="{4B0A1F1B-53A7-4E26-A228-B358B2D55A24}" srcOrd="0" destOrd="2" presId="urn:microsoft.com/office/officeart/2005/8/layout/list1"/>
    <dgm:cxn modelId="{2B37530F-84FC-4070-BD10-C3E4E0CDE540}" type="presOf" srcId="{C26FC71B-6007-406B-9247-2B3FC23EC45E}" destId="{4B0A1F1B-53A7-4E26-A228-B358B2D55A24}" srcOrd="0" destOrd="0" presId="urn:microsoft.com/office/officeart/2005/8/layout/list1"/>
    <dgm:cxn modelId="{2AF38D13-5876-474A-942A-B0F84191078F}" type="presOf" srcId="{18CACD65-6291-4278-9201-60DE58C637F5}" destId="{612B4DC7-D7D5-447A-8782-9062D6CCA1B2}" srcOrd="0" destOrd="2" presId="urn:microsoft.com/office/officeart/2005/8/layout/list1"/>
    <dgm:cxn modelId="{68C13B1C-BDB7-4D2A-9154-76F92410CB6C}" type="presOf" srcId="{A5BDA99D-F128-4511-B48A-7BF30D4585DC}" destId="{0B39A00B-2017-40B3-AE69-DC600D82E5D6}" srcOrd="0" destOrd="0" presId="urn:microsoft.com/office/officeart/2005/8/layout/list1"/>
    <dgm:cxn modelId="{C309911C-3B2D-444C-8199-63B2853F82C0}" type="presOf" srcId="{8FA5E645-B0B4-423A-A6E0-A52504E47646}" destId="{A2693F37-0C62-4143-8E0A-2BC5D60CCFE2}" srcOrd="1" destOrd="0" presId="urn:microsoft.com/office/officeart/2005/8/layout/list1"/>
    <dgm:cxn modelId="{596E9921-4B11-4700-8F08-702C2B4D90E4}" srcId="{A8357F90-6211-41A3-A3B9-B5DB8578DF52}" destId="{733CB742-2A31-482C-8175-7697CE3DBC6A}" srcOrd="2" destOrd="0" parTransId="{47EAF8BC-0568-484D-818D-DE5277F1D799}" sibTransId="{14AA8A16-6AD2-4AC5-8A7F-C84DEFBACF2D}"/>
    <dgm:cxn modelId="{D79A2D24-4547-44FC-99F1-595D27945C53}" type="presOf" srcId="{BAB1D937-8256-4BEF-8804-326357BAD934}" destId="{612B4DC7-D7D5-447A-8782-9062D6CCA1B2}" srcOrd="0" destOrd="1" presId="urn:microsoft.com/office/officeart/2005/8/layout/list1"/>
    <dgm:cxn modelId="{3C0E4726-F65F-4722-AC57-A9D1BA82992D}" type="presOf" srcId="{C9B2FCE1-8C83-4316-B039-44F32A1FFDC1}" destId="{1BE6CC60-0F0D-46CE-A406-F857BBCCE870}" srcOrd="0" destOrd="0" presId="urn:microsoft.com/office/officeart/2005/8/layout/list1"/>
    <dgm:cxn modelId="{5293B42D-8B07-4D38-8A7B-7AAB3F0A354C}" type="presOf" srcId="{37AE5DB6-5D7E-40A6-B2A5-38D421A5FCF6}" destId="{612B4DC7-D7D5-447A-8782-9062D6CCA1B2}" srcOrd="0" destOrd="0" presId="urn:microsoft.com/office/officeart/2005/8/layout/list1"/>
    <dgm:cxn modelId="{64B7A434-32A7-4476-8DFC-D753E395C486}" srcId="{94F60257-3897-4CA9-931C-0AE259394A81}" destId="{8FA5E645-B0B4-423A-A6E0-A52504E47646}" srcOrd="2" destOrd="0" parTransId="{ACDAC54A-9438-4DF1-A101-EB3F6E983493}" sibTransId="{BE27BF12-C404-4750-A107-D86481A43F6B}"/>
    <dgm:cxn modelId="{00B6C034-9209-4203-BFBA-CBEF119AB808}" srcId="{94F60257-3897-4CA9-931C-0AE259394A81}" destId="{A5BDA99D-F128-4511-B48A-7BF30D4585DC}" srcOrd="0" destOrd="0" parTransId="{313CBCCC-13DB-4666-A5F8-A8B025081730}" sibTransId="{D7F94B1D-4AA9-485F-B50B-96EFA191EC0C}"/>
    <dgm:cxn modelId="{EB006437-CC61-426A-8AAE-16A2AF0F4862}" type="presOf" srcId="{94F60257-3897-4CA9-931C-0AE259394A81}" destId="{14F71304-7523-4C61-B3FF-10A57A5BC66D}" srcOrd="0" destOrd="0" presId="urn:microsoft.com/office/officeart/2005/8/layout/list1"/>
    <dgm:cxn modelId="{8D30F761-409C-426A-A8A7-2AD1FA6E8C75}" srcId="{8FA5E645-B0B4-423A-A6E0-A52504E47646}" destId="{BAB1D937-8256-4BEF-8804-326357BAD934}" srcOrd="1" destOrd="0" parTransId="{F3957BC2-EE2C-47B4-9D35-144DA9C83490}" sibTransId="{15DECDAA-2308-49FA-A66A-3ACC9F15E2E9}"/>
    <dgm:cxn modelId="{95403C44-A8D4-4AE8-8E7C-58A2FE8D374F}" srcId="{A5BDA99D-F128-4511-B48A-7BF30D4585DC}" destId="{ED88BB0B-4C7A-499B-A9CD-986E81615AEF}" srcOrd="1" destOrd="0" parTransId="{F92240B6-4F39-4008-B8A3-18DFB137BF0C}" sibTransId="{0AC21AAA-4764-42FD-8870-5DAD147F8E70}"/>
    <dgm:cxn modelId="{56D05E4A-7673-40C7-A285-B6765C77F75B}" type="presOf" srcId="{0B892884-4F41-4B6D-8AE6-CD9B2C659107}" destId="{1BE6CC60-0F0D-46CE-A406-F857BBCCE870}" srcOrd="0" destOrd="1" presId="urn:microsoft.com/office/officeart/2005/8/layout/list1"/>
    <dgm:cxn modelId="{A85B8D7B-EF2F-4587-BFEB-01D6E6CACAAB}" srcId="{A8357F90-6211-41A3-A3B9-B5DB8578DF52}" destId="{0B892884-4F41-4B6D-8AE6-CD9B2C659107}" srcOrd="1" destOrd="0" parTransId="{06016C8B-E2BD-4BAB-9B05-B600005D4DDA}" sibTransId="{3543215F-61D2-4D91-A336-2855327CDA3B}"/>
    <dgm:cxn modelId="{4A0ACE87-B4B8-4819-B29D-41FB9F7A3A6E}" srcId="{A5BDA99D-F128-4511-B48A-7BF30D4585DC}" destId="{C26FC71B-6007-406B-9247-2B3FC23EC45E}" srcOrd="0" destOrd="0" parTransId="{70D56258-3770-44A7-8861-DED26F6AD0E2}" sibTransId="{E7F3A3BA-D770-48A0-8A4E-B839B4A416D9}"/>
    <dgm:cxn modelId="{62812389-BFE8-40A2-87B5-5B8C5CFD5290}" srcId="{94F60257-3897-4CA9-931C-0AE259394A81}" destId="{A8357F90-6211-41A3-A3B9-B5DB8578DF52}" srcOrd="1" destOrd="0" parTransId="{B5130284-BF6C-48DE-981D-917B5FF65B90}" sibTransId="{3F8B007A-FFD3-44AC-8600-298260B75A69}"/>
    <dgm:cxn modelId="{C7F42C92-9A52-4396-B92B-0B282BDDFF74}" srcId="{A5BDA99D-F128-4511-B48A-7BF30D4585DC}" destId="{0CE02802-2CAE-46B9-8E1A-6CD2E063D918}" srcOrd="2" destOrd="0" parTransId="{20357974-144A-4AEB-B06D-F8F59F61F838}" sibTransId="{35FAA91F-2DA9-4E8D-B391-B24BB9E695D0}"/>
    <dgm:cxn modelId="{90815394-2229-4F0D-8D64-01CEFF83EBD2}" srcId="{A8357F90-6211-41A3-A3B9-B5DB8578DF52}" destId="{C9B2FCE1-8C83-4316-B039-44F32A1FFDC1}" srcOrd="0" destOrd="0" parTransId="{624ECF28-5DBE-4381-A757-A9C989425D5C}" sibTransId="{B8B5A3E9-701A-4B26-8417-F3B2EF2BBB0B}"/>
    <dgm:cxn modelId="{C404F5B1-D4D5-4630-8F4E-B2A18A5C085F}" type="presOf" srcId="{ED88BB0B-4C7A-499B-A9CD-986E81615AEF}" destId="{4B0A1F1B-53A7-4E26-A228-B358B2D55A24}" srcOrd="0" destOrd="1" presId="urn:microsoft.com/office/officeart/2005/8/layout/list1"/>
    <dgm:cxn modelId="{1FB1C3B6-8259-4DDE-925A-3CB729E39FBD}" type="presOf" srcId="{A5BDA99D-F128-4511-B48A-7BF30D4585DC}" destId="{5345CC5A-3CA0-4CD0-885F-750DC14CBE0B}" srcOrd="1" destOrd="0" presId="urn:microsoft.com/office/officeart/2005/8/layout/list1"/>
    <dgm:cxn modelId="{EFC969B9-CFCF-4DBF-8775-81E5753C08CE}" type="presOf" srcId="{A8357F90-6211-41A3-A3B9-B5DB8578DF52}" destId="{B5543202-2FE9-4E30-B25A-596FA256A2CB}" srcOrd="0" destOrd="0" presId="urn:microsoft.com/office/officeart/2005/8/layout/list1"/>
    <dgm:cxn modelId="{531B3DBE-E338-44F1-974F-F9663EA741C4}" srcId="{8FA5E645-B0B4-423A-A6E0-A52504E47646}" destId="{18CACD65-6291-4278-9201-60DE58C637F5}" srcOrd="2" destOrd="0" parTransId="{C3338CA2-4644-4271-B2D3-7843DA63CC27}" sibTransId="{4EA181B0-CBBE-4824-BA88-6FE269680B0E}"/>
    <dgm:cxn modelId="{38DA21C2-189F-4AF4-A0E3-B22C56478EF1}" srcId="{8FA5E645-B0B4-423A-A6E0-A52504E47646}" destId="{37AE5DB6-5D7E-40A6-B2A5-38D421A5FCF6}" srcOrd="0" destOrd="0" parTransId="{EA78B916-2A70-400A-84F1-E18149D9118B}" sibTransId="{CC69915A-8629-429F-85FB-88EAF2EE1945}"/>
    <dgm:cxn modelId="{00D322C5-B0E8-4964-AF01-D81C0D61E7C7}" type="presOf" srcId="{A8357F90-6211-41A3-A3B9-B5DB8578DF52}" destId="{9AC1164C-B8A9-4BA0-826C-837D06002D2B}" srcOrd="1" destOrd="0" presId="urn:microsoft.com/office/officeart/2005/8/layout/list1"/>
    <dgm:cxn modelId="{4D6F69E7-D61C-469C-BF93-AEEF16F3797E}" type="presOf" srcId="{733CB742-2A31-482C-8175-7697CE3DBC6A}" destId="{1BE6CC60-0F0D-46CE-A406-F857BBCCE870}" srcOrd="0" destOrd="2" presId="urn:microsoft.com/office/officeart/2005/8/layout/list1"/>
    <dgm:cxn modelId="{E2BC63FD-FAFB-4917-9813-84AE0C9FA97B}" type="presOf" srcId="{8FA5E645-B0B4-423A-A6E0-A52504E47646}" destId="{B4B866C6-89C4-4EC6-86F7-321F9634A816}" srcOrd="0" destOrd="0" presId="urn:microsoft.com/office/officeart/2005/8/layout/list1"/>
    <dgm:cxn modelId="{C7804D97-ECE2-4C36-9A1D-311177B6EAD1}" type="presParOf" srcId="{14F71304-7523-4C61-B3FF-10A57A5BC66D}" destId="{5EFDB258-E7E9-4639-9DE2-4DDD1351A346}" srcOrd="0" destOrd="0" presId="urn:microsoft.com/office/officeart/2005/8/layout/list1"/>
    <dgm:cxn modelId="{4AA614CB-278F-48B5-9766-795A43218613}" type="presParOf" srcId="{5EFDB258-E7E9-4639-9DE2-4DDD1351A346}" destId="{0B39A00B-2017-40B3-AE69-DC600D82E5D6}" srcOrd="0" destOrd="0" presId="urn:microsoft.com/office/officeart/2005/8/layout/list1"/>
    <dgm:cxn modelId="{77E480E1-F568-47B0-8DDE-BF48AF468084}" type="presParOf" srcId="{5EFDB258-E7E9-4639-9DE2-4DDD1351A346}" destId="{5345CC5A-3CA0-4CD0-885F-750DC14CBE0B}" srcOrd="1" destOrd="0" presId="urn:microsoft.com/office/officeart/2005/8/layout/list1"/>
    <dgm:cxn modelId="{5D135C74-27A0-4BA6-83D0-C96E537C371E}" type="presParOf" srcId="{14F71304-7523-4C61-B3FF-10A57A5BC66D}" destId="{8D51E8C6-788C-463D-9416-517BFAF239D1}" srcOrd="1" destOrd="0" presId="urn:microsoft.com/office/officeart/2005/8/layout/list1"/>
    <dgm:cxn modelId="{04DA6623-18AA-4522-9C73-91FAC275D5F4}" type="presParOf" srcId="{14F71304-7523-4C61-B3FF-10A57A5BC66D}" destId="{4B0A1F1B-53A7-4E26-A228-B358B2D55A24}" srcOrd="2" destOrd="0" presId="urn:microsoft.com/office/officeart/2005/8/layout/list1"/>
    <dgm:cxn modelId="{83404E1F-E8BE-4A15-9683-7B4908548639}" type="presParOf" srcId="{14F71304-7523-4C61-B3FF-10A57A5BC66D}" destId="{49C7463E-6B71-4C0C-99E6-739470BBF00E}" srcOrd="3" destOrd="0" presId="urn:microsoft.com/office/officeart/2005/8/layout/list1"/>
    <dgm:cxn modelId="{E4506EDA-4A78-4B6B-98E2-53C0B8F08AA0}" type="presParOf" srcId="{14F71304-7523-4C61-B3FF-10A57A5BC66D}" destId="{0895B101-1AC8-4EAD-8D72-1E9145197251}" srcOrd="4" destOrd="0" presId="urn:microsoft.com/office/officeart/2005/8/layout/list1"/>
    <dgm:cxn modelId="{7AA318AC-9250-4703-9AB9-638D44C274DD}" type="presParOf" srcId="{0895B101-1AC8-4EAD-8D72-1E9145197251}" destId="{B5543202-2FE9-4E30-B25A-596FA256A2CB}" srcOrd="0" destOrd="0" presId="urn:microsoft.com/office/officeart/2005/8/layout/list1"/>
    <dgm:cxn modelId="{913C5D2B-A9DB-4C26-AA04-994CF7DEF6C6}" type="presParOf" srcId="{0895B101-1AC8-4EAD-8D72-1E9145197251}" destId="{9AC1164C-B8A9-4BA0-826C-837D06002D2B}" srcOrd="1" destOrd="0" presId="urn:microsoft.com/office/officeart/2005/8/layout/list1"/>
    <dgm:cxn modelId="{CC7D30C9-60D2-4BA9-8F0E-A209F77B5462}" type="presParOf" srcId="{14F71304-7523-4C61-B3FF-10A57A5BC66D}" destId="{49DCAD58-D452-4DEA-B44D-9714AC42BB17}" srcOrd="5" destOrd="0" presId="urn:microsoft.com/office/officeart/2005/8/layout/list1"/>
    <dgm:cxn modelId="{CECBBED3-22BE-43F2-9068-1CCDC101E18C}" type="presParOf" srcId="{14F71304-7523-4C61-B3FF-10A57A5BC66D}" destId="{1BE6CC60-0F0D-46CE-A406-F857BBCCE870}" srcOrd="6" destOrd="0" presId="urn:microsoft.com/office/officeart/2005/8/layout/list1"/>
    <dgm:cxn modelId="{A05E78E7-FD23-44D8-8B83-5C2FF3A21805}" type="presParOf" srcId="{14F71304-7523-4C61-B3FF-10A57A5BC66D}" destId="{7C5B6C29-D72D-462B-A9A2-97BC4E7DE2A1}" srcOrd="7" destOrd="0" presId="urn:microsoft.com/office/officeart/2005/8/layout/list1"/>
    <dgm:cxn modelId="{97F1D68E-EBC7-4259-8EBE-513A4BCE8DAA}" type="presParOf" srcId="{14F71304-7523-4C61-B3FF-10A57A5BC66D}" destId="{5D99D752-C898-4AC3-BEA6-FAEE27154FB0}" srcOrd="8" destOrd="0" presId="urn:microsoft.com/office/officeart/2005/8/layout/list1"/>
    <dgm:cxn modelId="{619764FA-0781-4264-9CE7-E1385F77FCC2}" type="presParOf" srcId="{5D99D752-C898-4AC3-BEA6-FAEE27154FB0}" destId="{B4B866C6-89C4-4EC6-86F7-321F9634A816}" srcOrd="0" destOrd="0" presId="urn:microsoft.com/office/officeart/2005/8/layout/list1"/>
    <dgm:cxn modelId="{08F3135A-EC87-4914-9E2A-F5F5A84DB282}" type="presParOf" srcId="{5D99D752-C898-4AC3-BEA6-FAEE27154FB0}" destId="{A2693F37-0C62-4143-8E0A-2BC5D60CCFE2}" srcOrd="1" destOrd="0" presId="urn:microsoft.com/office/officeart/2005/8/layout/list1"/>
    <dgm:cxn modelId="{5213C278-F4AC-4833-9A16-0CB0306F0263}" type="presParOf" srcId="{14F71304-7523-4C61-B3FF-10A57A5BC66D}" destId="{B9AB6BDE-446A-49CA-B8BC-BB1E016618EF}" srcOrd="9" destOrd="0" presId="urn:microsoft.com/office/officeart/2005/8/layout/list1"/>
    <dgm:cxn modelId="{815A72CA-4A95-41AC-8DD7-B6965994A575}" type="presParOf" srcId="{14F71304-7523-4C61-B3FF-10A57A5BC66D}" destId="{612B4DC7-D7D5-447A-8782-9062D6CCA1B2}"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C217E3-5BA1-4C5B-BCFE-A606E3CB7135}">
      <dsp:nvSpPr>
        <dsp:cNvPr id="0" name=""/>
        <dsp:cNvSpPr/>
      </dsp:nvSpPr>
      <dsp:spPr>
        <a:xfrm>
          <a:off x="0" y="204780"/>
          <a:ext cx="6237531" cy="82251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A database is composed by at least two operating system files:</a:t>
          </a:r>
        </a:p>
      </dsp:txBody>
      <dsp:txXfrm>
        <a:off x="40152" y="244932"/>
        <a:ext cx="6157227" cy="742206"/>
      </dsp:txXfrm>
    </dsp:sp>
    <dsp:sp modelId="{286819B0-3CDE-42B1-B9B9-D2DA7146196D}">
      <dsp:nvSpPr>
        <dsp:cNvPr id="0" name=""/>
        <dsp:cNvSpPr/>
      </dsp:nvSpPr>
      <dsp:spPr>
        <a:xfrm>
          <a:off x="0" y="1082010"/>
          <a:ext cx="6237531" cy="82251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Data files</a:t>
          </a:r>
        </a:p>
      </dsp:txBody>
      <dsp:txXfrm>
        <a:off x="40152" y="1122162"/>
        <a:ext cx="6157227" cy="742206"/>
      </dsp:txXfrm>
    </dsp:sp>
    <dsp:sp modelId="{44B37A3C-6AFE-4AB1-B130-30513727D5FC}">
      <dsp:nvSpPr>
        <dsp:cNvPr id="0" name=""/>
        <dsp:cNvSpPr/>
      </dsp:nvSpPr>
      <dsp:spPr>
        <a:xfrm>
          <a:off x="0" y="1904520"/>
          <a:ext cx="6237531" cy="15731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8042"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t>Contain database objects and data</a:t>
          </a:r>
        </a:p>
        <a:p>
          <a:pPr marL="114300" lvl="1" indent="-114300" algn="l" defTabSz="666750">
            <a:lnSpc>
              <a:spcPct val="90000"/>
            </a:lnSpc>
            <a:spcBef>
              <a:spcPct val="0"/>
            </a:spcBef>
            <a:spcAft>
              <a:spcPct val="20000"/>
            </a:spcAft>
            <a:buChar char="•"/>
          </a:pPr>
          <a:r>
            <a:rPr lang="en-US" sz="1500" kern="1200" dirty="0"/>
            <a:t>First data file is called primary data file. This file has a .mdf extension</a:t>
          </a:r>
        </a:p>
        <a:p>
          <a:pPr marL="114300" lvl="1" indent="-114300" algn="l" defTabSz="666750">
            <a:lnSpc>
              <a:spcPct val="90000"/>
            </a:lnSpc>
            <a:spcBef>
              <a:spcPct val="0"/>
            </a:spcBef>
            <a:spcAft>
              <a:spcPct val="20000"/>
            </a:spcAft>
            <a:buChar char="•"/>
          </a:pPr>
          <a:r>
            <a:rPr lang="en-US" sz="1500" kern="1200" dirty="0"/>
            <a:t>A database may have additional data files, known as secondary data files. They use .ndf extension</a:t>
          </a:r>
        </a:p>
        <a:p>
          <a:pPr marL="114300" lvl="1" indent="-114300" algn="l" defTabSz="666750">
            <a:lnSpc>
              <a:spcPct val="90000"/>
            </a:lnSpc>
            <a:spcBef>
              <a:spcPct val="0"/>
            </a:spcBef>
            <a:spcAft>
              <a:spcPct val="20000"/>
            </a:spcAft>
            <a:buChar char="•"/>
          </a:pPr>
          <a:r>
            <a:rPr lang="en-US" sz="1500" kern="1200" dirty="0"/>
            <a:t>Can be grouped together in filegroups for allocation and administration purposes</a:t>
          </a:r>
        </a:p>
      </dsp:txBody>
      <dsp:txXfrm>
        <a:off x="0" y="1904520"/>
        <a:ext cx="6237531" cy="1573199"/>
      </dsp:txXfrm>
    </dsp:sp>
    <dsp:sp modelId="{7969BC1D-ABFD-46B4-A383-922D6CF9157C}">
      <dsp:nvSpPr>
        <dsp:cNvPr id="0" name=""/>
        <dsp:cNvSpPr/>
      </dsp:nvSpPr>
      <dsp:spPr>
        <a:xfrm>
          <a:off x="0" y="3477720"/>
          <a:ext cx="6237531" cy="82251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Log file</a:t>
          </a:r>
        </a:p>
      </dsp:txBody>
      <dsp:txXfrm>
        <a:off x="40152" y="3517872"/>
        <a:ext cx="6157227" cy="742206"/>
      </dsp:txXfrm>
    </dsp:sp>
    <dsp:sp modelId="{FA9B3665-96F6-47D7-A849-39010078AB1F}">
      <dsp:nvSpPr>
        <dsp:cNvPr id="0" name=""/>
        <dsp:cNvSpPr/>
      </dsp:nvSpPr>
      <dsp:spPr>
        <a:xfrm>
          <a:off x="0" y="4300229"/>
          <a:ext cx="6237531"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8042"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t>Contain Log Records and entries are sequenced</a:t>
          </a:r>
        </a:p>
      </dsp:txBody>
      <dsp:txXfrm>
        <a:off x="0" y="4300229"/>
        <a:ext cx="6237531" cy="31464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8236B5-C527-45FA-AF85-999307E9E726}">
      <dsp:nvSpPr>
        <dsp:cNvPr id="0" name=""/>
        <dsp:cNvSpPr/>
      </dsp:nvSpPr>
      <dsp:spPr>
        <a:xfrm>
          <a:off x="0" y="12042"/>
          <a:ext cx="8208964" cy="437580"/>
        </a:xfrm>
        <a:prstGeom prst="roundRect">
          <a:avLst/>
        </a:prstGeom>
        <a:solidFill>
          <a:schemeClr val="accent2">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b="0" i="0" kern="1200" baseline="0" dirty="0"/>
            <a:t>sys.dm_db_page_info is currently supported only in SQL Server 2019 (15.x) and later. </a:t>
          </a:r>
          <a:endParaRPr lang="en-US" sz="1700" kern="1200" dirty="0"/>
        </a:p>
      </dsp:txBody>
      <dsp:txXfrm>
        <a:off x="21361" y="33403"/>
        <a:ext cx="8166242" cy="394858"/>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D81896-5617-4CC3-8571-40FC75A78D98}">
      <dsp:nvSpPr>
        <dsp:cNvPr id="0" name=""/>
        <dsp:cNvSpPr/>
      </dsp:nvSpPr>
      <dsp:spPr>
        <a:xfrm>
          <a:off x="1348" y="1181408"/>
          <a:ext cx="5260950" cy="315657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baseline="0" dirty="0">
              <a:latin typeface="Segoe UI"/>
              <a:ea typeface="+mn-ea"/>
              <a:cs typeface="+mn-cs"/>
            </a:rPr>
            <a:t>PFS and IAM are used to determine when an object needs a new extent allocated</a:t>
          </a:r>
          <a:endParaRPr lang="en-US" sz="3800" kern="1200" dirty="0">
            <a:latin typeface="Segoe UI"/>
            <a:ea typeface="+mn-ea"/>
            <a:cs typeface="+mn-cs"/>
          </a:endParaRPr>
        </a:p>
      </dsp:txBody>
      <dsp:txXfrm>
        <a:off x="155439" y="1335499"/>
        <a:ext cx="4952768" cy="2848388"/>
      </dsp:txXfrm>
    </dsp:sp>
    <dsp:sp modelId="{E7D5672E-1078-4242-B34A-3CB1D3C8E10B}">
      <dsp:nvSpPr>
        <dsp:cNvPr id="0" name=""/>
        <dsp:cNvSpPr/>
      </dsp:nvSpPr>
      <dsp:spPr>
        <a:xfrm>
          <a:off x="5788395" y="1181408"/>
          <a:ext cx="5260950" cy="3156570"/>
        </a:xfrm>
        <a:prstGeom prst="round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baseline="0" dirty="0">
              <a:latin typeface="Segoe UI"/>
              <a:ea typeface="+mn-ea"/>
              <a:cs typeface="+mn-cs"/>
            </a:rPr>
            <a:t>GAMs and SGAMs are used to allocate the extent</a:t>
          </a:r>
          <a:endParaRPr lang="en-US" sz="3800" kern="1200" dirty="0">
            <a:latin typeface="Segoe UI"/>
            <a:ea typeface="+mn-ea"/>
            <a:cs typeface="+mn-cs"/>
          </a:endParaRPr>
        </a:p>
      </dsp:txBody>
      <dsp:txXfrm>
        <a:off x="5942486" y="1335499"/>
        <a:ext cx="4952768" cy="284838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C990E7-EC36-47FB-AF8A-D4BF7B5CB066}">
      <dsp:nvSpPr>
        <dsp:cNvPr id="0" name=""/>
        <dsp:cNvSpPr/>
      </dsp:nvSpPr>
      <dsp:spPr>
        <a:xfrm>
          <a:off x="4090" y="5726"/>
          <a:ext cx="2459851" cy="974983"/>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Page Free Space (PFS)</a:t>
          </a:r>
          <a:endParaRPr lang="en-US" sz="1800" kern="1200" dirty="0"/>
        </a:p>
      </dsp:txBody>
      <dsp:txXfrm>
        <a:off x="4090" y="5726"/>
        <a:ext cx="2459851" cy="974983"/>
      </dsp:txXfrm>
    </dsp:sp>
    <dsp:sp modelId="{E7C774AA-542E-48C3-A864-EEA7245BD745}">
      <dsp:nvSpPr>
        <dsp:cNvPr id="0" name=""/>
        <dsp:cNvSpPr/>
      </dsp:nvSpPr>
      <dsp:spPr>
        <a:xfrm>
          <a:off x="4090" y="980710"/>
          <a:ext cx="2459851" cy="302746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dirty="0"/>
            <a:t>Tracks free space on a page uses 1 Byte/Page</a:t>
          </a:r>
          <a:endParaRPr lang="en-US" sz="1900" kern="1200" dirty="0"/>
        </a:p>
        <a:p>
          <a:pPr marL="171450" lvl="1" indent="-171450" algn="l" defTabSz="844550">
            <a:lnSpc>
              <a:spcPct val="90000"/>
            </a:lnSpc>
            <a:spcBef>
              <a:spcPct val="0"/>
            </a:spcBef>
            <a:spcAft>
              <a:spcPct val="15000"/>
            </a:spcAft>
            <a:buChar char="•"/>
          </a:pPr>
          <a:r>
            <a:rPr lang="en-US" sz="1900" kern="1200" baseline="0" dirty="0"/>
            <a:t>Covers 64 MB worth of pages</a:t>
          </a:r>
          <a:endParaRPr lang="en-US" sz="1900" kern="1200" dirty="0"/>
        </a:p>
      </dsp:txBody>
      <dsp:txXfrm>
        <a:off x="4090" y="980710"/>
        <a:ext cx="2459851" cy="3027460"/>
      </dsp:txXfrm>
    </dsp:sp>
    <dsp:sp modelId="{9FA250F5-EE59-4D85-8E94-4338AF834BF2}">
      <dsp:nvSpPr>
        <dsp:cNvPr id="0" name=""/>
        <dsp:cNvSpPr/>
      </dsp:nvSpPr>
      <dsp:spPr>
        <a:xfrm>
          <a:off x="2808321" y="5726"/>
          <a:ext cx="2459851" cy="974983"/>
        </a:xfrm>
        <a:prstGeom prst="rect">
          <a:avLst/>
        </a:prstGeom>
        <a:solidFill>
          <a:schemeClr val="accent2">
            <a:hueOff val="-889166"/>
            <a:satOff val="18461"/>
            <a:lumOff val="196"/>
            <a:alphaOff val="0"/>
          </a:schemeClr>
        </a:solidFill>
        <a:ln w="12700" cap="flat" cmpd="sng" algn="ctr">
          <a:solidFill>
            <a:schemeClr val="accent2">
              <a:hueOff val="-889166"/>
              <a:satOff val="18461"/>
              <a:lumOff val="19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Global Allocation Map (GAM)</a:t>
          </a:r>
          <a:endParaRPr lang="en-US" sz="1800" kern="1200" dirty="0"/>
        </a:p>
      </dsp:txBody>
      <dsp:txXfrm>
        <a:off x="2808321" y="5726"/>
        <a:ext cx="2459851" cy="974983"/>
      </dsp:txXfrm>
    </dsp:sp>
    <dsp:sp modelId="{AD3AE9D9-53BB-496E-A3E4-EF036CF514D2}">
      <dsp:nvSpPr>
        <dsp:cNvPr id="0" name=""/>
        <dsp:cNvSpPr/>
      </dsp:nvSpPr>
      <dsp:spPr>
        <a:xfrm>
          <a:off x="2808321" y="980710"/>
          <a:ext cx="2459851" cy="3027460"/>
        </a:xfrm>
        <a:prstGeom prst="rect">
          <a:avLst/>
        </a:prstGeom>
        <a:solidFill>
          <a:schemeClr val="accent2">
            <a:tint val="40000"/>
            <a:alpha val="90000"/>
            <a:hueOff val="-1162839"/>
            <a:satOff val="3109"/>
            <a:lumOff val="385"/>
            <a:alphaOff val="0"/>
          </a:schemeClr>
        </a:solidFill>
        <a:ln w="12700" cap="flat" cmpd="sng" algn="ctr">
          <a:solidFill>
            <a:schemeClr val="accent2">
              <a:tint val="40000"/>
              <a:alpha val="90000"/>
              <a:hueOff val="-1162839"/>
              <a:satOff val="3109"/>
              <a:lumOff val="3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dirty="0"/>
            <a:t>Tracks Uniform extents that have been allocated</a:t>
          </a:r>
          <a:br>
            <a:rPr lang="en-US" sz="1900" kern="1200" baseline="0" dirty="0"/>
          </a:br>
          <a:r>
            <a:rPr lang="en-US" sz="1900" kern="1200" baseline="0" dirty="0"/>
            <a:t>uses 1 Bit/extent</a:t>
          </a:r>
          <a:endParaRPr lang="en-US" sz="1900" kern="1200" dirty="0"/>
        </a:p>
        <a:p>
          <a:pPr marL="171450" lvl="1" indent="-171450" algn="l" defTabSz="844550">
            <a:lnSpc>
              <a:spcPct val="90000"/>
            </a:lnSpc>
            <a:spcBef>
              <a:spcPct val="0"/>
            </a:spcBef>
            <a:spcAft>
              <a:spcPct val="15000"/>
            </a:spcAft>
            <a:buChar char="•"/>
          </a:pPr>
          <a:r>
            <a:rPr lang="en-US" sz="1900" kern="1200" baseline="0" dirty="0"/>
            <a:t>Covers 64,000 extents (4 GB worth of data)</a:t>
          </a:r>
          <a:endParaRPr lang="en-US" sz="1900" kern="1200" dirty="0"/>
        </a:p>
      </dsp:txBody>
      <dsp:txXfrm>
        <a:off x="2808321" y="980710"/>
        <a:ext cx="2459851" cy="3027460"/>
      </dsp:txXfrm>
    </dsp:sp>
    <dsp:sp modelId="{580B96B5-8BC4-454D-B4D6-22D2C7BBC512}">
      <dsp:nvSpPr>
        <dsp:cNvPr id="0" name=""/>
        <dsp:cNvSpPr/>
      </dsp:nvSpPr>
      <dsp:spPr>
        <a:xfrm>
          <a:off x="5612552" y="5726"/>
          <a:ext cx="2459851" cy="974983"/>
        </a:xfrm>
        <a:prstGeom prst="rect">
          <a:avLst/>
        </a:prstGeom>
        <a:solidFill>
          <a:schemeClr val="accent2">
            <a:hueOff val="-1778331"/>
            <a:satOff val="36921"/>
            <a:lumOff val="392"/>
            <a:alphaOff val="0"/>
          </a:schemeClr>
        </a:solidFill>
        <a:ln w="12700" cap="flat" cmpd="sng" algn="ctr">
          <a:solidFill>
            <a:schemeClr val="accent2">
              <a:hueOff val="-1778331"/>
              <a:satOff val="36921"/>
              <a:lumOff val="39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Shared Global Allocation Map (SGAM)</a:t>
          </a:r>
          <a:endParaRPr lang="en-US" sz="1800" kern="1200" dirty="0"/>
        </a:p>
      </dsp:txBody>
      <dsp:txXfrm>
        <a:off x="5612552" y="5726"/>
        <a:ext cx="2459851" cy="974983"/>
      </dsp:txXfrm>
    </dsp:sp>
    <dsp:sp modelId="{403F8695-450D-4790-878E-6F6D6F842041}">
      <dsp:nvSpPr>
        <dsp:cNvPr id="0" name=""/>
        <dsp:cNvSpPr/>
      </dsp:nvSpPr>
      <dsp:spPr>
        <a:xfrm>
          <a:off x="5612552" y="980710"/>
          <a:ext cx="2459851" cy="3027460"/>
        </a:xfrm>
        <a:prstGeom prst="rect">
          <a:avLst/>
        </a:prstGeom>
        <a:solidFill>
          <a:schemeClr val="accent2">
            <a:tint val="40000"/>
            <a:alpha val="90000"/>
            <a:hueOff val="-2325678"/>
            <a:satOff val="6218"/>
            <a:lumOff val="769"/>
            <a:alphaOff val="0"/>
          </a:schemeClr>
        </a:solidFill>
        <a:ln w="12700" cap="flat" cmpd="sng" algn="ctr">
          <a:solidFill>
            <a:schemeClr val="accent2">
              <a:tint val="40000"/>
              <a:alpha val="90000"/>
              <a:hueOff val="-2325678"/>
              <a:satOff val="6218"/>
              <a:lumOff val="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dirty="0"/>
            <a:t>Tracks Mixed extents that have all 8 pages allocated</a:t>
          </a:r>
          <a:br>
            <a:rPr lang="en-US" sz="1900" kern="1200" baseline="0" dirty="0"/>
          </a:br>
          <a:r>
            <a:rPr lang="en-US" sz="1900" kern="1200" baseline="0" dirty="0"/>
            <a:t>uses 1 Bit/extent</a:t>
          </a:r>
          <a:endParaRPr lang="en-US" sz="1900" kern="1200" dirty="0"/>
        </a:p>
        <a:p>
          <a:pPr marL="171450" lvl="1" indent="-171450" algn="l" defTabSz="844550">
            <a:lnSpc>
              <a:spcPct val="90000"/>
            </a:lnSpc>
            <a:spcBef>
              <a:spcPct val="0"/>
            </a:spcBef>
            <a:spcAft>
              <a:spcPct val="15000"/>
            </a:spcAft>
            <a:buChar char="•"/>
          </a:pPr>
          <a:r>
            <a:rPr lang="en-US" sz="1900" kern="1200" baseline="0" dirty="0"/>
            <a:t>Covers 64,000 extents (4 GB worth of data)</a:t>
          </a:r>
          <a:endParaRPr lang="en-US" sz="1900" kern="1200" dirty="0"/>
        </a:p>
      </dsp:txBody>
      <dsp:txXfrm>
        <a:off x="5612552" y="980710"/>
        <a:ext cx="2459851" cy="3027460"/>
      </dsp:txXfrm>
    </dsp:sp>
    <dsp:sp modelId="{7D0E2B34-C1FF-4757-9556-4EBE8E8751BA}">
      <dsp:nvSpPr>
        <dsp:cNvPr id="0" name=""/>
        <dsp:cNvSpPr/>
      </dsp:nvSpPr>
      <dsp:spPr>
        <a:xfrm>
          <a:off x="8416782" y="5726"/>
          <a:ext cx="2459851" cy="974983"/>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Index Allocation Map (IAM)</a:t>
          </a:r>
          <a:endParaRPr lang="en-US" sz="1800" kern="1200" dirty="0"/>
        </a:p>
      </dsp:txBody>
      <dsp:txXfrm>
        <a:off x="8416782" y="5726"/>
        <a:ext cx="2459851" cy="974983"/>
      </dsp:txXfrm>
    </dsp:sp>
    <dsp:sp modelId="{7849064C-C948-4E3B-AB3A-3790921E0E33}">
      <dsp:nvSpPr>
        <dsp:cNvPr id="0" name=""/>
        <dsp:cNvSpPr/>
      </dsp:nvSpPr>
      <dsp:spPr>
        <a:xfrm>
          <a:off x="8416782" y="980710"/>
          <a:ext cx="2459851" cy="3027460"/>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dirty="0"/>
            <a:t>Tracks extents that are allocated to an allocation unit</a:t>
          </a:r>
          <a:endParaRPr lang="en-US" sz="1900" kern="1200" dirty="0"/>
        </a:p>
        <a:p>
          <a:pPr marL="171450" lvl="1" indent="-171450" algn="l" defTabSz="844550">
            <a:lnSpc>
              <a:spcPct val="90000"/>
            </a:lnSpc>
            <a:spcBef>
              <a:spcPct val="0"/>
            </a:spcBef>
            <a:spcAft>
              <a:spcPct val="15000"/>
            </a:spcAft>
            <a:buChar char="•"/>
          </a:pPr>
          <a:r>
            <a:rPr lang="en-US" sz="1900" kern="1200" baseline="0" dirty="0"/>
            <a:t>Covers 4 GB worth of data</a:t>
          </a:r>
          <a:endParaRPr lang="en-US" sz="1900" kern="1200" dirty="0"/>
        </a:p>
        <a:p>
          <a:pPr marL="171450" lvl="1" indent="-171450" algn="l" defTabSz="844550">
            <a:lnSpc>
              <a:spcPct val="90000"/>
            </a:lnSpc>
            <a:spcBef>
              <a:spcPct val="0"/>
            </a:spcBef>
            <a:spcAft>
              <a:spcPct val="15000"/>
            </a:spcAft>
            <a:buChar char="•"/>
          </a:pPr>
          <a:r>
            <a:rPr lang="en-US" sz="1900" kern="1200" baseline="0" dirty="0"/>
            <a:t>One IAM chain per table, per index, per partition, per allocation unit type</a:t>
          </a:r>
          <a:endParaRPr lang="en-US" sz="1900" kern="1200" dirty="0"/>
        </a:p>
      </dsp:txBody>
      <dsp:txXfrm>
        <a:off x="8416782" y="980710"/>
        <a:ext cx="2459851" cy="302746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49C234-723A-4BDE-AC95-03F9FB295F41}">
      <dsp:nvSpPr>
        <dsp:cNvPr id="0" name=""/>
        <dsp:cNvSpPr/>
      </dsp:nvSpPr>
      <dsp:spPr>
        <a:xfrm>
          <a:off x="0" y="483824"/>
          <a:ext cx="10880725" cy="16632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666496" rIns="844465" bIns="170688"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On object creation 2 pages from a mixed extents are allocated</a:t>
          </a:r>
        </a:p>
        <a:p>
          <a:pPr marL="228600" lvl="1" indent="-228600" algn="l" defTabSz="1066800">
            <a:lnSpc>
              <a:spcPct val="90000"/>
            </a:lnSpc>
            <a:spcBef>
              <a:spcPct val="0"/>
            </a:spcBef>
            <a:spcAft>
              <a:spcPct val="15000"/>
            </a:spcAft>
            <a:buChar char="•"/>
          </a:pPr>
          <a:r>
            <a:rPr lang="en-US" sz="2400" kern="1200" dirty="0"/>
            <a:t>After 8 data pages,  new allocation comes from Uniform Extent</a:t>
          </a:r>
        </a:p>
      </dsp:txBody>
      <dsp:txXfrm>
        <a:off x="0" y="483824"/>
        <a:ext cx="10880725" cy="1663200"/>
      </dsp:txXfrm>
    </dsp:sp>
    <dsp:sp modelId="{3AD40822-D0F7-405C-A43B-CE4D829B28CD}">
      <dsp:nvSpPr>
        <dsp:cNvPr id="0" name=""/>
        <dsp:cNvSpPr/>
      </dsp:nvSpPr>
      <dsp:spPr>
        <a:xfrm>
          <a:off x="544036" y="11504"/>
          <a:ext cx="7616507" cy="9446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dirty="0"/>
            <a:t>Up to, and including, SQL Server 2014 (12.x)</a:t>
          </a:r>
        </a:p>
      </dsp:txBody>
      <dsp:txXfrm>
        <a:off x="590150" y="57618"/>
        <a:ext cx="7524279" cy="852412"/>
      </dsp:txXfrm>
    </dsp:sp>
    <dsp:sp modelId="{F8D3E4B6-63BC-4D03-8AB8-DA50D9D29A49}">
      <dsp:nvSpPr>
        <dsp:cNvPr id="0" name=""/>
        <dsp:cNvSpPr/>
      </dsp:nvSpPr>
      <dsp:spPr>
        <a:xfrm>
          <a:off x="0" y="2792145"/>
          <a:ext cx="10880725" cy="2016000"/>
        </a:xfrm>
        <a:prstGeom prst="rect">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666496" rIns="844465" bIns="170688"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Default for allocations in the database is Uniform extents for Data pages</a:t>
          </a:r>
        </a:p>
        <a:p>
          <a:pPr marL="228600" lvl="1" indent="-228600" algn="l" defTabSz="1066800">
            <a:lnSpc>
              <a:spcPct val="90000"/>
            </a:lnSpc>
            <a:spcBef>
              <a:spcPct val="0"/>
            </a:spcBef>
            <a:spcAft>
              <a:spcPct val="15000"/>
            </a:spcAft>
            <a:buChar char="•"/>
          </a:pPr>
          <a:r>
            <a:rPr lang="en-US" sz="2400" kern="1200" dirty="0"/>
            <a:t>Decreases contention on SGAM objects</a:t>
          </a:r>
        </a:p>
      </dsp:txBody>
      <dsp:txXfrm>
        <a:off x="0" y="2792145"/>
        <a:ext cx="10880725" cy="2016000"/>
      </dsp:txXfrm>
    </dsp:sp>
    <dsp:sp modelId="{902416DC-60D1-44E1-A9BA-CB288DCD1D84}">
      <dsp:nvSpPr>
        <dsp:cNvPr id="0" name=""/>
        <dsp:cNvSpPr/>
      </dsp:nvSpPr>
      <dsp:spPr>
        <a:xfrm>
          <a:off x="544036" y="2319825"/>
          <a:ext cx="7616507" cy="94464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dirty="0"/>
            <a:t>Starting with SQL Server 2016 (13.x)</a:t>
          </a:r>
        </a:p>
      </dsp:txBody>
      <dsp:txXfrm>
        <a:off x="590150" y="2365939"/>
        <a:ext cx="7524279" cy="852412"/>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26BE7E-BB42-40A4-8B14-2BC2362B0DA7}">
      <dsp:nvSpPr>
        <dsp:cNvPr id="0" name=""/>
        <dsp:cNvSpPr/>
      </dsp:nvSpPr>
      <dsp:spPr>
        <a:xfrm>
          <a:off x="0" y="336961"/>
          <a:ext cx="10880726" cy="909562"/>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437388" rIns="844465" bIns="149352" numCol="1" spcCol="1270" anchor="t" anchorCtr="0">
          <a:noAutofit/>
        </a:bodyPr>
        <a:lstStyle/>
        <a:p>
          <a:pPr marL="228600" lvl="1" indent="-228600" algn="l" defTabSz="933450">
            <a:lnSpc>
              <a:spcPct val="90000"/>
            </a:lnSpc>
            <a:spcBef>
              <a:spcPct val="0"/>
            </a:spcBef>
            <a:spcAft>
              <a:spcPct val="15000"/>
            </a:spcAft>
            <a:buChar char="•"/>
          </a:pPr>
          <a:r>
            <a:rPr lang="en-US" sz="2100" kern="1200" dirty="0"/>
            <a:t>Trace flag 1118 is used to change default allocation to use uniform extents</a:t>
          </a:r>
        </a:p>
      </dsp:txBody>
      <dsp:txXfrm>
        <a:off x="0" y="336961"/>
        <a:ext cx="10880726" cy="909562"/>
      </dsp:txXfrm>
    </dsp:sp>
    <dsp:sp modelId="{8C141144-BE9A-4ADC-8E56-27B68CEDA7A5}">
      <dsp:nvSpPr>
        <dsp:cNvPr id="0" name=""/>
        <dsp:cNvSpPr/>
      </dsp:nvSpPr>
      <dsp:spPr>
        <a:xfrm>
          <a:off x="544036" y="27001"/>
          <a:ext cx="7616508" cy="6199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933450">
            <a:lnSpc>
              <a:spcPct val="90000"/>
            </a:lnSpc>
            <a:spcBef>
              <a:spcPct val="0"/>
            </a:spcBef>
            <a:spcAft>
              <a:spcPct val="35000"/>
            </a:spcAft>
            <a:buNone/>
          </a:pPr>
          <a:r>
            <a:rPr lang="en-US" sz="2100" kern="1200" dirty="0"/>
            <a:t>Up to, and including, SQL Server 2014 (12.x)</a:t>
          </a:r>
        </a:p>
      </dsp:txBody>
      <dsp:txXfrm>
        <a:off x="574298" y="57263"/>
        <a:ext cx="7555984" cy="559396"/>
      </dsp:txXfrm>
    </dsp:sp>
    <dsp:sp modelId="{87CA896E-F38B-413B-8D64-35A7D0637E54}">
      <dsp:nvSpPr>
        <dsp:cNvPr id="0" name=""/>
        <dsp:cNvSpPr/>
      </dsp:nvSpPr>
      <dsp:spPr>
        <a:xfrm>
          <a:off x="0" y="1669884"/>
          <a:ext cx="10880726" cy="238140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437388" rIns="844465" bIns="149352" numCol="1" spcCol="1270" anchor="t" anchorCtr="0">
          <a:noAutofit/>
        </a:bodyPr>
        <a:lstStyle/>
        <a:p>
          <a:pPr marL="228600" lvl="1" indent="-228600" algn="l" defTabSz="933450">
            <a:lnSpc>
              <a:spcPct val="90000"/>
            </a:lnSpc>
            <a:spcBef>
              <a:spcPct val="0"/>
            </a:spcBef>
            <a:spcAft>
              <a:spcPct val="15000"/>
            </a:spcAft>
            <a:buChar char="•"/>
          </a:pPr>
          <a:r>
            <a:rPr lang="en-US" sz="2100" kern="1200" dirty="0"/>
            <a:t>For TempDB: TF 1118 functionality is automatically enabled. </a:t>
          </a:r>
        </a:p>
        <a:p>
          <a:pPr marL="228600" lvl="1" indent="-228600" algn="l" defTabSz="933450">
            <a:lnSpc>
              <a:spcPct val="90000"/>
            </a:lnSpc>
            <a:spcBef>
              <a:spcPct val="0"/>
            </a:spcBef>
            <a:spcAft>
              <a:spcPct val="15000"/>
            </a:spcAft>
            <a:buChar char="•"/>
          </a:pPr>
          <a:r>
            <a:rPr lang="en-US" sz="2100" kern="1200" dirty="0"/>
            <a:t>For user databases: behavior controlled with SET MIXED_PAGE_ALLOCATION option of ALTER DATABASE </a:t>
          </a:r>
        </a:p>
        <a:p>
          <a:pPr marL="457200" lvl="2" indent="-228600" algn="l" defTabSz="933450">
            <a:lnSpc>
              <a:spcPct val="90000"/>
            </a:lnSpc>
            <a:spcBef>
              <a:spcPct val="0"/>
            </a:spcBef>
            <a:spcAft>
              <a:spcPct val="15000"/>
            </a:spcAft>
            <a:buChar char="•"/>
          </a:pPr>
          <a:r>
            <a:rPr lang="en-US" sz="2100" kern="1200" dirty="0"/>
            <a:t>default value set to OFF</a:t>
          </a:r>
        </a:p>
        <a:p>
          <a:pPr marL="457200" lvl="2" indent="-228600" algn="l" defTabSz="933450">
            <a:lnSpc>
              <a:spcPct val="90000"/>
            </a:lnSpc>
            <a:spcBef>
              <a:spcPct val="0"/>
            </a:spcBef>
            <a:spcAft>
              <a:spcPct val="15000"/>
            </a:spcAft>
            <a:buChar char="•"/>
          </a:pPr>
          <a:r>
            <a:rPr lang="en-US" sz="2100" kern="1200" dirty="0"/>
            <a:t>TF 1118 has no effect. </a:t>
          </a:r>
        </a:p>
      </dsp:txBody>
      <dsp:txXfrm>
        <a:off x="0" y="1669884"/>
        <a:ext cx="10880726" cy="2381400"/>
      </dsp:txXfrm>
    </dsp:sp>
    <dsp:sp modelId="{164A6808-8EE2-47A5-93C4-FA0FBCBBA633}">
      <dsp:nvSpPr>
        <dsp:cNvPr id="0" name=""/>
        <dsp:cNvSpPr/>
      </dsp:nvSpPr>
      <dsp:spPr>
        <a:xfrm>
          <a:off x="544036" y="1359924"/>
          <a:ext cx="7616508" cy="6199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933450">
            <a:lnSpc>
              <a:spcPct val="90000"/>
            </a:lnSpc>
            <a:spcBef>
              <a:spcPct val="0"/>
            </a:spcBef>
            <a:spcAft>
              <a:spcPct val="35000"/>
            </a:spcAft>
            <a:buNone/>
          </a:pPr>
          <a:r>
            <a:rPr lang="en-US" sz="2100" kern="1200" dirty="0"/>
            <a:t>Starting with SQL Server 2016 (13.x) </a:t>
          </a:r>
        </a:p>
      </dsp:txBody>
      <dsp:txXfrm>
        <a:off x="574298" y="1390186"/>
        <a:ext cx="7555984" cy="559396"/>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4671BD-453B-4DC7-AB38-1927A49795DB}">
      <dsp:nvSpPr>
        <dsp:cNvPr id="0" name=""/>
        <dsp:cNvSpPr/>
      </dsp:nvSpPr>
      <dsp:spPr>
        <a:xfrm>
          <a:off x="0" y="10761"/>
          <a:ext cx="10880726" cy="580320"/>
        </a:xfrm>
        <a:prstGeom prst="roundRect">
          <a:avLst/>
        </a:prstGeom>
        <a:solidFill>
          <a:schemeClr val="accent2">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Although BCM pages appear in all databases, they are only relevant when the database is using the bulk-logged recovery model.</a:t>
          </a:r>
        </a:p>
      </dsp:txBody>
      <dsp:txXfrm>
        <a:off x="28329" y="39090"/>
        <a:ext cx="10824068" cy="523662"/>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6B62B5-D21B-4577-8B59-54E4FBFB3336}">
      <dsp:nvSpPr>
        <dsp:cNvPr id="0" name=""/>
        <dsp:cNvSpPr/>
      </dsp:nvSpPr>
      <dsp:spPr>
        <a:xfrm>
          <a:off x="-5449264" y="-834379"/>
          <a:ext cx="6488409" cy="6488409"/>
        </a:xfrm>
        <a:prstGeom prst="blockArc">
          <a:avLst>
            <a:gd name="adj1" fmla="val 18900000"/>
            <a:gd name="adj2" fmla="val 2700000"/>
            <a:gd name="adj3" fmla="val 333"/>
          </a:avLst>
        </a:pr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E59AC26-1B75-4199-BB4D-634808FCADB0}">
      <dsp:nvSpPr>
        <dsp:cNvPr id="0" name=""/>
        <dsp:cNvSpPr/>
      </dsp:nvSpPr>
      <dsp:spPr>
        <a:xfrm>
          <a:off x="454364" y="301131"/>
          <a:ext cx="10359238" cy="602649"/>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8353"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t>One .ldf file per database</a:t>
          </a:r>
        </a:p>
      </dsp:txBody>
      <dsp:txXfrm>
        <a:off x="454364" y="301131"/>
        <a:ext cx="10359238" cy="602649"/>
      </dsp:txXfrm>
    </dsp:sp>
    <dsp:sp modelId="{861DC932-751C-424A-875F-E4841DC99BA3}">
      <dsp:nvSpPr>
        <dsp:cNvPr id="0" name=""/>
        <dsp:cNvSpPr/>
      </dsp:nvSpPr>
      <dsp:spPr>
        <a:xfrm>
          <a:off x="77709" y="225800"/>
          <a:ext cx="753311" cy="753311"/>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B45A9AB-CA98-4D96-8E24-FDEA17711EF4}">
      <dsp:nvSpPr>
        <dsp:cNvPr id="0" name=""/>
        <dsp:cNvSpPr/>
      </dsp:nvSpPr>
      <dsp:spPr>
        <a:xfrm>
          <a:off x="886205" y="1204816"/>
          <a:ext cx="9927398" cy="602649"/>
        </a:xfrm>
        <a:prstGeom prst="rect">
          <a:avLst/>
        </a:prstGeom>
        <a:solidFill>
          <a:schemeClr val="accent2">
            <a:hueOff val="-666874"/>
            <a:satOff val="13846"/>
            <a:lumOff val="1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8353"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t>Sequential reads and writes</a:t>
          </a:r>
        </a:p>
      </dsp:txBody>
      <dsp:txXfrm>
        <a:off x="886205" y="1204816"/>
        <a:ext cx="9927398" cy="602649"/>
      </dsp:txXfrm>
    </dsp:sp>
    <dsp:sp modelId="{57DAF8D8-8318-4562-BBB2-9B9DA1499FFD}">
      <dsp:nvSpPr>
        <dsp:cNvPr id="0" name=""/>
        <dsp:cNvSpPr/>
      </dsp:nvSpPr>
      <dsp:spPr>
        <a:xfrm>
          <a:off x="509549" y="1129484"/>
          <a:ext cx="753311" cy="753311"/>
        </a:xfrm>
        <a:prstGeom prst="ellipse">
          <a:avLst/>
        </a:prstGeom>
        <a:solidFill>
          <a:schemeClr val="lt1">
            <a:hueOff val="0"/>
            <a:satOff val="0"/>
            <a:lumOff val="0"/>
            <a:alphaOff val="0"/>
          </a:schemeClr>
        </a:solidFill>
        <a:ln w="12700" cap="flat" cmpd="sng" algn="ctr">
          <a:solidFill>
            <a:schemeClr val="accent2">
              <a:hueOff val="-666874"/>
              <a:satOff val="13846"/>
              <a:lumOff val="147"/>
              <a:alphaOff val="0"/>
            </a:schemeClr>
          </a:solidFill>
          <a:prstDash val="solid"/>
          <a:miter lim="800000"/>
        </a:ln>
        <a:effectLst/>
      </dsp:spPr>
      <dsp:style>
        <a:lnRef idx="2">
          <a:scrgbClr r="0" g="0" b="0"/>
        </a:lnRef>
        <a:fillRef idx="1">
          <a:scrgbClr r="0" g="0" b="0"/>
        </a:fillRef>
        <a:effectRef idx="0">
          <a:scrgbClr r="0" g="0" b="0"/>
        </a:effectRef>
        <a:fontRef idx="minor"/>
      </dsp:style>
    </dsp:sp>
    <dsp:sp modelId="{F704E7CE-CEA4-491B-BF18-7827E2BB1B97}">
      <dsp:nvSpPr>
        <dsp:cNvPr id="0" name=""/>
        <dsp:cNvSpPr/>
      </dsp:nvSpPr>
      <dsp:spPr>
        <a:xfrm>
          <a:off x="1018745" y="2108500"/>
          <a:ext cx="9794857" cy="602649"/>
        </a:xfrm>
        <a:prstGeom prst="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8353"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t>Write activity during the log buffer flush operations</a:t>
          </a:r>
        </a:p>
      </dsp:txBody>
      <dsp:txXfrm>
        <a:off x="1018745" y="2108500"/>
        <a:ext cx="9794857" cy="602649"/>
      </dsp:txXfrm>
    </dsp:sp>
    <dsp:sp modelId="{8D2A7DFF-22BB-40E1-A924-137C6AC119F2}">
      <dsp:nvSpPr>
        <dsp:cNvPr id="0" name=""/>
        <dsp:cNvSpPr/>
      </dsp:nvSpPr>
      <dsp:spPr>
        <a:xfrm>
          <a:off x="642090" y="2033169"/>
          <a:ext cx="753311" cy="753311"/>
        </a:xfrm>
        <a:prstGeom prst="ellipse">
          <a:avLst/>
        </a:prstGeom>
        <a:solidFill>
          <a:schemeClr val="lt1">
            <a:hueOff val="0"/>
            <a:satOff val="0"/>
            <a:lumOff val="0"/>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dsp:style>
    </dsp:sp>
    <dsp:sp modelId="{7972774F-A97B-425D-8CDF-1B57EC9EA72A}">
      <dsp:nvSpPr>
        <dsp:cNvPr id="0" name=""/>
        <dsp:cNvSpPr/>
      </dsp:nvSpPr>
      <dsp:spPr>
        <a:xfrm>
          <a:off x="886205" y="3012184"/>
          <a:ext cx="9927398" cy="602649"/>
        </a:xfrm>
        <a:prstGeom prst="rect">
          <a:avLst/>
        </a:prstGeom>
        <a:solidFill>
          <a:schemeClr val="accent2">
            <a:hueOff val="-2000623"/>
            <a:satOff val="41537"/>
            <a:lumOff val="4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8353"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t>Read activity during checkpoints, backups, and recovery</a:t>
          </a:r>
        </a:p>
      </dsp:txBody>
      <dsp:txXfrm>
        <a:off x="886205" y="3012184"/>
        <a:ext cx="9927398" cy="602649"/>
      </dsp:txXfrm>
    </dsp:sp>
    <dsp:sp modelId="{51597AEA-5E7F-4B28-98B4-4CA4F42CB811}">
      <dsp:nvSpPr>
        <dsp:cNvPr id="0" name=""/>
        <dsp:cNvSpPr/>
      </dsp:nvSpPr>
      <dsp:spPr>
        <a:xfrm>
          <a:off x="509549" y="2936853"/>
          <a:ext cx="753311" cy="753311"/>
        </a:xfrm>
        <a:prstGeom prst="ellipse">
          <a:avLst/>
        </a:prstGeom>
        <a:solidFill>
          <a:schemeClr val="lt1">
            <a:hueOff val="0"/>
            <a:satOff val="0"/>
            <a:lumOff val="0"/>
            <a:alphaOff val="0"/>
          </a:schemeClr>
        </a:solidFill>
        <a:ln w="12700" cap="flat" cmpd="sng" algn="ctr">
          <a:solidFill>
            <a:schemeClr val="accent2">
              <a:hueOff val="-2000623"/>
              <a:satOff val="41537"/>
              <a:lumOff val="441"/>
              <a:alphaOff val="0"/>
            </a:schemeClr>
          </a:solidFill>
          <a:prstDash val="solid"/>
          <a:miter lim="800000"/>
        </a:ln>
        <a:effectLst/>
      </dsp:spPr>
      <dsp:style>
        <a:lnRef idx="2">
          <a:scrgbClr r="0" g="0" b="0"/>
        </a:lnRef>
        <a:fillRef idx="1">
          <a:scrgbClr r="0" g="0" b="0"/>
        </a:fillRef>
        <a:effectRef idx="0">
          <a:scrgbClr r="0" g="0" b="0"/>
        </a:effectRef>
        <a:fontRef idx="minor"/>
      </dsp:style>
    </dsp:sp>
    <dsp:sp modelId="{D49EF4B7-CC55-43EA-AF5E-19D2E8D7A578}">
      <dsp:nvSpPr>
        <dsp:cNvPr id="0" name=""/>
        <dsp:cNvSpPr/>
      </dsp:nvSpPr>
      <dsp:spPr>
        <a:xfrm>
          <a:off x="454364" y="3915869"/>
          <a:ext cx="10359238" cy="602649"/>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8353"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t>Features such as database mirroring and replication will increase read and write activity</a:t>
          </a:r>
        </a:p>
      </dsp:txBody>
      <dsp:txXfrm>
        <a:off x="454364" y="3915869"/>
        <a:ext cx="10359238" cy="602649"/>
      </dsp:txXfrm>
    </dsp:sp>
    <dsp:sp modelId="{B4557B4E-2930-43D2-97CA-B1759C6FB054}">
      <dsp:nvSpPr>
        <dsp:cNvPr id="0" name=""/>
        <dsp:cNvSpPr/>
      </dsp:nvSpPr>
      <dsp:spPr>
        <a:xfrm>
          <a:off x="77709" y="3840538"/>
          <a:ext cx="753311" cy="753311"/>
        </a:xfrm>
        <a:prstGeom prst="ellipse">
          <a:avLst/>
        </a:prstGeom>
        <a:solidFill>
          <a:schemeClr val="lt1">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0EC126-B54C-4A39-B43E-00AAA6C88407}">
      <dsp:nvSpPr>
        <dsp:cNvPr id="0" name=""/>
        <dsp:cNvSpPr/>
      </dsp:nvSpPr>
      <dsp:spPr>
        <a:xfrm>
          <a:off x="0" y="327906"/>
          <a:ext cx="1088072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Sequence of log records contained in one or more physical files</a:t>
          </a:r>
        </a:p>
      </dsp:txBody>
      <dsp:txXfrm>
        <a:off x="35183" y="363089"/>
        <a:ext cx="10810359" cy="650354"/>
      </dsp:txXfrm>
    </dsp:sp>
    <dsp:sp modelId="{4C9A9914-DD0A-4C91-B538-3977C68EC542}">
      <dsp:nvSpPr>
        <dsp:cNvPr id="0" name=""/>
        <dsp:cNvSpPr/>
      </dsp:nvSpPr>
      <dsp:spPr>
        <a:xfrm>
          <a:off x="0" y="1129266"/>
          <a:ext cx="1088072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Records identified by increasing Logical Sequence Numbers (LSNs)</a:t>
          </a:r>
        </a:p>
      </dsp:txBody>
      <dsp:txXfrm>
        <a:off x="35183" y="1164449"/>
        <a:ext cx="10810359" cy="650354"/>
      </dsp:txXfrm>
    </dsp:sp>
    <dsp:sp modelId="{1F29812F-2C73-41C3-BCDF-E3337FCE8F80}">
      <dsp:nvSpPr>
        <dsp:cNvPr id="0" name=""/>
        <dsp:cNvSpPr/>
      </dsp:nvSpPr>
      <dsp:spPr>
        <a:xfrm>
          <a:off x="0" y="1930573"/>
          <a:ext cx="1088072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Recorded operations:</a:t>
          </a:r>
        </a:p>
      </dsp:txBody>
      <dsp:txXfrm>
        <a:off x="35183" y="1965756"/>
        <a:ext cx="10810359" cy="650354"/>
      </dsp:txXfrm>
    </dsp:sp>
    <dsp:sp modelId="{9FDA6E21-A9D4-4B38-BB1E-F3989DB31312}">
      <dsp:nvSpPr>
        <dsp:cNvPr id="0" name=""/>
        <dsp:cNvSpPr/>
      </dsp:nvSpPr>
      <dsp:spPr>
        <a:xfrm>
          <a:off x="0" y="2745615"/>
          <a:ext cx="10880725" cy="16518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dirty="0"/>
            <a:t>Start and end of each transaction</a:t>
          </a:r>
        </a:p>
        <a:p>
          <a:pPr marL="228600" lvl="1" indent="-228600" algn="l" defTabSz="977900">
            <a:lnSpc>
              <a:spcPct val="90000"/>
            </a:lnSpc>
            <a:spcBef>
              <a:spcPct val="0"/>
            </a:spcBef>
            <a:spcAft>
              <a:spcPct val="20000"/>
            </a:spcAft>
            <a:buChar char="•"/>
          </a:pPr>
          <a:r>
            <a:rPr lang="en-US" sz="2200" kern="1200" dirty="0"/>
            <a:t>All database modifications</a:t>
          </a:r>
        </a:p>
        <a:p>
          <a:pPr marL="228600" lvl="1" indent="-228600" algn="l" defTabSz="977900">
            <a:lnSpc>
              <a:spcPct val="90000"/>
            </a:lnSpc>
            <a:spcBef>
              <a:spcPct val="0"/>
            </a:spcBef>
            <a:spcAft>
              <a:spcPct val="20000"/>
            </a:spcAft>
            <a:buChar char="•"/>
          </a:pPr>
          <a:r>
            <a:rPr lang="en-US" sz="2200" kern="1200" dirty="0"/>
            <a:t>Extent and page allocation or deallocation</a:t>
          </a:r>
        </a:p>
        <a:p>
          <a:pPr marL="228600" lvl="1" indent="-228600" algn="l" defTabSz="977900">
            <a:lnSpc>
              <a:spcPct val="90000"/>
            </a:lnSpc>
            <a:spcBef>
              <a:spcPct val="0"/>
            </a:spcBef>
            <a:spcAft>
              <a:spcPct val="20000"/>
            </a:spcAft>
            <a:buChar char="•"/>
          </a:pPr>
          <a:r>
            <a:rPr lang="en-US" sz="2200" kern="1200" dirty="0"/>
            <a:t>Creating and dropping objects</a:t>
          </a:r>
        </a:p>
      </dsp:txBody>
      <dsp:txXfrm>
        <a:off x="0" y="2745615"/>
        <a:ext cx="10880725" cy="1651860"/>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857E30-CB40-4959-93BD-2B947737A584}">
      <dsp:nvSpPr>
        <dsp:cNvPr id="0" name=""/>
        <dsp:cNvSpPr/>
      </dsp:nvSpPr>
      <dsp:spPr>
        <a:xfrm>
          <a:off x="53" y="38752"/>
          <a:ext cx="5084401" cy="15552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89408" rIns="156464" bIns="89408" numCol="1" spcCol="1270" anchor="ctr" anchorCtr="0">
          <a:noAutofit/>
        </a:bodyPr>
        <a:lstStyle/>
        <a:p>
          <a:pPr marL="0" lvl="0" indent="0" algn="ctr" defTabSz="977900">
            <a:lnSpc>
              <a:spcPct val="90000"/>
            </a:lnSpc>
            <a:spcBef>
              <a:spcPct val="0"/>
            </a:spcBef>
            <a:spcAft>
              <a:spcPct val="35000"/>
            </a:spcAft>
            <a:buNone/>
          </a:pPr>
          <a:r>
            <a:rPr lang="en-US" sz="2200" kern="1200" dirty="0">
              <a:latin typeface="Segoe UI" panose="020B0502040204020203" pitchFamily="34" charset="0"/>
            </a:rPr>
            <a:t>VLF count T-LOG file creation</a:t>
          </a:r>
        </a:p>
      </dsp:txBody>
      <dsp:txXfrm>
        <a:off x="53" y="38752"/>
        <a:ext cx="5084401" cy="1555200"/>
      </dsp:txXfrm>
    </dsp:sp>
    <dsp:sp modelId="{F818A7ED-A6B5-4A92-BE5F-15C48862F954}">
      <dsp:nvSpPr>
        <dsp:cNvPr id="0" name=""/>
        <dsp:cNvSpPr/>
      </dsp:nvSpPr>
      <dsp:spPr>
        <a:xfrm>
          <a:off x="53" y="1593952"/>
          <a:ext cx="5084401" cy="3186945"/>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228600" lvl="1" indent="-228600" algn="l" defTabSz="977900">
            <a:lnSpc>
              <a:spcPct val="90000"/>
            </a:lnSpc>
            <a:spcBef>
              <a:spcPct val="0"/>
            </a:spcBef>
            <a:spcAft>
              <a:spcPct val="15000"/>
            </a:spcAft>
            <a:buNone/>
          </a:pPr>
          <a:r>
            <a:rPr lang="en-US" sz="2200" kern="1200" baseline="0" dirty="0"/>
            <a:t>Size &lt;= 64 MB  </a:t>
          </a:r>
          <a:r>
            <a:rPr lang="en-US" sz="2200" kern="1200" baseline="0" dirty="0">
              <a:sym typeface="Wingdings" panose="05000000000000000000" pitchFamily="2" charset="2"/>
            </a:rPr>
            <a:t></a:t>
          </a:r>
          <a:r>
            <a:rPr lang="en-US" sz="2200" kern="1200" baseline="0" dirty="0"/>
            <a:t> 4 VLFs</a:t>
          </a:r>
          <a:endParaRPr lang="en-US" sz="2200" kern="1200" dirty="0"/>
        </a:p>
        <a:p>
          <a:pPr marL="228600" lvl="1" indent="-228600" algn="l" defTabSz="977900">
            <a:lnSpc>
              <a:spcPct val="90000"/>
            </a:lnSpc>
            <a:spcBef>
              <a:spcPct val="0"/>
            </a:spcBef>
            <a:spcAft>
              <a:spcPct val="15000"/>
            </a:spcAft>
            <a:buNone/>
          </a:pPr>
          <a:r>
            <a:rPr lang="en-US" sz="2200" kern="1200" baseline="0" dirty="0"/>
            <a:t>Between 64 MB and 1 GB </a:t>
          </a:r>
          <a:r>
            <a:rPr lang="en-US" sz="2200" kern="1200" baseline="0" dirty="0">
              <a:sym typeface="Wingdings" panose="05000000000000000000" pitchFamily="2" charset="2"/>
            </a:rPr>
            <a:t></a:t>
          </a:r>
          <a:r>
            <a:rPr lang="en-US" sz="2200" kern="1200" baseline="0" dirty="0"/>
            <a:t> 8 VLFs</a:t>
          </a:r>
          <a:endParaRPr lang="en-US" sz="2200" kern="1200" dirty="0"/>
        </a:p>
        <a:p>
          <a:pPr marL="228600" lvl="1" indent="-228600" algn="l" defTabSz="977900">
            <a:lnSpc>
              <a:spcPct val="90000"/>
            </a:lnSpc>
            <a:spcBef>
              <a:spcPct val="0"/>
            </a:spcBef>
            <a:spcAft>
              <a:spcPct val="15000"/>
            </a:spcAft>
            <a:buNone/>
          </a:pPr>
          <a:r>
            <a:rPr lang="en-US" sz="2200" kern="1200" baseline="0" dirty="0"/>
            <a:t>Size &gt; 1GB </a:t>
          </a:r>
          <a:r>
            <a:rPr lang="en-US" sz="2200" kern="1200" baseline="0" dirty="0">
              <a:sym typeface="Wingdings" panose="05000000000000000000" pitchFamily="2" charset="2"/>
            </a:rPr>
            <a:t></a:t>
          </a:r>
          <a:r>
            <a:rPr lang="en-US" sz="2200" kern="1200" baseline="0" dirty="0"/>
            <a:t>16 VLFs</a:t>
          </a:r>
          <a:endParaRPr lang="en-US" sz="2200" kern="1200" dirty="0"/>
        </a:p>
      </dsp:txBody>
      <dsp:txXfrm>
        <a:off x="53" y="1593952"/>
        <a:ext cx="5084401" cy="3186945"/>
      </dsp:txXfrm>
    </dsp:sp>
    <dsp:sp modelId="{19250715-646C-42CC-A1A1-F71D9840618E}">
      <dsp:nvSpPr>
        <dsp:cNvPr id="0" name=""/>
        <dsp:cNvSpPr/>
      </dsp:nvSpPr>
      <dsp:spPr>
        <a:xfrm>
          <a:off x="5796270" y="38752"/>
          <a:ext cx="5084401" cy="15552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89408" rIns="156464" bIns="89408" numCol="1" spcCol="1270" anchor="ctr" anchorCtr="0">
          <a:noAutofit/>
        </a:bodyPr>
        <a:lstStyle/>
        <a:p>
          <a:pPr marL="0" lvl="0" indent="0" algn="ctr" defTabSz="977900">
            <a:lnSpc>
              <a:spcPct val="90000"/>
            </a:lnSpc>
            <a:spcBef>
              <a:spcPct val="0"/>
            </a:spcBef>
            <a:spcAft>
              <a:spcPct val="35000"/>
            </a:spcAft>
            <a:buNone/>
          </a:pPr>
          <a:r>
            <a:rPr lang="en-US" sz="2200" kern="1200" baseline="0" dirty="0">
              <a:latin typeface="Segoe UI" panose="020B0502040204020203" pitchFamily="34" charset="0"/>
            </a:rPr>
            <a:t>VLF count at T-LOG file growth</a:t>
          </a:r>
          <a:endParaRPr lang="en-US" sz="2200" kern="1200" dirty="0">
            <a:latin typeface="Segoe UI" panose="020B0502040204020203" pitchFamily="34" charset="0"/>
          </a:endParaRPr>
        </a:p>
      </dsp:txBody>
      <dsp:txXfrm>
        <a:off x="5796270" y="38752"/>
        <a:ext cx="5084401" cy="1555200"/>
      </dsp:txXfrm>
    </dsp:sp>
    <dsp:sp modelId="{99FF60BD-F326-4F24-B5CD-57346148E5AE}">
      <dsp:nvSpPr>
        <dsp:cNvPr id="0" name=""/>
        <dsp:cNvSpPr/>
      </dsp:nvSpPr>
      <dsp:spPr>
        <a:xfrm>
          <a:off x="5796270" y="1593952"/>
          <a:ext cx="5084401" cy="3186945"/>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None/>
          </a:pPr>
          <a:r>
            <a:rPr lang="en-US" sz="2400" kern="1200" baseline="0" dirty="0"/>
            <a:t>Growth &lt;= 64 MB </a:t>
          </a:r>
          <a:r>
            <a:rPr lang="en-US" sz="2400" kern="1200" baseline="0" dirty="0">
              <a:sym typeface="Wingdings" panose="05000000000000000000" pitchFamily="2" charset="2"/>
            </a:rPr>
            <a:t></a:t>
          </a:r>
          <a:r>
            <a:rPr lang="en-US" sz="2400" kern="1200" baseline="0" dirty="0"/>
            <a:t> 4 VLFs</a:t>
          </a:r>
          <a:endParaRPr lang="en-US" sz="2400" kern="1200" dirty="0"/>
        </a:p>
        <a:p>
          <a:pPr marL="228600" lvl="1" indent="-228600" algn="l" defTabSz="1066800">
            <a:lnSpc>
              <a:spcPct val="90000"/>
            </a:lnSpc>
            <a:spcBef>
              <a:spcPct val="0"/>
            </a:spcBef>
            <a:spcAft>
              <a:spcPct val="15000"/>
            </a:spcAft>
            <a:buNone/>
          </a:pPr>
          <a:r>
            <a:rPr lang="en-US" sz="2400" kern="1200" baseline="0" dirty="0"/>
            <a:t>Between 64 MB and 1GB </a:t>
          </a:r>
          <a:r>
            <a:rPr lang="en-US" sz="2400" kern="1200" baseline="0" dirty="0">
              <a:sym typeface="Wingdings" panose="05000000000000000000" pitchFamily="2" charset="2"/>
            </a:rPr>
            <a:t></a:t>
          </a:r>
          <a:r>
            <a:rPr lang="en-US" sz="2400" kern="1200" baseline="0" dirty="0"/>
            <a:t> 8 VLFs</a:t>
          </a:r>
          <a:endParaRPr lang="en-US" sz="2400" kern="1200" dirty="0"/>
        </a:p>
        <a:p>
          <a:pPr marL="228600" lvl="1" indent="-228600" algn="l" defTabSz="1066800">
            <a:lnSpc>
              <a:spcPct val="90000"/>
            </a:lnSpc>
            <a:spcBef>
              <a:spcPct val="0"/>
            </a:spcBef>
            <a:spcAft>
              <a:spcPct val="15000"/>
            </a:spcAft>
            <a:buNone/>
          </a:pPr>
          <a:r>
            <a:rPr lang="en-US" sz="2400" kern="1200" baseline="0" dirty="0"/>
            <a:t>Growth &gt; 1GB  </a:t>
          </a:r>
          <a:r>
            <a:rPr lang="en-US" sz="2400" kern="1200" baseline="0" dirty="0">
              <a:sym typeface="Wingdings" panose="05000000000000000000" pitchFamily="2" charset="2"/>
            </a:rPr>
            <a:t></a:t>
          </a:r>
          <a:r>
            <a:rPr lang="en-US" sz="2400" kern="1200" baseline="0" dirty="0"/>
            <a:t> 16 VLFs</a:t>
          </a:r>
          <a:endParaRPr lang="en-US" sz="2400" kern="1200" dirty="0"/>
        </a:p>
        <a:p>
          <a:pPr marL="228600" lvl="1" indent="-228600" algn="l" defTabSz="1066800">
            <a:lnSpc>
              <a:spcPct val="90000"/>
            </a:lnSpc>
            <a:spcBef>
              <a:spcPct val="0"/>
            </a:spcBef>
            <a:spcAft>
              <a:spcPct val="15000"/>
            </a:spcAft>
            <a:buNone/>
          </a:pPr>
          <a:endParaRPr lang="en-US" sz="2400" kern="1200" dirty="0"/>
        </a:p>
        <a:p>
          <a:pPr marL="228600" lvl="1" indent="-228600" algn="l" defTabSz="1066800">
            <a:lnSpc>
              <a:spcPct val="90000"/>
            </a:lnSpc>
            <a:spcBef>
              <a:spcPct val="0"/>
            </a:spcBef>
            <a:spcAft>
              <a:spcPct val="15000"/>
            </a:spcAft>
            <a:buNone/>
          </a:pPr>
          <a:r>
            <a:rPr lang="en-US" sz="2400" kern="1200" baseline="0" dirty="0"/>
            <a:t>(SQL 2014 and higher)</a:t>
          </a:r>
          <a:endParaRPr lang="en-US" sz="2400" kern="1200" dirty="0"/>
        </a:p>
        <a:p>
          <a:pPr marL="228600" lvl="1" indent="-228600" algn="l" defTabSz="1066800">
            <a:lnSpc>
              <a:spcPct val="90000"/>
            </a:lnSpc>
            <a:spcBef>
              <a:spcPct val="0"/>
            </a:spcBef>
            <a:spcAft>
              <a:spcPct val="15000"/>
            </a:spcAft>
            <a:buNone/>
          </a:pPr>
          <a:r>
            <a:rPr lang="en-US" sz="2400" kern="1200" baseline="0" dirty="0"/>
            <a:t>If growth is less than 1/8th of current size </a:t>
          </a:r>
          <a:r>
            <a:rPr lang="en-US" sz="2400" kern="1200" baseline="0" dirty="0">
              <a:sym typeface="Wingdings" panose="05000000000000000000" pitchFamily="2" charset="2"/>
            </a:rPr>
            <a:t></a:t>
          </a:r>
          <a:r>
            <a:rPr lang="en-US" sz="2400" kern="1200" baseline="0" dirty="0"/>
            <a:t> add 1 VLF</a:t>
          </a:r>
          <a:endParaRPr lang="en-US" sz="2400" kern="1200" dirty="0"/>
        </a:p>
      </dsp:txBody>
      <dsp:txXfrm>
        <a:off x="5796270" y="1593952"/>
        <a:ext cx="5084401" cy="318694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276CA2-6909-480D-A02E-797D41D36A42}">
      <dsp:nvSpPr>
        <dsp:cNvPr id="0" name=""/>
        <dsp:cNvSpPr/>
      </dsp:nvSpPr>
      <dsp:spPr>
        <a:xfrm>
          <a:off x="0" y="251533"/>
          <a:ext cx="10880726" cy="25200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33248"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dirty="0">
              <a:latin typeface="Segoe UI" panose="020B0502040204020203" pitchFamily="34" charset="0"/>
            </a:rPr>
            <a:t>One .mdf file per database</a:t>
          </a:r>
        </a:p>
        <a:p>
          <a:pPr marL="228600" lvl="1" indent="-228600" algn="l" defTabSz="889000">
            <a:lnSpc>
              <a:spcPct val="90000"/>
            </a:lnSpc>
            <a:spcBef>
              <a:spcPct val="0"/>
            </a:spcBef>
            <a:spcAft>
              <a:spcPct val="15000"/>
            </a:spcAft>
            <a:buChar char="•"/>
          </a:pPr>
          <a:r>
            <a:rPr lang="en-US" sz="2000" kern="1200" dirty="0">
              <a:latin typeface="Segoe UI" panose="020B0502040204020203" pitchFamily="34" charset="0"/>
            </a:rPr>
            <a:t>May have one or more .ndf file</a:t>
          </a:r>
        </a:p>
        <a:p>
          <a:pPr marL="228600" lvl="1" indent="-228600" algn="l" defTabSz="889000">
            <a:lnSpc>
              <a:spcPct val="90000"/>
            </a:lnSpc>
            <a:spcBef>
              <a:spcPct val="0"/>
            </a:spcBef>
            <a:spcAft>
              <a:spcPct val="15000"/>
            </a:spcAft>
            <a:buChar char="•"/>
          </a:pPr>
          <a:r>
            <a:rPr lang="en-US" sz="2000" kern="1200" dirty="0">
              <a:latin typeface="Segoe UI" panose="020B0502040204020203" pitchFamily="34" charset="0"/>
            </a:rPr>
            <a:t>Random reads and writes</a:t>
          </a:r>
        </a:p>
        <a:p>
          <a:pPr marL="457200" lvl="2" indent="-228600" algn="l" defTabSz="889000">
            <a:lnSpc>
              <a:spcPct val="90000"/>
            </a:lnSpc>
            <a:spcBef>
              <a:spcPct val="0"/>
            </a:spcBef>
            <a:spcAft>
              <a:spcPct val="15000"/>
            </a:spcAft>
            <a:buChar char="•"/>
          </a:pPr>
          <a:r>
            <a:rPr lang="en-US" sz="2000" kern="1200" dirty="0">
              <a:latin typeface="Segoe UI" panose="020B0502040204020203" pitchFamily="34" charset="0"/>
            </a:rPr>
            <a:t>Read activity during backups; other activity varies depending on query activity and buffer pool size</a:t>
          </a:r>
        </a:p>
        <a:p>
          <a:pPr marL="457200" lvl="2" indent="-228600" algn="l" defTabSz="889000">
            <a:lnSpc>
              <a:spcPct val="90000"/>
            </a:lnSpc>
            <a:spcBef>
              <a:spcPct val="0"/>
            </a:spcBef>
            <a:spcAft>
              <a:spcPct val="15000"/>
            </a:spcAft>
            <a:buChar char="•"/>
          </a:pPr>
          <a:r>
            <a:rPr lang="en-US" sz="2000" kern="1200" dirty="0">
              <a:latin typeface="Segoe UI" panose="020B0502040204020203" pitchFamily="34" charset="0"/>
            </a:rPr>
            <a:t>Write activity during checkpoints, recovery, and lazy writes</a:t>
          </a:r>
        </a:p>
      </dsp:txBody>
      <dsp:txXfrm>
        <a:off x="0" y="251533"/>
        <a:ext cx="10880726" cy="2520000"/>
      </dsp:txXfrm>
    </dsp:sp>
    <dsp:sp modelId="{DC07B57F-D261-4639-A828-A8C83A449FA6}">
      <dsp:nvSpPr>
        <dsp:cNvPr id="0" name=""/>
        <dsp:cNvSpPr/>
      </dsp:nvSpPr>
      <dsp:spPr>
        <a:xfrm>
          <a:off x="544036" y="15373"/>
          <a:ext cx="7616508" cy="4723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244600">
            <a:lnSpc>
              <a:spcPct val="90000"/>
            </a:lnSpc>
            <a:spcBef>
              <a:spcPct val="0"/>
            </a:spcBef>
            <a:spcAft>
              <a:spcPct val="35000"/>
            </a:spcAft>
            <a:buNone/>
          </a:pPr>
          <a:r>
            <a:rPr lang="en-US" sz="2800" kern="1200" dirty="0">
              <a:latin typeface="Segoe UI" panose="020B0502040204020203" pitchFamily="34" charset="0"/>
            </a:rPr>
            <a:t>Data Files</a:t>
          </a:r>
        </a:p>
      </dsp:txBody>
      <dsp:txXfrm>
        <a:off x="567093" y="38430"/>
        <a:ext cx="7570394" cy="426206"/>
      </dsp:txXfrm>
    </dsp:sp>
    <dsp:sp modelId="{A5356A9C-92F2-42D9-B685-432A2513A393}">
      <dsp:nvSpPr>
        <dsp:cNvPr id="0" name=""/>
        <dsp:cNvSpPr/>
      </dsp:nvSpPr>
      <dsp:spPr>
        <a:xfrm>
          <a:off x="0" y="3094093"/>
          <a:ext cx="10880726" cy="252000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33248"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dirty="0">
              <a:latin typeface="Segoe UI" panose="020B0502040204020203" pitchFamily="34" charset="0"/>
            </a:rPr>
            <a:t>One* .ldf file per database</a:t>
          </a:r>
          <a:endParaRPr lang="en-US" sz="2000" kern="1200" dirty="0">
            <a:latin typeface="Segoe UI" panose="020B0502040204020203" pitchFamily="34" charset="0"/>
          </a:endParaRPr>
        </a:p>
        <a:p>
          <a:pPr marL="228600" lvl="1" indent="-228600" algn="l" defTabSz="889000">
            <a:lnSpc>
              <a:spcPct val="90000"/>
            </a:lnSpc>
            <a:spcBef>
              <a:spcPct val="0"/>
            </a:spcBef>
            <a:spcAft>
              <a:spcPct val="15000"/>
            </a:spcAft>
            <a:buChar char="•"/>
          </a:pPr>
          <a:r>
            <a:rPr lang="en-US" sz="2000" kern="1200" baseline="0" dirty="0">
              <a:latin typeface="Segoe UI" panose="020B0502040204020203" pitchFamily="34" charset="0"/>
            </a:rPr>
            <a:t>Sequential reads and writes</a:t>
          </a:r>
          <a:endParaRPr lang="en-US" sz="2000" kern="1200" dirty="0">
            <a:latin typeface="Segoe UI" panose="020B0502040204020203" pitchFamily="34" charset="0"/>
          </a:endParaRPr>
        </a:p>
        <a:p>
          <a:pPr marL="228600" lvl="1" indent="-228600" algn="l" defTabSz="889000">
            <a:lnSpc>
              <a:spcPct val="90000"/>
            </a:lnSpc>
            <a:spcBef>
              <a:spcPct val="0"/>
            </a:spcBef>
            <a:spcAft>
              <a:spcPct val="15000"/>
            </a:spcAft>
            <a:buChar char="•"/>
          </a:pPr>
          <a:r>
            <a:rPr lang="en-US" sz="2000" kern="1200" baseline="0" dirty="0">
              <a:latin typeface="Segoe UI" panose="020B0502040204020203" pitchFamily="34" charset="0"/>
            </a:rPr>
            <a:t>Write activity during the log buffer flush operations</a:t>
          </a:r>
          <a:endParaRPr lang="en-US" sz="2000" kern="1200" dirty="0">
            <a:latin typeface="Segoe UI" panose="020B0502040204020203" pitchFamily="34" charset="0"/>
          </a:endParaRPr>
        </a:p>
        <a:p>
          <a:pPr marL="228600" lvl="1" indent="-228600" algn="l" defTabSz="889000">
            <a:lnSpc>
              <a:spcPct val="90000"/>
            </a:lnSpc>
            <a:spcBef>
              <a:spcPct val="0"/>
            </a:spcBef>
            <a:spcAft>
              <a:spcPct val="15000"/>
            </a:spcAft>
            <a:buChar char="•"/>
          </a:pPr>
          <a:r>
            <a:rPr lang="en-US" sz="2000" kern="1200" baseline="0" dirty="0">
              <a:latin typeface="Segoe UI" panose="020B0502040204020203" pitchFamily="34" charset="0"/>
            </a:rPr>
            <a:t>Read activity during checkpoints, backups, and recovery</a:t>
          </a:r>
          <a:endParaRPr lang="en-US" sz="2000" kern="1200" dirty="0">
            <a:latin typeface="Segoe UI" panose="020B0502040204020203" pitchFamily="34" charset="0"/>
          </a:endParaRPr>
        </a:p>
        <a:p>
          <a:pPr marL="228600" lvl="1" indent="-228600" algn="l" defTabSz="889000">
            <a:lnSpc>
              <a:spcPct val="90000"/>
            </a:lnSpc>
            <a:spcBef>
              <a:spcPct val="0"/>
            </a:spcBef>
            <a:spcAft>
              <a:spcPct val="15000"/>
            </a:spcAft>
            <a:buChar char="•"/>
          </a:pPr>
          <a:r>
            <a:rPr lang="en-US" sz="2000" kern="1200" baseline="0" dirty="0">
              <a:latin typeface="Segoe UI" panose="020B0502040204020203" pitchFamily="34" charset="0"/>
            </a:rPr>
            <a:t>Features such as database mirroring and replication will increase read and write activity</a:t>
          </a:r>
          <a:endParaRPr lang="en-US" sz="2000" kern="1200" dirty="0">
            <a:latin typeface="Segoe UI" panose="020B0502040204020203" pitchFamily="34" charset="0"/>
          </a:endParaRPr>
        </a:p>
      </dsp:txBody>
      <dsp:txXfrm>
        <a:off x="0" y="3094093"/>
        <a:ext cx="10880726" cy="2520000"/>
      </dsp:txXfrm>
    </dsp:sp>
    <dsp:sp modelId="{E69402FC-471B-4A89-B10E-D4C4F3060E8A}">
      <dsp:nvSpPr>
        <dsp:cNvPr id="0" name=""/>
        <dsp:cNvSpPr/>
      </dsp:nvSpPr>
      <dsp:spPr>
        <a:xfrm>
          <a:off x="544036" y="2857933"/>
          <a:ext cx="7616508" cy="4723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244600">
            <a:lnSpc>
              <a:spcPct val="90000"/>
            </a:lnSpc>
            <a:spcBef>
              <a:spcPct val="0"/>
            </a:spcBef>
            <a:spcAft>
              <a:spcPct val="35000"/>
            </a:spcAft>
            <a:buNone/>
          </a:pPr>
          <a:r>
            <a:rPr lang="en-US" sz="2800" kern="1200" baseline="0" dirty="0">
              <a:latin typeface="Segoe UI" panose="020B0502040204020203" pitchFamily="34" charset="0"/>
            </a:rPr>
            <a:t>Log Files</a:t>
          </a:r>
          <a:endParaRPr lang="en-US" sz="2800" kern="1200" dirty="0">
            <a:latin typeface="Segoe UI" panose="020B0502040204020203" pitchFamily="34" charset="0"/>
          </a:endParaRPr>
        </a:p>
      </dsp:txBody>
      <dsp:txXfrm>
        <a:off x="567093" y="2880990"/>
        <a:ext cx="7570394" cy="426206"/>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857E30-CB40-4959-93BD-2B947737A584}">
      <dsp:nvSpPr>
        <dsp:cNvPr id="0" name=""/>
        <dsp:cNvSpPr/>
      </dsp:nvSpPr>
      <dsp:spPr>
        <a:xfrm>
          <a:off x="53" y="46424"/>
          <a:ext cx="5084401" cy="18720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To avoid VLF fragmentation</a:t>
          </a:r>
          <a:endParaRPr lang="en-US" sz="2400" kern="1200" dirty="0"/>
        </a:p>
      </dsp:txBody>
      <dsp:txXfrm>
        <a:off x="53" y="46424"/>
        <a:ext cx="5084401" cy="1872000"/>
      </dsp:txXfrm>
    </dsp:sp>
    <dsp:sp modelId="{F818A7ED-A6B5-4A92-BE5F-15C48862F954}">
      <dsp:nvSpPr>
        <dsp:cNvPr id="0" name=""/>
        <dsp:cNvSpPr/>
      </dsp:nvSpPr>
      <dsp:spPr>
        <a:xfrm>
          <a:off x="53" y="1918424"/>
          <a:ext cx="5084401" cy="285480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t>Pre-size log files to avoid unplanned file growth</a:t>
          </a:r>
          <a:endParaRPr lang="en-US" sz="2400" kern="1200" dirty="0"/>
        </a:p>
        <a:p>
          <a:pPr marL="228600" lvl="1" indent="-228600" algn="l" defTabSz="1066800">
            <a:lnSpc>
              <a:spcPct val="90000"/>
            </a:lnSpc>
            <a:spcBef>
              <a:spcPct val="0"/>
            </a:spcBef>
            <a:spcAft>
              <a:spcPct val="15000"/>
            </a:spcAft>
            <a:buChar char="•"/>
          </a:pPr>
          <a:r>
            <a:rPr lang="en-US" sz="2400" kern="1200" baseline="0" dirty="0"/>
            <a:t>Set autogrowth to an appropriate fixed size</a:t>
          </a:r>
          <a:endParaRPr lang="en-US" sz="2400" kern="1200" dirty="0"/>
        </a:p>
      </dsp:txBody>
      <dsp:txXfrm>
        <a:off x="53" y="1918424"/>
        <a:ext cx="5084401" cy="2854800"/>
      </dsp:txXfrm>
    </dsp:sp>
    <dsp:sp modelId="{DD8549A9-7F81-4642-B655-0A6E1398356E}">
      <dsp:nvSpPr>
        <dsp:cNvPr id="0" name=""/>
        <dsp:cNvSpPr/>
      </dsp:nvSpPr>
      <dsp:spPr>
        <a:xfrm>
          <a:off x="5796270" y="46424"/>
          <a:ext cx="5084401" cy="18720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To view VLFs</a:t>
          </a:r>
          <a:endParaRPr lang="en-US" sz="2400" kern="1200" dirty="0"/>
        </a:p>
      </dsp:txBody>
      <dsp:txXfrm>
        <a:off x="5796270" y="46424"/>
        <a:ext cx="5084401" cy="1872000"/>
      </dsp:txXfrm>
    </dsp:sp>
    <dsp:sp modelId="{0CD312EF-073D-451E-AE96-15C3C6D43B4D}">
      <dsp:nvSpPr>
        <dsp:cNvPr id="0" name=""/>
        <dsp:cNvSpPr/>
      </dsp:nvSpPr>
      <dsp:spPr>
        <a:xfrm>
          <a:off x="5796270" y="1918424"/>
          <a:ext cx="5084401" cy="2854800"/>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latin typeface="+mn-lt"/>
            </a:rPr>
            <a:t>DBCC LOGINFO (&lt;database_id&gt;)</a:t>
          </a:r>
          <a:endParaRPr lang="en-US" sz="2400" kern="1200" dirty="0">
            <a:latin typeface="+mn-lt"/>
          </a:endParaRPr>
        </a:p>
        <a:p>
          <a:pPr marL="228600" lvl="1" indent="-228600" algn="l" defTabSz="1066800">
            <a:lnSpc>
              <a:spcPct val="90000"/>
            </a:lnSpc>
            <a:spcBef>
              <a:spcPct val="0"/>
            </a:spcBef>
            <a:spcAft>
              <a:spcPct val="15000"/>
            </a:spcAft>
            <a:buChar char="•"/>
          </a:pPr>
          <a:r>
            <a:rPr lang="en-US" sz="2400" kern="1200" baseline="0">
              <a:latin typeface="+mn-lt"/>
            </a:rPr>
            <a:t>sys.dm_db_log_info (SQL Server 2016 SP2 and higher )</a:t>
          </a:r>
          <a:endParaRPr lang="en-US" sz="2400" kern="1200" dirty="0">
            <a:latin typeface="+mn-lt"/>
          </a:endParaRPr>
        </a:p>
        <a:p>
          <a:pPr marL="228600" lvl="1" indent="-228600" algn="l" defTabSz="1066800">
            <a:lnSpc>
              <a:spcPct val="90000"/>
            </a:lnSpc>
            <a:spcBef>
              <a:spcPct val="0"/>
            </a:spcBef>
            <a:spcAft>
              <a:spcPct val="15000"/>
            </a:spcAft>
            <a:buChar char="•"/>
          </a:pPr>
          <a:r>
            <a:rPr lang="en-US" sz="2400" kern="1200" baseline="0" dirty="0">
              <a:latin typeface="+mn-lt"/>
            </a:rPr>
            <a:t>Active VLFs have a status of 2</a:t>
          </a:r>
          <a:endParaRPr lang="en-US" sz="2400" kern="1200" dirty="0">
            <a:latin typeface="+mn-lt"/>
          </a:endParaRPr>
        </a:p>
        <a:p>
          <a:pPr marL="228600" lvl="1" indent="-228600" algn="l" defTabSz="1066800">
            <a:lnSpc>
              <a:spcPct val="90000"/>
            </a:lnSpc>
            <a:spcBef>
              <a:spcPct val="0"/>
            </a:spcBef>
            <a:spcAft>
              <a:spcPct val="15000"/>
            </a:spcAft>
            <a:buChar char="•"/>
          </a:pPr>
          <a:r>
            <a:rPr lang="en-US" sz="2400" kern="1200" baseline="0" dirty="0">
              <a:latin typeface="+mn-lt"/>
            </a:rPr>
            <a:t>SQL Server Error Log (SQL 2012 and higher)</a:t>
          </a:r>
          <a:endParaRPr lang="en-US" sz="2400" kern="1200" dirty="0">
            <a:latin typeface="+mn-lt"/>
          </a:endParaRPr>
        </a:p>
      </dsp:txBody>
      <dsp:txXfrm>
        <a:off x="5796270" y="1918424"/>
        <a:ext cx="5084401" cy="2854800"/>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2830A3-079B-4506-8685-DADEEFE79F24}">
      <dsp:nvSpPr>
        <dsp:cNvPr id="0" name=""/>
        <dsp:cNvSpPr/>
      </dsp:nvSpPr>
      <dsp:spPr>
        <a:xfrm>
          <a:off x="0" y="76585"/>
          <a:ext cx="10880723" cy="617759"/>
        </a:xfrm>
        <a:prstGeom prst="roundRect">
          <a:avLst/>
        </a:prstGeom>
        <a:solidFill>
          <a:schemeClr val="accent2">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Log I/O contention is still possible when there is a high degree of concurrency.</a:t>
          </a:r>
        </a:p>
      </dsp:txBody>
      <dsp:txXfrm>
        <a:off x="30157" y="106742"/>
        <a:ext cx="10820409" cy="557445"/>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5D3AE4-8FE2-4D1D-968F-B478A35E0E82}">
      <dsp:nvSpPr>
        <dsp:cNvPr id="0" name=""/>
        <dsp:cNvSpPr/>
      </dsp:nvSpPr>
      <dsp:spPr>
        <a:xfrm>
          <a:off x="0" y="588944"/>
          <a:ext cx="10880725" cy="9072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2FE0912-FDF8-414C-8219-AED7A43F72C0}">
      <dsp:nvSpPr>
        <dsp:cNvPr id="0" name=""/>
        <dsp:cNvSpPr/>
      </dsp:nvSpPr>
      <dsp:spPr>
        <a:xfrm>
          <a:off x="544036" y="57584"/>
          <a:ext cx="7616507" cy="10627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Some data loss can be tolerated.</a:t>
          </a:r>
          <a:endParaRPr lang="en-US" sz="2400" kern="1200" dirty="0"/>
        </a:p>
      </dsp:txBody>
      <dsp:txXfrm>
        <a:off x="595914" y="109462"/>
        <a:ext cx="7512751" cy="958964"/>
      </dsp:txXfrm>
    </dsp:sp>
    <dsp:sp modelId="{6022AF2D-36E0-4BC9-A230-1D289EBA4731}">
      <dsp:nvSpPr>
        <dsp:cNvPr id="0" name=""/>
        <dsp:cNvSpPr/>
      </dsp:nvSpPr>
      <dsp:spPr>
        <a:xfrm>
          <a:off x="0" y="2221905"/>
          <a:ext cx="10880725" cy="9072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154DCA3-40B2-4BAA-854C-11406C20BB21}">
      <dsp:nvSpPr>
        <dsp:cNvPr id="0" name=""/>
        <dsp:cNvSpPr/>
      </dsp:nvSpPr>
      <dsp:spPr>
        <a:xfrm>
          <a:off x="544036" y="1690545"/>
          <a:ext cx="7616507" cy="10627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Transaction log writes is experiencing bottleneck.</a:t>
          </a:r>
          <a:endParaRPr lang="en-US" sz="2400" kern="1200" dirty="0"/>
        </a:p>
      </dsp:txBody>
      <dsp:txXfrm>
        <a:off x="595914" y="1742423"/>
        <a:ext cx="7512751" cy="958964"/>
      </dsp:txXfrm>
    </dsp:sp>
    <dsp:sp modelId="{51743888-4F76-4191-82C5-B7C49B4073DD}">
      <dsp:nvSpPr>
        <dsp:cNvPr id="0" name=""/>
        <dsp:cNvSpPr/>
      </dsp:nvSpPr>
      <dsp:spPr>
        <a:xfrm>
          <a:off x="0" y="3854865"/>
          <a:ext cx="10880725" cy="9072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BAA752E-B853-4A6C-890A-E2258BFC5DE1}">
      <dsp:nvSpPr>
        <dsp:cNvPr id="0" name=""/>
        <dsp:cNvSpPr/>
      </dsp:nvSpPr>
      <dsp:spPr>
        <a:xfrm>
          <a:off x="544036" y="3323505"/>
          <a:ext cx="7616507" cy="10627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Workloads with a high contention rate.</a:t>
          </a:r>
          <a:endParaRPr lang="en-US" sz="2400" kern="1200" dirty="0"/>
        </a:p>
      </dsp:txBody>
      <dsp:txXfrm>
        <a:off x="595914" y="3375383"/>
        <a:ext cx="7512751" cy="958964"/>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766FE2-EFA0-4DE6-A774-64627622D945}">
      <dsp:nvSpPr>
        <dsp:cNvPr id="0" name=""/>
        <dsp:cNvSpPr/>
      </dsp:nvSpPr>
      <dsp:spPr>
        <a:xfrm>
          <a:off x="0" y="42601"/>
          <a:ext cx="10880725" cy="61893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DISABLED</a:t>
          </a:r>
          <a:endParaRPr lang="en-US" sz="2400" kern="1200" dirty="0"/>
        </a:p>
      </dsp:txBody>
      <dsp:txXfrm>
        <a:off x="30214" y="72815"/>
        <a:ext cx="10820297" cy="558502"/>
      </dsp:txXfrm>
    </dsp:sp>
    <dsp:sp modelId="{A8641B09-9D8F-4861-A6E5-7B59743486B5}">
      <dsp:nvSpPr>
        <dsp:cNvPr id="0" name=""/>
        <dsp:cNvSpPr/>
      </dsp:nvSpPr>
      <dsp:spPr>
        <a:xfrm>
          <a:off x="0" y="661531"/>
          <a:ext cx="10880725"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Normal behavior durability guaranteed.</a:t>
          </a:r>
        </a:p>
      </dsp:txBody>
      <dsp:txXfrm>
        <a:off x="0" y="661531"/>
        <a:ext cx="10880725" cy="380880"/>
      </dsp:txXfrm>
    </dsp:sp>
    <dsp:sp modelId="{BDAD01C0-2363-413E-B020-40865F649250}">
      <dsp:nvSpPr>
        <dsp:cNvPr id="0" name=""/>
        <dsp:cNvSpPr/>
      </dsp:nvSpPr>
      <dsp:spPr>
        <a:xfrm>
          <a:off x="0" y="1042411"/>
          <a:ext cx="10880725" cy="61893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ALLOWED</a:t>
          </a:r>
          <a:endParaRPr lang="en-US" sz="2400" kern="1200" dirty="0"/>
        </a:p>
      </dsp:txBody>
      <dsp:txXfrm>
        <a:off x="30214" y="1072625"/>
        <a:ext cx="10820297" cy="558502"/>
      </dsp:txXfrm>
    </dsp:sp>
    <dsp:sp modelId="{1393A850-A3DA-4720-A93C-BD40667F285E}">
      <dsp:nvSpPr>
        <dsp:cNvPr id="0" name=""/>
        <dsp:cNvSpPr/>
      </dsp:nvSpPr>
      <dsp:spPr>
        <a:xfrm>
          <a:off x="0" y="1661341"/>
          <a:ext cx="10880725"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Allowed at the DB Level, Transaction must specify durability options, default is a durable transaction.</a:t>
          </a:r>
        </a:p>
      </dsp:txBody>
      <dsp:txXfrm>
        <a:off x="0" y="1661341"/>
        <a:ext cx="10880725" cy="380880"/>
      </dsp:txXfrm>
    </dsp:sp>
    <dsp:sp modelId="{7709D797-1F05-4338-86F5-A76229B87891}">
      <dsp:nvSpPr>
        <dsp:cNvPr id="0" name=""/>
        <dsp:cNvSpPr/>
      </dsp:nvSpPr>
      <dsp:spPr>
        <a:xfrm>
          <a:off x="0" y="2042221"/>
          <a:ext cx="10880725" cy="61893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FORCED</a:t>
          </a:r>
          <a:endParaRPr lang="en-US" sz="2400" kern="1200" dirty="0"/>
        </a:p>
      </dsp:txBody>
      <dsp:txXfrm>
        <a:off x="30214" y="2072435"/>
        <a:ext cx="10820297" cy="558502"/>
      </dsp:txXfrm>
    </dsp:sp>
    <dsp:sp modelId="{D549C3F5-791F-42BD-B5BC-CA5A441A5DBC}">
      <dsp:nvSpPr>
        <dsp:cNvPr id="0" name=""/>
        <dsp:cNvSpPr/>
      </dsp:nvSpPr>
      <dsp:spPr>
        <a:xfrm>
          <a:off x="0" y="2661151"/>
          <a:ext cx="10880725"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Changes default durability for the DB to “delayed. </a:t>
          </a:r>
        </a:p>
      </dsp:txBody>
      <dsp:txXfrm>
        <a:off x="0" y="2661151"/>
        <a:ext cx="10880725" cy="380880"/>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E89077-17CB-4DD1-B1F2-99512E1A6C07}">
      <dsp:nvSpPr>
        <dsp:cNvPr id="0" name=""/>
        <dsp:cNvSpPr/>
      </dsp:nvSpPr>
      <dsp:spPr>
        <a:xfrm>
          <a:off x="0" y="188062"/>
          <a:ext cx="10880725" cy="7464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baseline="0" dirty="0"/>
            <a:t>Durability automatically managed by system behind the scenes</a:t>
          </a:r>
          <a:endParaRPr lang="en-US" sz="2900" kern="1200" dirty="0"/>
        </a:p>
      </dsp:txBody>
      <dsp:txXfrm>
        <a:off x="36439" y="224501"/>
        <a:ext cx="10807847" cy="673582"/>
      </dsp:txXfrm>
    </dsp:sp>
    <dsp:sp modelId="{C7D170F6-F605-4A91-9984-30D18270344C}">
      <dsp:nvSpPr>
        <dsp:cNvPr id="0" name=""/>
        <dsp:cNvSpPr/>
      </dsp:nvSpPr>
      <dsp:spPr>
        <a:xfrm>
          <a:off x="0" y="1018042"/>
          <a:ext cx="10880725" cy="7464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baseline="0" dirty="0"/>
            <a:t>Transaction flush is  guaranteed when:</a:t>
          </a:r>
          <a:endParaRPr lang="en-US" sz="2900" kern="1200" dirty="0"/>
        </a:p>
      </dsp:txBody>
      <dsp:txXfrm>
        <a:off x="36439" y="1054481"/>
        <a:ext cx="10807847" cy="673582"/>
      </dsp:txXfrm>
    </dsp:sp>
    <dsp:sp modelId="{88CA05C1-ECD4-4C18-8B1D-80D42542AA21}">
      <dsp:nvSpPr>
        <dsp:cNvPr id="0" name=""/>
        <dsp:cNvSpPr/>
      </dsp:nvSpPr>
      <dsp:spPr>
        <a:xfrm>
          <a:off x="0" y="1764502"/>
          <a:ext cx="10880725" cy="12906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US" sz="2300" kern="1200" baseline="0" dirty="0"/>
            <a:t>A durable transaction is run</a:t>
          </a:r>
          <a:endParaRPr lang="en-US" sz="2300" kern="1200" dirty="0"/>
        </a:p>
        <a:p>
          <a:pPr marL="228600" lvl="1" indent="-228600" algn="l" defTabSz="1022350">
            <a:lnSpc>
              <a:spcPct val="90000"/>
            </a:lnSpc>
            <a:spcBef>
              <a:spcPct val="0"/>
            </a:spcBef>
            <a:spcAft>
              <a:spcPct val="20000"/>
            </a:spcAft>
            <a:buChar char="•"/>
          </a:pPr>
          <a:r>
            <a:rPr lang="en-US" sz="2300" kern="1200" baseline="0" dirty="0"/>
            <a:t>By manually running </a:t>
          </a:r>
          <a:r>
            <a:rPr lang="en-US" sz="2300" kern="1200" baseline="0" dirty="0" err="1"/>
            <a:t>sp_flush_log</a:t>
          </a:r>
          <a:endParaRPr lang="en-US" sz="2300" kern="1200" dirty="0"/>
        </a:p>
        <a:p>
          <a:pPr marL="228600" lvl="1" indent="-228600" algn="l" defTabSz="1022350">
            <a:lnSpc>
              <a:spcPct val="90000"/>
            </a:lnSpc>
            <a:spcBef>
              <a:spcPct val="0"/>
            </a:spcBef>
            <a:spcAft>
              <a:spcPct val="20000"/>
            </a:spcAft>
            <a:buChar char="•"/>
          </a:pPr>
          <a:r>
            <a:rPr lang="en-US" sz="2300" kern="1200" baseline="0" dirty="0"/>
            <a:t>The Log buffer is flushed </a:t>
          </a:r>
          <a:endParaRPr lang="en-US" sz="2300" kern="1200" dirty="0"/>
        </a:p>
      </dsp:txBody>
      <dsp:txXfrm>
        <a:off x="0" y="1764502"/>
        <a:ext cx="10880725" cy="1290645"/>
      </dsp:txXfrm>
    </dsp:sp>
    <dsp:sp modelId="{BDC8D4BD-44F1-44C1-B0F2-28C35FEBFC99}">
      <dsp:nvSpPr>
        <dsp:cNvPr id="0" name=""/>
        <dsp:cNvSpPr/>
      </dsp:nvSpPr>
      <dsp:spPr>
        <a:xfrm>
          <a:off x="0" y="3055147"/>
          <a:ext cx="10880725" cy="7464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baseline="0" dirty="0"/>
            <a:t>All system transactions are durable</a:t>
          </a:r>
          <a:endParaRPr lang="en-US" sz="2900" kern="1200" dirty="0"/>
        </a:p>
      </dsp:txBody>
      <dsp:txXfrm>
        <a:off x="36439" y="3091586"/>
        <a:ext cx="10807847" cy="673582"/>
      </dsp:txXfrm>
    </dsp:sp>
    <dsp:sp modelId="{2A039C09-28E0-4BA8-B94A-700F8FA01167}">
      <dsp:nvSpPr>
        <dsp:cNvPr id="0" name=""/>
        <dsp:cNvSpPr/>
      </dsp:nvSpPr>
      <dsp:spPr>
        <a:xfrm>
          <a:off x="0" y="3885127"/>
          <a:ext cx="10880725" cy="7464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baseline="0" dirty="0"/>
            <a:t>TempDB has the lazy commit behavior by default</a:t>
          </a:r>
          <a:endParaRPr lang="en-US" sz="2900" kern="1200" dirty="0"/>
        </a:p>
      </dsp:txBody>
      <dsp:txXfrm>
        <a:off x="36439" y="3921566"/>
        <a:ext cx="10807847" cy="673582"/>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643"/>
          <a:ext cx="10880725" cy="748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a VLF?</a:t>
          </a:r>
        </a:p>
      </dsp:txBody>
      <dsp:txXfrm>
        <a:off x="36553" y="37196"/>
        <a:ext cx="10807619" cy="675694"/>
      </dsp:txXfrm>
    </dsp:sp>
    <dsp:sp modelId="{69C73D1A-7C3F-4D5B-83BA-288144A7FE66}">
      <dsp:nvSpPr>
        <dsp:cNvPr id="0" name=""/>
        <dsp:cNvSpPr/>
      </dsp:nvSpPr>
      <dsp:spPr>
        <a:xfrm>
          <a:off x="0" y="864643"/>
          <a:ext cx="10880725" cy="7488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can be done to avoid having too many VLFs in the transaction log?</a:t>
          </a:r>
        </a:p>
      </dsp:txBody>
      <dsp:txXfrm>
        <a:off x="36553" y="901196"/>
        <a:ext cx="10807619" cy="675694"/>
      </dsp:txXfrm>
    </dsp:sp>
    <dsp:sp modelId="{47EB8BC7-3CCE-4A62-A3CE-EAC0FDFDE304}">
      <dsp:nvSpPr>
        <dsp:cNvPr id="0" name=""/>
        <dsp:cNvSpPr/>
      </dsp:nvSpPr>
      <dsp:spPr>
        <a:xfrm>
          <a:off x="0" y="1728643"/>
          <a:ext cx="10880725" cy="74880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en it is appropriate to use delayed durability?</a:t>
          </a:r>
        </a:p>
      </dsp:txBody>
      <dsp:txXfrm>
        <a:off x="36553" y="1765196"/>
        <a:ext cx="10807619" cy="675694"/>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8D1D30-60A6-4DB2-8BDA-0DE9103DE1B8}">
      <dsp:nvSpPr>
        <dsp:cNvPr id="0" name=""/>
        <dsp:cNvSpPr/>
      </dsp:nvSpPr>
      <dsp:spPr>
        <a:xfrm>
          <a:off x="0" y="12309"/>
          <a:ext cx="10880725" cy="7113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System database</a:t>
          </a:r>
        </a:p>
      </dsp:txBody>
      <dsp:txXfrm>
        <a:off x="34726" y="47035"/>
        <a:ext cx="10811273" cy="641908"/>
      </dsp:txXfrm>
    </dsp:sp>
    <dsp:sp modelId="{0FD744F1-A23D-4BF3-813E-387E30C91F55}">
      <dsp:nvSpPr>
        <dsp:cNvPr id="0" name=""/>
        <dsp:cNvSpPr/>
      </dsp:nvSpPr>
      <dsp:spPr>
        <a:xfrm>
          <a:off x="0" y="723669"/>
          <a:ext cx="10880725" cy="1101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Available to all users with the same structure as user databases. </a:t>
          </a:r>
        </a:p>
        <a:p>
          <a:pPr marL="228600" lvl="1" indent="-228600" algn="l" defTabSz="889000">
            <a:lnSpc>
              <a:spcPct val="90000"/>
            </a:lnSpc>
            <a:spcBef>
              <a:spcPct val="0"/>
            </a:spcBef>
            <a:spcAft>
              <a:spcPct val="20000"/>
            </a:spcAft>
            <a:buChar char="•"/>
          </a:pPr>
          <a:r>
            <a:rPr lang="en-US" sz="2000" kern="1200" dirty="0"/>
            <a:t>Operations are minimally logged.</a:t>
          </a:r>
        </a:p>
        <a:p>
          <a:pPr marL="228600" lvl="1" indent="-228600" algn="l" defTabSz="889000">
            <a:lnSpc>
              <a:spcPct val="90000"/>
            </a:lnSpc>
            <a:spcBef>
              <a:spcPct val="0"/>
            </a:spcBef>
            <a:spcAft>
              <a:spcPct val="20000"/>
            </a:spcAft>
            <a:buChar char="•"/>
          </a:pPr>
          <a:r>
            <a:rPr lang="en-US" sz="2000" kern="1200" dirty="0"/>
            <a:t>Re-created every time SQL Server is started.</a:t>
          </a:r>
        </a:p>
      </dsp:txBody>
      <dsp:txXfrm>
        <a:off x="0" y="723669"/>
        <a:ext cx="10880725" cy="1101240"/>
      </dsp:txXfrm>
    </dsp:sp>
    <dsp:sp modelId="{CAA25F38-B2DB-4408-A535-B349A208603B}">
      <dsp:nvSpPr>
        <dsp:cNvPr id="0" name=""/>
        <dsp:cNvSpPr/>
      </dsp:nvSpPr>
      <dsp:spPr>
        <a:xfrm>
          <a:off x="0" y="1824909"/>
          <a:ext cx="10880725" cy="71136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orkload</a:t>
          </a:r>
        </a:p>
      </dsp:txBody>
      <dsp:txXfrm>
        <a:off x="34726" y="1859635"/>
        <a:ext cx="10811273" cy="641908"/>
      </dsp:txXfrm>
    </dsp:sp>
    <dsp:sp modelId="{7BA8DFCE-126A-4113-9751-19225927BD8C}">
      <dsp:nvSpPr>
        <dsp:cNvPr id="0" name=""/>
        <dsp:cNvSpPr/>
      </dsp:nvSpPr>
      <dsp:spPr>
        <a:xfrm>
          <a:off x="0" y="2536269"/>
          <a:ext cx="10880725" cy="14945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Used for temporary (non-durable) storage.</a:t>
          </a:r>
        </a:p>
        <a:p>
          <a:pPr marL="228600" lvl="1" indent="-228600" algn="l" defTabSz="889000">
            <a:lnSpc>
              <a:spcPct val="90000"/>
            </a:lnSpc>
            <a:spcBef>
              <a:spcPct val="0"/>
            </a:spcBef>
            <a:spcAft>
              <a:spcPct val="20000"/>
            </a:spcAft>
            <a:buChar char="•"/>
          </a:pPr>
          <a:r>
            <a:rPr lang="en-US" sz="2000" kern="1200" dirty="0"/>
            <a:t>Object and data frequently being created and destroyed.</a:t>
          </a:r>
        </a:p>
        <a:p>
          <a:pPr marL="228600" lvl="1" indent="-228600" algn="l" defTabSz="889000">
            <a:lnSpc>
              <a:spcPct val="90000"/>
            </a:lnSpc>
            <a:spcBef>
              <a:spcPct val="0"/>
            </a:spcBef>
            <a:spcAft>
              <a:spcPct val="20000"/>
            </a:spcAft>
            <a:buChar char="•"/>
          </a:pPr>
          <a:r>
            <a:rPr lang="en-US" sz="2000" kern="1200" dirty="0"/>
            <a:t>Very high concurrency.</a:t>
          </a:r>
        </a:p>
        <a:p>
          <a:pPr marL="228600" lvl="1" indent="-228600" algn="l" defTabSz="889000">
            <a:lnSpc>
              <a:spcPct val="90000"/>
            </a:lnSpc>
            <a:spcBef>
              <a:spcPct val="0"/>
            </a:spcBef>
            <a:spcAft>
              <a:spcPct val="20000"/>
            </a:spcAft>
            <a:buChar char="•"/>
          </a:pPr>
          <a:r>
            <a:rPr lang="en-US" sz="2000" kern="1200" dirty="0"/>
            <a:t>Backup and restore operations are not allowed on TempDB.</a:t>
          </a:r>
        </a:p>
      </dsp:txBody>
      <dsp:txXfrm>
        <a:off x="0" y="2536269"/>
        <a:ext cx="10880725" cy="1494540"/>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B7A34F-A809-42F9-8833-0BB6817FBEE5}">
      <dsp:nvSpPr>
        <dsp:cNvPr id="0" name=""/>
        <dsp:cNvSpPr/>
      </dsp:nvSpPr>
      <dsp:spPr>
        <a:xfrm rot="5400000">
          <a:off x="5954596" y="-3153150"/>
          <a:ext cx="1242566" cy="7909817"/>
        </a:xfrm>
        <a:prstGeom prst="round2Same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baseline="0" dirty="0"/>
            <a:t>Global or local temporary tables and indexes</a:t>
          </a:r>
          <a:endParaRPr lang="en-US" sz="1400" kern="1200" dirty="0"/>
        </a:p>
        <a:p>
          <a:pPr marL="114300" lvl="1" indent="-114300" algn="l" defTabSz="622300">
            <a:lnSpc>
              <a:spcPct val="90000"/>
            </a:lnSpc>
            <a:spcBef>
              <a:spcPct val="0"/>
            </a:spcBef>
            <a:spcAft>
              <a:spcPct val="15000"/>
            </a:spcAft>
            <a:buChar char="•"/>
          </a:pPr>
          <a:r>
            <a:rPr lang="en-US" sz="1400" kern="1200" baseline="0" dirty="0"/>
            <a:t>Temporary stored procedures</a:t>
          </a:r>
          <a:endParaRPr lang="en-US" sz="1400" kern="1200" dirty="0"/>
        </a:p>
        <a:p>
          <a:pPr marL="114300" lvl="1" indent="-114300" algn="l" defTabSz="622300">
            <a:lnSpc>
              <a:spcPct val="90000"/>
            </a:lnSpc>
            <a:spcBef>
              <a:spcPct val="0"/>
            </a:spcBef>
            <a:spcAft>
              <a:spcPct val="15000"/>
            </a:spcAft>
            <a:buChar char="•"/>
          </a:pPr>
          <a:r>
            <a:rPr lang="en-US" sz="1400" kern="1200" baseline="0" dirty="0"/>
            <a:t>Table variables</a:t>
          </a:r>
          <a:endParaRPr lang="en-US" sz="1400" kern="1200" dirty="0"/>
        </a:p>
        <a:p>
          <a:pPr marL="114300" lvl="1" indent="-114300" algn="l" defTabSz="622300">
            <a:lnSpc>
              <a:spcPct val="90000"/>
            </a:lnSpc>
            <a:spcBef>
              <a:spcPct val="0"/>
            </a:spcBef>
            <a:spcAft>
              <a:spcPct val="15000"/>
            </a:spcAft>
            <a:buChar char="•"/>
          </a:pPr>
          <a:r>
            <a:rPr lang="en-US" sz="1400" kern="1200" baseline="0" dirty="0"/>
            <a:t>Tables returned in table-valued functions, or cursors</a:t>
          </a:r>
          <a:endParaRPr lang="en-US" sz="1400" kern="1200" dirty="0"/>
        </a:p>
      </dsp:txBody>
      <dsp:txXfrm rot="-5400000">
        <a:off x="2620971" y="241132"/>
        <a:ext cx="7849160" cy="1121252"/>
      </dsp:txXfrm>
    </dsp:sp>
    <dsp:sp modelId="{4E96B2B8-6208-4F6B-9690-912A909F316F}">
      <dsp:nvSpPr>
        <dsp:cNvPr id="0" name=""/>
        <dsp:cNvSpPr/>
      </dsp:nvSpPr>
      <dsp:spPr>
        <a:xfrm>
          <a:off x="0" y="20867"/>
          <a:ext cx="2545462" cy="1553207"/>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Temporary user objects</a:t>
          </a:r>
          <a:endParaRPr lang="en-US" sz="2400" kern="1200" dirty="0"/>
        </a:p>
      </dsp:txBody>
      <dsp:txXfrm>
        <a:off x="75821" y="96688"/>
        <a:ext cx="2393820" cy="1401565"/>
      </dsp:txXfrm>
    </dsp:sp>
    <dsp:sp modelId="{B27F3B0D-D925-4031-91F4-CE94A9E550CA}">
      <dsp:nvSpPr>
        <dsp:cNvPr id="0" name=""/>
        <dsp:cNvSpPr/>
      </dsp:nvSpPr>
      <dsp:spPr>
        <a:xfrm rot="5400000">
          <a:off x="5954596" y="-1522282"/>
          <a:ext cx="1242566" cy="7909817"/>
        </a:xfrm>
        <a:prstGeom prst="round2SameRect">
          <a:avLst/>
        </a:prstGeom>
        <a:solidFill>
          <a:schemeClr val="accent2">
            <a:tint val="40000"/>
            <a:alpha val="90000"/>
            <a:hueOff val="-1744259"/>
            <a:satOff val="4664"/>
            <a:lumOff val="577"/>
            <a:alphaOff val="0"/>
          </a:schemeClr>
        </a:solidFill>
        <a:ln w="12700" cap="flat" cmpd="sng" algn="ctr">
          <a:solidFill>
            <a:schemeClr val="accent2">
              <a:tint val="40000"/>
              <a:alpha val="90000"/>
              <a:hueOff val="-1744259"/>
              <a:satOff val="4664"/>
              <a:lumOff val="57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baseline="0" dirty="0"/>
            <a:t>Worktables to store intermediate results for spools, cursors, sorts, and temporary LOB storage.</a:t>
          </a:r>
          <a:endParaRPr lang="en-US" sz="1400" kern="1200" dirty="0"/>
        </a:p>
        <a:p>
          <a:pPr marL="114300" lvl="1" indent="-114300" algn="l" defTabSz="622300">
            <a:lnSpc>
              <a:spcPct val="90000"/>
            </a:lnSpc>
            <a:spcBef>
              <a:spcPct val="0"/>
            </a:spcBef>
            <a:spcAft>
              <a:spcPct val="15000"/>
            </a:spcAft>
            <a:buChar char="•"/>
          </a:pPr>
          <a:r>
            <a:rPr lang="en-US" sz="1400" kern="1200" baseline="0" dirty="0"/>
            <a:t>Work files for hash join or hash aggregate operations.</a:t>
          </a:r>
          <a:endParaRPr lang="en-US" sz="1400" kern="1200" dirty="0"/>
        </a:p>
        <a:p>
          <a:pPr marL="114300" lvl="1" indent="-114300" algn="l" defTabSz="622300">
            <a:lnSpc>
              <a:spcPct val="90000"/>
            </a:lnSpc>
            <a:spcBef>
              <a:spcPct val="0"/>
            </a:spcBef>
            <a:spcAft>
              <a:spcPct val="15000"/>
            </a:spcAft>
            <a:buChar char="•"/>
          </a:pPr>
          <a:r>
            <a:rPr lang="en-US" sz="1400" kern="1200" baseline="0" dirty="0"/>
            <a:t>Intermediate sort results for operations such as creating or rebuilding indexes (if SORT_IN_TEMPDB is specified), or certain GROUP BY, ORDER BY, or UNION queries.</a:t>
          </a:r>
          <a:endParaRPr lang="en-US" sz="1400" kern="1200" dirty="0"/>
        </a:p>
      </dsp:txBody>
      <dsp:txXfrm rot="-5400000">
        <a:off x="2620971" y="1872000"/>
        <a:ext cx="7849160" cy="1121252"/>
      </dsp:txXfrm>
    </dsp:sp>
    <dsp:sp modelId="{08136A82-1FB7-4253-BE5E-94BB1DE3D541}">
      <dsp:nvSpPr>
        <dsp:cNvPr id="0" name=""/>
        <dsp:cNvSpPr/>
      </dsp:nvSpPr>
      <dsp:spPr>
        <a:xfrm>
          <a:off x="0" y="1651735"/>
          <a:ext cx="2545462" cy="1553207"/>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Internal objects </a:t>
          </a:r>
          <a:endParaRPr lang="en-US" sz="2400" kern="1200" dirty="0"/>
        </a:p>
      </dsp:txBody>
      <dsp:txXfrm>
        <a:off x="75821" y="1727556"/>
        <a:ext cx="2393820" cy="1401565"/>
      </dsp:txXfrm>
    </dsp:sp>
    <dsp:sp modelId="{E8FBC572-98AD-4A63-AAF8-0E6AEC369C3B}">
      <dsp:nvSpPr>
        <dsp:cNvPr id="0" name=""/>
        <dsp:cNvSpPr/>
      </dsp:nvSpPr>
      <dsp:spPr>
        <a:xfrm rot="5400000">
          <a:off x="5954596" y="108585"/>
          <a:ext cx="1242566" cy="7909817"/>
        </a:xfrm>
        <a:prstGeom prst="round2Same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baseline="0" dirty="0"/>
            <a:t>Common version store </a:t>
          </a:r>
          <a:endParaRPr lang="en-US" sz="1400" kern="1200" dirty="0"/>
        </a:p>
        <a:p>
          <a:pPr marL="114300" lvl="1" indent="-114300" algn="l" defTabSz="622300">
            <a:lnSpc>
              <a:spcPct val="90000"/>
            </a:lnSpc>
            <a:spcBef>
              <a:spcPct val="0"/>
            </a:spcBef>
            <a:spcAft>
              <a:spcPct val="15000"/>
            </a:spcAft>
            <a:buChar char="•"/>
          </a:pPr>
          <a:r>
            <a:rPr lang="en-US" sz="1400" kern="1200" baseline="0" dirty="0"/>
            <a:t>Online-index-build version store</a:t>
          </a:r>
          <a:endParaRPr lang="en-US" sz="1400" kern="1200" dirty="0"/>
        </a:p>
      </dsp:txBody>
      <dsp:txXfrm rot="-5400000">
        <a:off x="2620971" y="3502868"/>
        <a:ext cx="7849160" cy="1121252"/>
      </dsp:txXfrm>
    </dsp:sp>
    <dsp:sp modelId="{FDD51701-DC5C-45A6-920F-9105644A9278}">
      <dsp:nvSpPr>
        <dsp:cNvPr id="0" name=""/>
        <dsp:cNvSpPr/>
      </dsp:nvSpPr>
      <dsp:spPr>
        <a:xfrm>
          <a:off x="0" y="3266442"/>
          <a:ext cx="2545462" cy="1553207"/>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Version stores </a:t>
          </a:r>
          <a:endParaRPr lang="en-US" sz="2400" kern="1200" dirty="0"/>
        </a:p>
      </dsp:txBody>
      <dsp:txXfrm>
        <a:off x="75821" y="3342263"/>
        <a:ext cx="2393820" cy="1401565"/>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BA622A-2CAD-4CD4-B9F9-2EC91C1157DC}">
      <dsp:nvSpPr>
        <dsp:cNvPr id="0" name=""/>
        <dsp:cNvSpPr/>
      </dsp:nvSpPr>
      <dsp:spPr>
        <a:xfrm>
          <a:off x="3187" y="109169"/>
          <a:ext cx="2528918" cy="247454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t>If the number of logical processors is less than or equal to eight (8), use the same number of data files as logical processors. </a:t>
          </a:r>
          <a:endParaRPr lang="en-US" sz="2000" kern="1200" dirty="0"/>
        </a:p>
      </dsp:txBody>
      <dsp:txXfrm>
        <a:off x="3187" y="109169"/>
        <a:ext cx="2528918" cy="2474541"/>
      </dsp:txXfrm>
    </dsp:sp>
    <dsp:sp modelId="{B1C4AFFA-3532-437C-B29A-7FDDE5BEC71F}">
      <dsp:nvSpPr>
        <dsp:cNvPr id="0" name=""/>
        <dsp:cNvSpPr/>
      </dsp:nvSpPr>
      <dsp:spPr>
        <a:xfrm>
          <a:off x="2784998" y="130435"/>
          <a:ext cx="2528918" cy="2432010"/>
        </a:xfrm>
        <a:prstGeom prst="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t>If the number of logical processors is greater than eight (8), use eight data files.</a:t>
          </a:r>
          <a:endParaRPr lang="en-US" sz="2000" kern="1200" dirty="0"/>
        </a:p>
      </dsp:txBody>
      <dsp:txXfrm>
        <a:off x="2784998" y="130435"/>
        <a:ext cx="2528918" cy="2432010"/>
      </dsp:txXfrm>
    </dsp:sp>
    <dsp:sp modelId="{44D8825F-E5C3-4395-86D5-510F82EDC61E}">
      <dsp:nvSpPr>
        <dsp:cNvPr id="0" name=""/>
        <dsp:cNvSpPr/>
      </dsp:nvSpPr>
      <dsp:spPr>
        <a:xfrm>
          <a:off x="5566808" y="130435"/>
          <a:ext cx="2528918" cy="2432010"/>
        </a:xfrm>
        <a:prstGeom prst="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t>If contention continues, increase the number of data    files by multiples of four (4) up to the number of logical processors</a:t>
          </a:r>
          <a:endParaRPr lang="en-US" sz="2000" kern="1200" dirty="0"/>
        </a:p>
      </dsp:txBody>
      <dsp:txXfrm>
        <a:off x="5566808" y="130435"/>
        <a:ext cx="2528918" cy="2432010"/>
      </dsp:txXfrm>
    </dsp:sp>
    <dsp:sp modelId="{0A4357DC-3753-4163-A2BD-06FC659AF452}">
      <dsp:nvSpPr>
        <dsp:cNvPr id="0" name=""/>
        <dsp:cNvSpPr/>
      </dsp:nvSpPr>
      <dsp:spPr>
        <a:xfrm>
          <a:off x="8348618" y="130435"/>
          <a:ext cx="2528918" cy="2432010"/>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a:t>Alternatively, make changes to the workload or code.</a:t>
          </a:r>
          <a:endParaRPr lang="en-US" sz="2000" kern="1200" dirty="0"/>
        </a:p>
      </dsp:txBody>
      <dsp:txXfrm>
        <a:off x="8348618" y="130435"/>
        <a:ext cx="2528918" cy="243201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190ACD-3C53-4469-8217-8490013ED998}">
      <dsp:nvSpPr>
        <dsp:cNvPr id="0" name=""/>
        <dsp:cNvSpPr/>
      </dsp:nvSpPr>
      <dsp:spPr>
        <a:xfrm>
          <a:off x="-5449264" y="-834379"/>
          <a:ext cx="6488409" cy="6488409"/>
        </a:xfrm>
        <a:prstGeom prst="blockArc">
          <a:avLst>
            <a:gd name="adj1" fmla="val 18900000"/>
            <a:gd name="adj2" fmla="val 2700000"/>
            <a:gd name="adj3" fmla="val 333"/>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9E0775C-065A-41B0-8322-25B363184CBB}">
      <dsp:nvSpPr>
        <dsp:cNvPr id="0" name=""/>
        <dsp:cNvSpPr/>
      </dsp:nvSpPr>
      <dsp:spPr>
        <a:xfrm>
          <a:off x="544010" y="370534"/>
          <a:ext cx="10269593" cy="741454"/>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853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dirty="0"/>
            <a:t>Primary filegroup </a:t>
          </a:r>
          <a:endParaRPr lang="en-US" sz="2400" kern="1200" dirty="0"/>
        </a:p>
      </dsp:txBody>
      <dsp:txXfrm>
        <a:off x="544010" y="370534"/>
        <a:ext cx="10269593" cy="741454"/>
      </dsp:txXfrm>
    </dsp:sp>
    <dsp:sp modelId="{9C04FDC8-9C50-4004-8A8D-67598C9055F6}">
      <dsp:nvSpPr>
        <dsp:cNvPr id="0" name=""/>
        <dsp:cNvSpPr/>
      </dsp:nvSpPr>
      <dsp:spPr>
        <a:xfrm>
          <a:off x="80601" y="277852"/>
          <a:ext cx="926818" cy="926818"/>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7481774-D1D2-41EA-B32C-76E3A18A1203}">
      <dsp:nvSpPr>
        <dsp:cNvPr id="0" name=""/>
        <dsp:cNvSpPr/>
      </dsp:nvSpPr>
      <dsp:spPr>
        <a:xfrm>
          <a:off x="969103" y="1482909"/>
          <a:ext cx="9844500" cy="741454"/>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853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dirty="0"/>
            <a:t>User-defined filegroup</a:t>
          </a:r>
          <a:endParaRPr lang="en-US" sz="2400" kern="1200" dirty="0"/>
        </a:p>
      </dsp:txBody>
      <dsp:txXfrm>
        <a:off x="969103" y="1482909"/>
        <a:ext cx="9844500" cy="741454"/>
      </dsp:txXfrm>
    </dsp:sp>
    <dsp:sp modelId="{3B5BE661-090B-458E-974E-BFD531E651A2}">
      <dsp:nvSpPr>
        <dsp:cNvPr id="0" name=""/>
        <dsp:cNvSpPr/>
      </dsp:nvSpPr>
      <dsp:spPr>
        <a:xfrm>
          <a:off x="505694" y="1390228"/>
          <a:ext cx="926818" cy="926818"/>
        </a:xfrm>
        <a:prstGeom prst="ellipse">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F70B825-517F-45B9-B244-D415BD9DEE88}">
      <dsp:nvSpPr>
        <dsp:cNvPr id="0" name=""/>
        <dsp:cNvSpPr/>
      </dsp:nvSpPr>
      <dsp:spPr>
        <a:xfrm>
          <a:off x="969103" y="2595285"/>
          <a:ext cx="9844500" cy="741454"/>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853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dirty="0"/>
            <a:t>Memory optimized data filegroup</a:t>
          </a:r>
          <a:endParaRPr lang="en-US" sz="2400" kern="1200" dirty="0"/>
        </a:p>
      </dsp:txBody>
      <dsp:txXfrm>
        <a:off x="969103" y="2595285"/>
        <a:ext cx="9844500" cy="741454"/>
      </dsp:txXfrm>
    </dsp:sp>
    <dsp:sp modelId="{160295B8-46D3-4F92-BE43-C7B0161F1A81}">
      <dsp:nvSpPr>
        <dsp:cNvPr id="0" name=""/>
        <dsp:cNvSpPr/>
      </dsp:nvSpPr>
      <dsp:spPr>
        <a:xfrm>
          <a:off x="505694" y="2502603"/>
          <a:ext cx="926818" cy="926818"/>
        </a:xfrm>
        <a:prstGeom prst="ellipse">
          <a:avLst/>
        </a:prstGeom>
        <a:solidFill>
          <a:schemeClr val="lt1">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BA7FF9D-2718-4B85-9127-2BB8209536CF}">
      <dsp:nvSpPr>
        <dsp:cNvPr id="0" name=""/>
        <dsp:cNvSpPr/>
      </dsp:nvSpPr>
      <dsp:spPr>
        <a:xfrm>
          <a:off x="544010" y="3707660"/>
          <a:ext cx="10269593" cy="741454"/>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853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dirty="0"/>
            <a:t>FILESTREAM file group</a:t>
          </a:r>
          <a:endParaRPr lang="en-US" sz="2400" kern="1200" dirty="0"/>
        </a:p>
      </dsp:txBody>
      <dsp:txXfrm>
        <a:off x="544010" y="3707660"/>
        <a:ext cx="10269593" cy="741454"/>
      </dsp:txXfrm>
    </dsp:sp>
    <dsp:sp modelId="{1ECA9742-A5B7-4BE2-BBD4-CF63016BD800}">
      <dsp:nvSpPr>
        <dsp:cNvPr id="0" name=""/>
        <dsp:cNvSpPr/>
      </dsp:nvSpPr>
      <dsp:spPr>
        <a:xfrm>
          <a:off x="80601" y="3614978"/>
          <a:ext cx="926818" cy="926818"/>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12D7E6-9E7C-4AA2-B124-7E6E29E911AF}">
      <dsp:nvSpPr>
        <dsp:cNvPr id="0" name=""/>
        <dsp:cNvSpPr/>
      </dsp:nvSpPr>
      <dsp:spPr>
        <a:xfrm>
          <a:off x="0" y="199677"/>
          <a:ext cx="3400226" cy="20401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Consider instant file initialization</a:t>
          </a:r>
          <a:endParaRPr lang="en-US" sz="2400" kern="1200" dirty="0"/>
        </a:p>
      </dsp:txBody>
      <dsp:txXfrm>
        <a:off x="0" y="199677"/>
        <a:ext cx="3400226" cy="2040135"/>
      </dsp:txXfrm>
    </dsp:sp>
    <dsp:sp modelId="{94DCA6BD-1721-4E61-8F96-42F7D22CF61C}">
      <dsp:nvSpPr>
        <dsp:cNvPr id="0" name=""/>
        <dsp:cNvSpPr/>
      </dsp:nvSpPr>
      <dsp:spPr>
        <a:xfrm>
          <a:off x="3740249" y="199677"/>
          <a:ext cx="3400226" cy="2040135"/>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Pre-allocate space for all TempDB files</a:t>
          </a:r>
          <a:endParaRPr lang="en-US" sz="2400" kern="1200" dirty="0"/>
        </a:p>
      </dsp:txBody>
      <dsp:txXfrm>
        <a:off x="3740249" y="199677"/>
        <a:ext cx="3400226" cy="2040135"/>
      </dsp:txXfrm>
    </dsp:sp>
    <dsp:sp modelId="{D32F6E4D-F5C1-4618-93C3-7C08E691EE5B}">
      <dsp:nvSpPr>
        <dsp:cNvPr id="0" name=""/>
        <dsp:cNvSpPr/>
      </dsp:nvSpPr>
      <dsp:spPr>
        <a:xfrm>
          <a:off x="7480498" y="199677"/>
          <a:ext cx="3400226" cy="2040135"/>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Divide TempDB into multiple data files of equal size</a:t>
          </a:r>
          <a:endParaRPr lang="en-US" sz="2400" kern="1200" dirty="0"/>
        </a:p>
      </dsp:txBody>
      <dsp:txXfrm>
        <a:off x="7480498" y="199677"/>
        <a:ext cx="3400226" cy="2040135"/>
      </dsp:txXfrm>
    </dsp:sp>
    <dsp:sp modelId="{7D8C0E8D-C181-4FBD-8CD5-972A56A49965}">
      <dsp:nvSpPr>
        <dsp:cNvPr id="0" name=""/>
        <dsp:cNvSpPr/>
      </dsp:nvSpPr>
      <dsp:spPr>
        <a:xfrm>
          <a:off x="0" y="2579836"/>
          <a:ext cx="3400226" cy="2040135"/>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Put the TempDB database on a fast I/O subsystem</a:t>
          </a:r>
          <a:endParaRPr lang="en-US" sz="2400" kern="1200" dirty="0"/>
        </a:p>
      </dsp:txBody>
      <dsp:txXfrm>
        <a:off x="0" y="2579836"/>
        <a:ext cx="3400226" cy="2040135"/>
      </dsp:txXfrm>
    </dsp:sp>
    <dsp:sp modelId="{5C5D1959-FD49-4F9F-BE4D-0311FDC3F87A}">
      <dsp:nvSpPr>
        <dsp:cNvPr id="0" name=""/>
        <dsp:cNvSpPr/>
      </dsp:nvSpPr>
      <dsp:spPr>
        <a:xfrm>
          <a:off x="3740249" y="2579836"/>
          <a:ext cx="3400226" cy="2040135"/>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Use disk striping if there are many directly attached disks.</a:t>
          </a:r>
          <a:endParaRPr lang="en-US" sz="2400" kern="1200" dirty="0"/>
        </a:p>
      </dsp:txBody>
      <dsp:txXfrm>
        <a:off x="3740249" y="2579836"/>
        <a:ext cx="3400226" cy="2040135"/>
      </dsp:txXfrm>
    </dsp:sp>
    <dsp:sp modelId="{7A16D7C9-AA21-4FB5-8281-BD4F74B42549}">
      <dsp:nvSpPr>
        <dsp:cNvPr id="0" name=""/>
        <dsp:cNvSpPr/>
      </dsp:nvSpPr>
      <dsp:spPr>
        <a:xfrm>
          <a:off x="7480498" y="2579836"/>
          <a:ext cx="3400226" cy="20401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Put the TempDB database on separate disks from user databases</a:t>
          </a:r>
          <a:endParaRPr lang="en-US" sz="2400" kern="1200" dirty="0"/>
        </a:p>
      </dsp:txBody>
      <dsp:txXfrm>
        <a:off x="7480498" y="2579836"/>
        <a:ext cx="3400226" cy="2040135"/>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D5EC4D-CBE8-4CBE-8720-9892BCEB45F2}">
      <dsp:nvSpPr>
        <dsp:cNvPr id="0" name=""/>
        <dsp:cNvSpPr/>
      </dsp:nvSpPr>
      <dsp:spPr>
        <a:xfrm>
          <a:off x="1552150" y="2836"/>
          <a:ext cx="3703059" cy="22218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Trace Flags 1117 and 1118 behavior enabled by default for TempDB</a:t>
          </a:r>
          <a:endParaRPr lang="en-US" sz="2400" kern="1200" dirty="0"/>
        </a:p>
      </dsp:txBody>
      <dsp:txXfrm>
        <a:off x="1552150" y="2836"/>
        <a:ext cx="3703059" cy="2221835"/>
      </dsp:txXfrm>
    </dsp:sp>
    <dsp:sp modelId="{44A64F2E-54C4-4541-A3C6-A973756CBEC7}">
      <dsp:nvSpPr>
        <dsp:cNvPr id="0" name=""/>
        <dsp:cNvSpPr/>
      </dsp:nvSpPr>
      <dsp:spPr>
        <a:xfrm>
          <a:off x="5625515" y="2836"/>
          <a:ext cx="3703059" cy="2221835"/>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Temporary tables and table variables are cached. </a:t>
          </a:r>
          <a:endParaRPr lang="en-US" sz="2400" kern="1200" dirty="0"/>
        </a:p>
      </dsp:txBody>
      <dsp:txXfrm>
        <a:off x="5625515" y="2836"/>
        <a:ext cx="3703059" cy="2221835"/>
      </dsp:txXfrm>
    </dsp:sp>
    <dsp:sp modelId="{0AE8E446-DCA6-4890-83C4-339778F83471}">
      <dsp:nvSpPr>
        <dsp:cNvPr id="0" name=""/>
        <dsp:cNvSpPr/>
      </dsp:nvSpPr>
      <dsp:spPr>
        <a:xfrm>
          <a:off x="1552150" y="2594977"/>
          <a:ext cx="3703059" cy="2221835"/>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llocation page latching protocol improved.</a:t>
          </a:r>
          <a:endParaRPr lang="en-US" sz="2400" kern="1200" dirty="0"/>
        </a:p>
      </dsp:txBody>
      <dsp:txXfrm>
        <a:off x="1552150" y="2594977"/>
        <a:ext cx="3703059" cy="2221835"/>
      </dsp:txXfrm>
    </dsp:sp>
    <dsp:sp modelId="{FF76BC0E-757E-4718-A4B1-B3BFFB5BEC79}">
      <dsp:nvSpPr>
        <dsp:cNvPr id="0" name=""/>
        <dsp:cNvSpPr/>
      </dsp:nvSpPr>
      <dsp:spPr>
        <a:xfrm>
          <a:off x="5625515" y="2594977"/>
          <a:ext cx="3703059" cy="2221835"/>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Logging overhead for TempDB is reduced.</a:t>
          </a:r>
          <a:endParaRPr lang="en-US" sz="2400" kern="1200" dirty="0"/>
        </a:p>
      </dsp:txBody>
      <dsp:txXfrm>
        <a:off x="5625515" y="2594977"/>
        <a:ext cx="3703059" cy="2221835"/>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7562-EE5E-4366-A87E-0C77C13163CC}">
      <dsp:nvSpPr>
        <dsp:cNvPr id="0" name=""/>
        <dsp:cNvSpPr/>
      </dsp:nvSpPr>
      <dsp:spPr>
        <a:xfrm>
          <a:off x="51" y="28722"/>
          <a:ext cx="4931835" cy="7776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Default</a:t>
          </a:r>
        </a:p>
      </dsp:txBody>
      <dsp:txXfrm>
        <a:off x="51" y="28722"/>
        <a:ext cx="4931835" cy="777600"/>
      </dsp:txXfrm>
    </dsp:sp>
    <dsp:sp modelId="{6351C792-56D4-4FB6-ABBD-639A5B7CD53A}">
      <dsp:nvSpPr>
        <dsp:cNvPr id="0" name=""/>
        <dsp:cNvSpPr/>
      </dsp:nvSpPr>
      <dsp:spPr>
        <a:xfrm>
          <a:off x="51" y="806323"/>
          <a:ext cx="4931835" cy="118584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Temp table cache improvements</a:t>
          </a:r>
        </a:p>
        <a:p>
          <a:pPr marL="228600" lvl="1" indent="-228600" algn="l" defTabSz="889000">
            <a:lnSpc>
              <a:spcPct val="90000"/>
            </a:lnSpc>
            <a:spcBef>
              <a:spcPct val="0"/>
            </a:spcBef>
            <a:spcAft>
              <a:spcPct val="15000"/>
            </a:spcAft>
            <a:buChar char="•"/>
          </a:pPr>
          <a:r>
            <a:rPr lang="en-US" sz="2000" kern="1200" dirty="0"/>
            <a:t>Concurrent PFS updates</a:t>
          </a:r>
        </a:p>
      </dsp:txBody>
      <dsp:txXfrm>
        <a:off x="51" y="806323"/>
        <a:ext cx="4931835" cy="1185840"/>
      </dsp:txXfrm>
    </dsp:sp>
    <dsp:sp modelId="{D3753214-71DB-47E9-89C7-BB5CD65E2EA6}">
      <dsp:nvSpPr>
        <dsp:cNvPr id="0" name=""/>
        <dsp:cNvSpPr/>
      </dsp:nvSpPr>
      <dsp:spPr>
        <a:xfrm>
          <a:off x="5622343" y="28722"/>
          <a:ext cx="4931835" cy="7776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Opt-in</a:t>
          </a:r>
        </a:p>
      </dsp:txBody>
      <dsp:txXfrm>
        <a:off x="5622343" y="28722"/>
        <a:ext cx="4931835" cy="777600"/>
      </dsp:txXfrm>
    </dsp:sp>
    <dsp:sp modelId="{00F8EF06-A708-4F18-8A8E-432849871C19}">
      <dsp:nvSpPr>
        <dsp:cNvPr id="0" name=""/>
        <dsp:cNvSpPr/>
      </dsp:nvSpPr>
      <dsp:spPr>
        <a:xfrm>
          <a:off x="5622343" y="806323"/>
          <a:ext cx="4931835" cy="1185840"/>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Memory-Optimized TempDB Metadata</a:t>
          </a:r>
        </a:p>
      </dsp:txBody>
      <dsp:txXfrm>
        <a:off x="5622343" y="806323"/>
        <a:ext cx="4931835" cy="1185840"/>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3BA1B9-698A-4E65-B1D9-1250BA80FD86}">
      <dsp:nvSpPr>
        <dsp:cNvPr id="0" name=""/>
        <dsp:cNvSpPr/>
      </dsp:nvSpPr>
      <dsp:spPr>
        <a:xfrm>
          <a:off x="0" y="902"/>
          <a:ext cx="11085323" cy="41184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With this change, not only will increasing the number of files help with PFS contention also increasing the size of the files.</a:t>
          </a:r>
        </a:p>
      </dsp:txBody>
      <dsp:txXfrm>
        <a:off x="20104" y="21006"/>
        <a:ext cx="11045115" cy="371632"/>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0604"/>
          <a:ext cx="10880725" cy="7113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stored in TempDB?</a:t>
          </a:r>
        </a:p>
      </dsp:txBody>
      <dsp:txXfrm>
        <a:off x="34726" y="45330"/>
        <a:ext cx="10811273" cy="641908"/>
      </dsp:txXfrm>
    </dsp:sp>
    <dsp:sp modelId="{4A71D5C7-A7D6-46CE-B888-CF65241F6B98}">
      <dsp:nvSpPr>
        <dsp:cNvPr id="0" name=""/>
        <dsp:cNvSpPr/>
      </dsp:nvSpPr>
      <dsp:spPr>
        <a:xfrm>
          <a:off x="0" y="831404"/>
          <a:ext cx="10880725" cy="71136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How can you boost TempDB performance?</a:t>
          </a:r>
        </a:p>
      </dsp:txBody>
      <dsp:txXfrm>
        <a:off x="34726" y="866130"/>
        <a:ext cx="10811273" cy="64190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3D046F-8B4E-4968-BA21-B8542A4D65D5}">
      <dsp:nvSpPr>
        <dsp:cNvPr id="0" name=""/>
        <dsp:cNvSpPr/>
      </dsp:nvSpPr>
      <dsp:spPr>
        <a:xfrm>
          <a:off x="0" y="26404"/>
          <a:ext cx="10880726"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baseline="0" dirty="0"/>
            <a:t>SQL Server will flush the log buffer to the log file</a:t>
          </a:r>
          <a:endParaRPr lang="en-US" sz="3200" kern="1200" dirty="0"/>
        </a:p>
      </dsp:txBody>
      <dsp:txXfrm>
        <a:off x="59399" y="85803"/>
        <a:ext cx="10761928" cy="1098002"/>
      </dsp:txXfrm>
    </dsp:sp>
    <dsp:sp modelId="{90C5942A-676D-4C7E-971D-5ADE5985D74D}">
      <dsp:nvSpPr>
        <dsp:cNvPr id="0" name=""/>
        <dsp:cNvSpPr/>
      </dsp:nvSpPr>
      <dsp:spPr>
        <a:xfrm>
          <a:off x="0" y="1251952"/>
          <a:ext cx="10880726" cy="17827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SQL Server gets a commit request of a transaction that changes data.</a:t>
          </a:r>
          <a:endParaRPr lang="en-US" sz="2400" kern="1200" dirty="0"/>
        </a:p>
        <a:p>
          <a:pPr marL="228600" lvl="1" indent="-228600" algn="l" defTabSz="1066800">
            <a:lnSpc>
              <a:spcPct val="90000"/>
            </a:lnSpc>
            <a:spcBef>
              <a:spcPct val="0"/>
            </a:spcBef>
            <a:spcAft>
              <a:spcPct val="20000"/>
            </a:spcAft>
            <a:buChar char="•"/>
          </a:pPr>
          <a:r>
            <a:rPr lang="en-US" sz="2400" kern="1200" baseline="0" dirty="0"/>
            <a:t>The log buffer fills up. (Max size 60kb.)</a:t>
          </a:r>
          <a:endParaRPr lang="en-US" sz="2400" kern="1200" dirty="0"/>
        </a:p>
        <a:p>
          <a:pPr marL="228600" lvl="1" indent="-228600" algn="l" defTabSz="1066800">
            <a:lnSpc>
              <a:spcPct val="90000"/>
            </a:lnSpc>
            <a:spcBef>
              <a:spcPct val="0"/>
            </a:spcBef>
            <a:spcAft>
              <a:spcPct val="20000"/>
            </a:spcAft>
            <a:buChar char="•"/>
          </a:pPr>
          <a:r>
            <a:rPr lang="en-US" sz="2400" kern="1200" baseline="0" dirty="0"/>
            <a:t>SQL Server needs to harden dirty data pages (checkpoints)</a:t>
          </a:r>
          <a:endParaRPr lang="en-US" sz="2400" kern="1200" dirty="0"/>
        </a:p>
        <a:p>
          <a:pPr marL="228600" lvl="1" indent="-228600" algn="l" defTabSz="1066800">
            <a:lnSpc>
              <a:spcPct val="90000"/>
            </a:lnSpc>
            <a:spcBef>
              <a:spcPct val="0"/>
            </a:spcBef>
            <a:spcAft>
              <a:spcPct val="20000"/>
            </a:spcAft>
            <a:buChar char="•"/>
          </a:pPr>
          <a:r>
            <a:rPr lang="en-US" sz="2400" kern="1200" baseline="0" dirty="0"/>
            <a:t>Manually request a log buffer flush using the </a:t>
          </a:r>
          <a:r>
            <a:rPr lang="en-US" sz="2400" kern="1200" baseline="0" dirty="0" err="1"/>
            <a:t>sys.sp_flush_log</a:t>
          </a:r>
          <a:r>
            <a:rPr lang="en-US" sz="2400" kern="1200" baseline="0" dirty="0"/>
            <a:t> procedure</a:t>
          </a:r>
          <a:endParaRPr lang="en-US" sz="2400" kern="1200" dirty="0"/>
        </a:p>
      </dsp:txBody>
      <dsp:txXfrm>
        <a:off x="0" y="1251952"/>
        <a:ext cx="10880726" cy="1782787"/>
      </dsp:txXfrm>
    </dsp:sp>
    <dsp:sp modelId="{D145050A-2D0A-48DE-B8EB-0A9036A8EE26}">
      <dsp:nvSpPr>
        <dsp:cNvPr id="0" name=""/>
        <dsp:cNvSpPr/>
      </dsp:nvSpPr>
      <dsp:spPr>
        <a:xfrm>
          <a:off x="0" y="3061505"/>
          <a:ext cx="10880726" cy="12168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baseline="0" dirty="0"/>
            <a:t>Log buffer flushing results in a WRITELOG wait type.</a:t>
          </a:r>
          <a:endParaRPr lang="en-US" sz="3200" kern="1200" dirty="0"/>
        </a:p>
      </dsp:txBody>
      <dsp:txXfrm>
        <a:off x="59399" y="3120904"/>
        <a:ext cx="10761928" cy="109800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E66C88-09DA-40B7-823E-7E7CC6D7DE8E}">
      <dsp:nvSpPr>
        <dsp:cNvPr id="0" name=""/>
        <dsp:cNvSpPr/>
      </dsp:nvSpPr>
      <dsp:spPr>
        <a:xfrm>
          <a:off x="0" y="14253"/>
          <a:ext cx="6206049"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Stores 8 kilobytes (KB) pages of data to avoid repeated disk I/O.</a:t>
          </a:r>
          <a:endParaRPr lang="en-US" sz="2400" kern="1200" dirty="0"/>
        </a:p>
      </dsp:txBody>
      <dsp:txXfrm>
        <a:off x="59399" y="73652"/>
        <a:ext cx="6087251" cy="1098002"/>
      </dsp:txXfrm>
    </dsp:sp>
    <dsp:sp modelId="{243A05DC-3C79-4F85-8091-E770D7B8BE1C}">
      <dsp:nvSpPr>
        <dsp:cNvPr id="0" name=""/>
        <dsp:cNvSpPr/>
      </dsp:nvSpPr>
      <dsp:spPr>
        <a:xfrm>
          <a:off x="0" y="1231053"/>
          <a:ext cx="6206049"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7042"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a:t>Pages held in the buffer until the space is needed by something else.</a:t>
          </a:r>
          <a:endParaRPr lang="en-US" sz="2400" kern="1200" dirty="0"/>
        </a:p>
      </dsp:txBody>
      <dsp:txXfrm>
        <a:off x="0" y="1231053"/>
        <a:ext cx="6206049" cy="1076400"/>
      </dsp:txXfrm>
    </dsp:sp>
    <dsp:sp modelId="{8A8E48AC-E044-4373-91C2-A5EBBB4E8D5D}">
      <dsp:nvSpPr>
        <dsp:cNvPr id="0" name=""/>
        <dsp:cNvSpPr/>
      </dsp:nvSpPr>
      <dsp:spPr>
        <a:xfrm>
          <a:off x="0" y="2307453"/>
          <a:ext cx="6206049" cy="12168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Lazy Writer searches for eligible buffers.</a:t>
          </a:r>
        </a:p>
      </dsp:txBody>
      <dsp:txXfrm>
        <a:off x="59399" y="2366852"/>
        <a:ext cx="6087251" cy="1098002"/>
      </dsp:txXfrm>
    </dsp:sp>
    <dsp:sp modelId="{D9796843-2685-4002-815D-6B4869E1BB94}">
      <dsp:nvSpPr>
        <dsp:cNvPr id="0" name=""/>
        <dsp:cNvSpPr/>
      </dsp:nvSpPr>
      <dsp:spPr>
        <a:xfrm>
          <a:off x="0" y="3524253"/>
          <a:ext cx="6206049" cy="1614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7042"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t>If the buffer is dirty, an asynchronous write (lazy write) is posted so that the buffer can later be freed.</a:t>
          </a:r>
        </a:p>
        <a:p>
          <a:pPr marL="228600" lvl="1" indent="-228600" algn="l" defTabSz="1066800">
            <a:lnSpc>
              <a:spcPct val="90000"/>
            </a:lnSpc>
            <a:spcBef>
              <a:spcPct val="0"/>
            </a:spcBef>
            <a:spcAft>
              <a:spcPct val="20000"/>
            </a:spcAft>
            <a:buChar char="•"/>
          </a:pPr>
          <a:r>
            <a:rPr lang="en-US" sz="2400" kern="1200" dirty="0"/>
            <a:t>If the buffer is not dirty, it is freed.</a:t>
          </a:r>
        </a:p>
      </dsp:txBody>
      <dsp:txXfrm>
        <a:off x="0" y="3524253"/>
        <a:ext cx="6206049" cy="161460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F50DC7-A385-4C3D-85E8-5A190CB72709}">
      <dsp:nvSpPr>
        <dsp:cNvPr id="0" name=""/>
        <dsp:cNvSpPr/>
      </dsp:nvSpPr>
      <dsp:spPr>
        <a:xfrm>
          <a:off x="6184" y="859045"/>
          <a:ext cx="1718203" cy="1718203"/>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Segoe UI Light" panose="020B0502040204020203" pitchFamily="34" charset="0"/>
              <a:cs typeface="Segoe UI Light" panose="020B0502040204020203" pitchFamily="34" charset="0"/>
            </a:rPr>
            <a:t>CPU Time (RUNNING)</a:t>
          </a:r>
          <a:endParaRPr lang="pt-PT" sz="1500" kern="1200">
            <a:latin typeface="Segoe UI Light" panose="020B0502040204020203" pitchFamily="34" charset="0"/>
            <a:cs typeface="Segoe UI Light" panose="020B0502040204020203" pitchFamily="34" charset="0"/>
          </a:endParaRPr>
        </a:p>
      </dsp:txBody>
      <dsp:txXfrm>
        <a:off x="257809" y="1110670"/>
        <a:ext cx="1214953" cy="1214953"/>
      </dsp:txXfrm>
    </dsp:sp>
    <dsp:sp modelId="{6673E2C0-687C-4813-9CDF-C1D7AB877466}">
      <dsp:nvSpPr>
        <dsp:cNvPr id="0" name=""/>
        <dsp:cNvSpPr/>
      </dsp:nvSpPr>
      <dsp:spPr>
        <a:xfrm>
          <a:off x="1863906" y="1219868"/>
          <a:ext cx="996558" cy="996558"/>
        </a:xfrm>
        <a:prstGeom prst="mathPlus">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pt-PT" sz="1200" kern="1200">
            <a:latin typeface="Segoe UI Light" panose="020B0502040204020203" pitchFamily="34" charset="0"/>
            <a:cs typeface="Segoe UI Light" panose="020B0502040204020203" pitchFamily="34" charset="0"/>
          </a:endParaRPr>
        </a:p>
      </dsp:txBody>
      <dsp:txXfrm>
        <a:off x="1996000" y="1600952"/>
        <a:ext cx="732370" cy="234390"/>
      </dsp:txXfrm>
    </dsp:sp>
    <dsp:sp modelId="{10CBBA21-79EB-41F6-B412-F391EAA0507A}">
      <dsp:nvSpPr>
        <dsp:cNvPr id="0" name=""/>
        <dsp:cNvSpPr/>
      </dsp:nvSpPr>
      <dsp:spPr>
        <a:xfrm>
          <a:off x="2999982" y="859045"/>
          <a:ext cx="1718203" cy="1718203"/>
        </a:xfrm>
        <a:prstGeom prst="ellipse">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Segoe UI Light" panose="020B0502040204020203" pitchFamily="34" charset="0"/>
              <a:cs typeface="Segoe UI Light" panose="020B0502040204020203" pitchFamily="34" charset="0"/>
            </a:rPr>
            <a:t>Signal Wait Time (RUNNABLE)</a:t>
          </a:r>
          <a:endParaRPr lang="pt-PT" sz="1500" kern="1200">
            <a:latin typeface="Segoe UI Light" panose="020B0502040204020203" pitchFamily="34" charset="0"/>
            <a:cs typeface="Segoe UI Light" panose="020B0502040204020203" pitchFamily="34" charset="0"/>
          </a:endParaRPr>
        </a:p>
      </dsp:txBody>
      <dsp:txXfrm>
        <a:off x="3251607" y="1110670"/>
        <a:ext cx="1214953" cy="1214953"/>
      </dsp:txXfrm>
    </dsp:sp>
    <dsp:sp modelId="{8B0DDA86-1B95-48DA-B6BA-3D7A249A161A}">
      <dsp:nvSpPr>
        <dsp:cNvPr id="0" name=""/>
        <dsp:cNvSpPr/>
      </dsp:nvSpPr>
      <dsp:spPr>
        <a:xfrm>
          <a:off x="4857703" y="1219868"/>
          <a:ext cx="996558" cy="996558"/>
        </a:xfrm>
        <a:prstGeom prst="mathPlus">
          <a:avLst/>
        </a:prstGeom>
        <a:solidFill>
          <a:schemeClr val="accent2">
            <a:hueOff val="-1333748"/>
            <a:satOff val="27691"/>
            <a:lumOff val="29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4989797" y="1600952"/>
        <a:ext cx="732370" cy="234390"/>
      </dsp:txXfrm>
    </dsp:sp>
    <dsp:sp modelId="{8654DA70-295E-47B4-95D9-098230C9A89A}">
      <dsp:nvSpPr>
        <dsp:cNvPr id="0" name=""/>
        <dsp:cNvSpPr/>
      </dsp:nvSpPr>
      <dsp:spPr>
        <a:xfrm>
          <a:off x="5993780" y="859045"/>
          <a:ext cx="1718203" cy="1718203"/>
        </a:xfrm>
        <a:prstGeom prst="ellipse">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Segoe UI Light" panose="020B0502040204020203" pitchFamily="34" charset="0"/>
              <a:cs typeface="Segoe UI Light" panose="020B0502040204020203" pitchFamily="34" charset="0"/>
            </a:rPr>
            <a:t>Resource Wait Time (SUSPENDED)</a:t>
          </a:r>
          <a:endParaRPr lang="pt-PT" sz="1500" kern="1200">
            <a:latin typeface="Segoe UI Light" panose="020B0502040204020203" pitchFamily="34" charset="0"/>
            <a:cs typeface="Segoe UI Light" panose="020B0502040204020203" pitchFamily="34" charset="0"/>
          </a:endParaRPr>
        </a:p>
      </dsp:txBody>
      <dsp:txXfrm>
        <a:off x="6245405" y="1110670"/>
        <a:ext cx="1214953" cy="1214953"/>
      </dsp:txXfrm>
    </dsp:sp>
    <dsp:sp modelId="{46BABBF9-D006-443D-8111-5C6F404BF7AA}">
      <dsp:nvSpPr>
        <dsp:cNvPr id="0" name=""/>
        <dsp:cNvSpPr/>
      </dsp:nvSpPr>
      <dsp:spPr>
        <a:xfrm>
          <a:off x="7851501" y="1219868"/>
          <a:ext cx="996558" cy="996558"/>
        </a:xfrm>
        <a:prstGeom prst="mathEqual">
          <a:avLst/>
        </a:prstGeom>
        <a:solidFill>
          <a:schemeClr val="accent2">
            <a:hueOff val="-2667497"/>
            <a:satOff val="55382"/>
            <a:lumOff val="58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7983595" y="1425159"/>
        <a:ext cx="732370" cy="585976"/>
      </dsp:txXfrm>
    </dsp:sp>
    <dsp:sp modelId="{1E63E032-A34B-40F9-9996-7094989E1D20}">
      <dsp:nvSpPr>
        <dsp:cNvPr id="0" name=""/>
        <dsp:cNvSpPr/>
      </dsp:nvSpPr>
      <dsp:spPr>
        <a:xfrm>
          <a:off x="8987577" y="859045"/>
          <a:ext cx="1718203" cy="1718203"/>
        </a:xfrm>
        <a:prstGeom prst="ellipse">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pt-PT" sz="1500" kern="1200">
              <a:latin typeface="Segoe UI Light" panose="020B0502040204020203" pitchFamily="34" charset="0"/>
              <a:cs typeface="Segoe UI Light" panose="020B0502040204020203" pitchFamily="34" charset="0"/>
            </a:rPr>
            <a:t>Total Query Response Time</a:t>
          </a:r>
        </a:p>
      </dsp:txBody>
      <dsp:txXfrm>
        <a:off x="9239202" y="1110670"/>
        <a:ext cx="1214953" cy="121495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A805E4-2107-49A3-BD77-3C70BA121985}">
      <dsp:nvSpPr>
        <dsp:cNvPr id="0" name=""/>
        <dsp:cNvSpPr/>
      </dsp:nvSpPr>
      <dsp:spPr>
        <a:xfrm>
          <a:off x="0" y="37756"/>
          <a:ext cx="9906000" cy="9523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dirty="0"/>
            <a:t>Automatic</a:t>
          </a:r>
          <a:r>
            <a:rPr lang="en-US" sz="2200" kern="1200" dirty="0"/>
            <a:t> (default) – Database engine issues checkpoints automatically based on the server level “recovery interval” configuration option</a:t>
          </a:r>
        </a:p>
      </dsp:txBody>
      <dsp:txXfrm>
        <a:off x="46491" y="84247"/>
        <a:ext cx="9813018" cy="859398"/>
      </dsp:txXfrm>
    </dsp:sp>
    <dsp:sp modelId="{95DD3C3F-6913-4DF8-BA60-D5B77EE51AD0}">
      <dsp:nvSpPr>
        <dsp:cNvPr id="0" name=""/>
        <dsp:cNvSpPr/>
      </dsp:nvSpPr>
      <dsp:spPr>
        <a:xfrm>
          <a:off x="0" y="1053496"/>
          <a:ext cx="9906000" cy="95238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dirty="0"/>
            <a:t>Indirect</a:t>
          </a:r>
          <a:r>
            <a:rPr lang="en-US" sz="2200" kern="1200" dirty="0"/>
            <a:t> (new in SQL Server 2012) – Database engine issues checkpoints automatically based on the database level TARGET_RECOVERY_TIME</a:t>
          </a:r>
        </a:p>
      </dsp:txBody>
      <dsp:txXfrm>
        <a:off x="46491" y="1099987"/>
        <a:ext cx="9813018" cy="859398"/>
      </dsp:txXfrm>
    </dsp:sp>
    <dsp:sp modelId="{AE6B6D19-C792-4D73-A9A4-722404BFC6F5}">
      <dsp:nvSpPr>
        <dsp:cNvPr id="0" name=""/>
        <dsp:cNvSpPr/>
      </dsp:nvSpPr>
      <dsp:spPr>
        <a:xfrm>
          <a:off x="0" y="2005876"/>
          <a:ext cx="9906000" cy="364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4516" tIns="27940" rIns="156464" bIns="27940" numCol="1" spcCol="1270" anchor="t" anchorCtr="0">
          <a:noAutofit/>
        </a:bodyPr>
        <a:lstStyle/>
        <a:p>
          <a:pPr marL="171450" lvl="1" indent="-171450" algn="l" defTabSz="755650">
            <a:lnSpc>
              <a:spcPct val="90000"/>
            </a:lnSpc>
            <a:spcBef>
              <a:spcPct val="0"/>
            </a:spcBef>
            <a:spcAft>
              <a:spcPct val="20000"/>
            </a:spcAft>
            <a:buChar char="•"/>
          </a:pPr>
          <a:endParaRPr lang="en-US" sz="1700" kern="1200" dirty="0"/>
        </a:p>
      </dsp:txBody>
      <dsp:txXfrm>
        <a:off x="0" y="2005876"/>
        <a:ext cx="9906000" cy="364320"/>
      </dsp:txXfrm>
    </dsp:sp>
    <dsp:sp modelId="{191229E1-A669-4C80-929D-90658F54B41C}">
      <dsp:nvSpPr>
        <dsp:cNvPr id="0" name=""/>
        <dsp:cNvSpPr/>
      </dsp:nvSpPr>
      <dsp:spPr>
        <a:xfrm>
          <a:off x="0" y="2370197"/>
          <a:ext cx="9906000" cy="95238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dirty="0"/>
            <a:t>Manual</a:t>
          </a:r>
          <a:r>
            <a:rPr lang="en-US" sz="2200" kern="1200" dirty="0"/>
            <a:t> – Issued in the current database for your connection when you execute the T-SQL CHECKPOINT command</a:t>
          </a:r>
        </a:p>
      </dsp:txBody>
      <dsp:txXfrm>
        <a:off x="46491" y="2416688"/>
        <a:ext cx="9813018" cy="859398"/>
      </dsp:txXfrm>
    </dsp:sp>
    <dsp:sp modelId="{9FB0B889-7813-4D35-8556-384C3E45CE9B}">
      <dsp:nvSpPr>
        <dsp:cNvPr id="0" name=""/>
        <dsp:cNvSpPr/>
      </dsp:nvSpPr>
      <dsp:spPr>
        <a:xfrm>
          <a:off x="0" y="3385937"/>
          <a:ext cx="9906000" cy="95238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dirty="0"/>
            <a:t>Internal</a:t>
          </a:r>
          <a:r>
            <a:rPr lang="en-US" sz="2200" kern="1200" dirty="0"/>
            <a:t> – Issued by various server operations</a:t>
          </a:r>
        </a:p>
      </dsp:txBody>
      <dsp:txXfrm>
        <a:off x="46491" y="3432428"/>
        <a:ext cx="9813018" cy="85939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818F98-D77E-404D-8396-2CD567FBCDCB}">
      <dsp:nvSpPr>
        <dsp:cNvPr id="0" name=""/>
        <dsp:cNvSpPr/>
      </dsp:nvSpPr>
      <dsp:spPr>
        <a:xfrm>
          <a:off x="0" y="16106"/>
          <a:ext cx="7421562" cy="1488093"/>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baseline="0" dirty="0"/>
            <a:t>A data page is the fundamental unit of data storage in SQL Server.</a:t>
          </a:r>
          <a:endParaRPr lang="en-US" sz="2500" kern="1200" dirty="0"/>
        </a:p>
      </dsp:txBody>
      <dsp:txXfrm>
        <a:off x="72643" y="88749"/>
        <a:ext cx="7276276" cy="1342807"/>
      </dsp:txXfrm>
    </dsp:sp>
    <dsp:sp modelId="{4E07E69E-F0D7-4C1A-ABB4-C91FBDE32562}">
      <dsp:nvSpPr>
        <dsp:cNvPr id="0" name=""/>
        <dsp:cNvSpPr/>
      </dsp:nvSpPr>
      <dsp:spPr>
        <a:xfrm>
          <a:off x="0" y="1504200"/>
          <a:ext cx="7421562" cy="1811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5635" tIns="31750" rIns="177800" bIns="3175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a:t>The disk space allocated to a data file (.mdf or .ndf) is logically divided into pages.</a:t>
          </a:r>
          <a:endParaRPr lang="en-US" sz="2000" kern="1200"/>
        </a:p>
        <a:p>
          <a:pPr marL="228600" lvl="1" indent="-228600" algn="l" defTabSz="889000">
            <a:lnSpc>
              <a:spcPct val="90000"/>
            </a:lnSpc>
            <a:spcBef>
              <a:spcPct val="0"/>
            </a:spcBef>
            <a:spcAft>
              <a:spcPct val="20000"/>
            </a:spcAft>
            <a:buChar char="•"/>
          </a:pPr>
          <a:r>
            <a:rPr lang="en-US" sz="2000" kern="1200" baseline="0"/>
            <a:t>Each page is 8 KB in size</a:t>
          </a:r>
          <a:endParaRPr lang="en-US" sz="2000" kern="1200"/>
        </a:p>
        <a:p>
          <a:pPr marL="228600" lvl="1" indent="-228600" algn="l" defTabSz="889000">
            <a:lnSpc>
              <a:spcPct val="90000"/>
            </a:lnSpc>
            <a:spcBef>
              <a:spcPct val="0"/>
            </a:spcBef>
            <a:spcAft>
              <a:spcPct val="20000"/>
            </a:spcAft>
            <a:buChar char="•"/>
          </a:pPr>
          <a:r>
            <a:rPr lang="en-US" sz="2000" kern="1200" baseline="0"/>
            <a:t>Pages are numbered contiguously from 0 to n. </a:t>
          </a:r>
          <a:endParaRPr lang="en-US" sz="2000" kern="1200"/>
        </a:p>
        <a:p>
          <a:pPr marL="228600" lvl="1" indent="-228600" algn="l" defTabSz="889000">
            <a:lnSpc>
              <a:spcPct val="90000"/>
            </a:lnSpc>
            <a:spcBef>
              <a:spcPct val="0"/>
            </a:spcBef>
            <a:spcAft>
              <a:spcPct val="20000"/>
            </a:spcAft>
            <a:buChar char="•"/>
          </a:pPr>
          <a:r>
            <a:rPr lang="en-US" sz="2000" kern="1200" baseline="0"/>
            <a:t>Disk I/O operations are performed at the page level.</a:t>
          </a:r>
          <a:endParaRPr lang="en-US" sz="2000" kern="1200"/>
        </a:p>
      </dsp:txBody>
      <dsp:txXfrm>
        <a:off x="0" y="1504200"/>
        <a:ext cx="7421562" cy="1811250"/>
      </dsp:txXfrm>
    </dsp:sp>
    <dsp:sp modelId="{1B848AEE-BC85-4AA9-8DEF-430F253DFCD7}">
      <dsp:nvSpPr>
        <dsp:cNvPr id="0" name=""/>
        <dsp:cNvSpPr/>
      </dsp:nvSpPr>
      <dsp:spPr>
        <a:xfrm>
          <a:off x="0" y="3315450"/>
          <a:ext cx="7421562" cy="1488093"/>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baseline="0"/>
            <a:t>Extents are a collection of eight physically contiguous pages (64KB) and are used to efficiently manage the pages. </a:t>
          </a:r>
          <a:endParaRPr lang="en-US" sz="2500" kern="1200"/>
        </a:p>
      </dsp:txBody>
      <dsp:txXfrm>
        <a:off x="72643" y="3388093"/>
        <a:ext cx="7276276" cy="134280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0A1F1B-53A7-4E26-A228-B358B2D55A24}">
      <dsp:nvSpPr>
        <dsp:cNvPr id="0" name=""/>
        <dsp:cNvSpPr/>
      </dsp:nvSpPr>
      <dsp:spPr>
        <a:xfrm>
          <a:off x="0" y="268311"/>
          <a:ext cx="11504118" cy="14175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92847" tIns="374904" rIns="892847"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Fixed length data must be store here.</a:t>
          </a:r>
        </a:p>
        <a:p>
          <a:pPr marL="171450" lvl="1" indent="-171450" algn="l" defTabSz="800100">
            <a:lnSpc>
              <a:spcPct val="90000"/>
            </a:lnSpc>
            <a:spcBef>
              <a:spcPct val="0"/>
            </a:spcBef>
            <a:spcAft>
              <a:spcPct val="15000"/>
            </a:spcAft>
            <a:buChar char="•"/>
          </a:pPr>
          <a:r>
            <a:rPr lang="en-US" sz="1800" kern="1200" dirty="0"/>
            <a:t>Rows cannot extend beyond pages</a:t>
          </a:r>
        </a:p>
        <a:p>
          <a:pPr marL="171450" lvl="1" indent="-171450" algn="l" defTabSz="800100">
            <a:lnSpc>
              <a:spcPct val="90000"/>
            </a:lnSpc>
            <a:spcBef>
              <a:spcPct val="0"/>
            </a:spcBef>
            <a:spcAft>
              <a:spcPct val="15000"/>
            </a:spcAft>
            <a:buChar char="•"/>
          </a:pPr>
          <a:r>
            <a:rPr lang="en-US" sz="1800" kern="1200" dirty="0"/>
            <a:t>Data Page is 8060 bytes</a:t>
          </a:r>
        </a:p>
      </dsp:txBody>
      <dsp:txXfrm>
        <a:off x="0" y="268311"/>
        <a:ext cx="11504118" cy="1417500"/>
      </dsp:txXfrm>
    </dsp:sp>
    <dsp:sp modelId="{5345CC5A-3CA0-4CD0-885F-750DC14CBE0B}">
      <dsp:nvSpPr>
        <dsp:cNvPr id="0" name=""/>
        <dsp:cNvSpPr/>
      </dsp:nvSpPr>
      <dsp:spPr>
        <a:xfrm>
          <a:off x="575205" y="2631"/>
          <a:ext cx="8052882" cy="5313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380" tIns="0" rIns="304380" bIns="0" numCol="1" spcCol="1270" anchor="ctr" anchorCtr="0">
          <a:noAutofit/>
        </a:bodyPr>
        <a:lstStyle/>
        <a:p>
          <a:pPr marL="0" lvl="0" indent="0" algn="l" defTabSz="800100">
            <a:lnSpc>
              <a:spcPct val="90000"/>
            </a:lnSpc>
            <a:spcBef>
              <a:spcPct val="0"/>
            </a:spcBef>
            <a:spcAft>
              <a:spcPct val="35000"/>
            </a:spcAft>
            <a:buNone/>
          </a:pPr>
          <a:r>
            <a:rPr lang="en-US" sz="1800" kern="1200" dirty="0"/>
            <a:t>IN_ROW_DATA</a:t>
          </a:r>
        </a:p>
      </dsp:txBody>
      <dsp:txXfrm>
        <a:off x="601144" y="28570"/>
        <a:ext cx="8001004" cy="479482"/>
      </dsp:txXfrm>
    </dsp:sp>
    <dsp:sp modelId="{1BE6CC60-0F0D-46CE-A406-F857BBCCE870}">
      <dsp:nvSpPr>
        <dsp:cNvPr id="0" name=""/>
        <dsp:cNvSpPr/>
      </dsp:nvSpPr>
      <dsp:spPr>
        <a:xfrm>
          <a:off x="0" y="2048691"/>
          <a:ext cx="11504118" cy="1417500"/>
        </a:xfrm>
        <a:prstGeom prst="rect">
          <a:avLst/>
        </a:prstGeom>
        <a:solidFill>
          <a:schemeClr val="lt1">
            <a:alpha val="90000"/>
            <a:hueOff val="0"/>
            <a:satOff val="0"/>
            <a:lumOff val="0"/>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92847" tIns="374904" rIns="892847"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varchar(max) / nvarchar(max) / varbinary(max)</a:t>
          </a:r>
        </a:p>
        <a:p>
          <a:pPr marL="171450" lvl="1" indent="-171450" algn="l" defTabSz="800100">
            <a:lnSpc>
              <a:spcPct val="90000"/>
            </a:lnSpc>
            <a:spcBef>
              <a:spcPct val="0"/>
            </a:spcBef>
            <a:spcAft>
              <a:spcPct val="15000"/>
            </a:spcAft>
            <a:buChar char="•"/>
          </a:pPr>
          <a:r>
            <a:rPr lang="en-US" sz="1800" kern="1200" dirty="0"/>
            <a:t>16-byte point to out of row tree</a:t>
          </a:r>
        </a:p>
        <a:p>
          <a:pPr marL="171450" lvl="1" indent="-171450" algn="l" defTabSz="800100">
            <a:lnSpc>
              <a:spcPct val="90000"/>
            </a:lnSpc>
            <a:spcBef>
              <a:spcPct val="0"/>
            </a:spcBef>
            <a:spcAft>
              <a:spcPct val="15000"/>
            </a:spcAft>
            <a:buChar char="•"/>
          </a:pPr>
          <a:r>
            <a:rPr lang="en-US" sz="1800" kern="1200" dirty="0"/>
            <a:t>Uses text page to store a stream of data</a:t>
          </a:r>
        </a:p>
      </dsp:txBody>
      <dsp:txXfrm>
        <a:off x="0" y="2048691"/>
        <a:ext cx="11504118" cy="1417500"/>
      </dsp:txXfrm>
    </dsp:sp>
    <dsp:sp modelId="{9AC1164C-B8A9-4BA0-826C-837D06002D2B}">
      <dsp:nvSpPr>
        <dsp:cNvPr id="0" name=""/>
        <dsp:cNvSpPr/>
      </dsp:nvSpPr>
      <dsp:spPr>
        <a:xfrm>
          <a:off x="575205" y="1783011"/>
          <a:ext cx="8052882" cy="53136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380" tIns="0" rIns="304380" bIns="0" numCol="1" spcCol="1270" anchor="ctr" anchorCtr="0">
          <a:noAutofit/>
        </a:bodyPr>
        <a:lstStyle/>
        <a:p>
          <a:pPr marL="0" lvl="0" indent="0" algn="l" defTabSz="800100">
            <a:lnSpc>
              <a:spcPct val="90000"/>
            </a:lnSpc>
            <a:spcBef>
              <a:spcPct val="0"/>
            </a:spcBef>
            <a:spcAft>
              <a:spcPct val="35000"/>
            </a:spcAft>
            <a:buNone/>
          </a:pPr>
          <a:r>
            <a:rPr lang="en-US" sz="1800" kern="1200" dirty="0"/>
            <a:t>LOB_DATA (For out of row storage)</a:t>
          </a:r>
        </a:p>
      </dsp:txBody>
      <dsp:txXfrm>
        <a:off x="601144" y="1808950"/>
        <a:ext cx="8001004" cy="479482"/>
      </dsp:txXfrm>
    </dsp:sp>
    <dsp:sp modelId="{612B4DC7-D7D5-447A-8782-9062D6CCA1B2}">
      <dsp:nvSpPr>
        <dsp:cNvPr id="0" name=""/>
        <dsp:cNvSpPr/>
      </dsp:nvSpPr>
      <dsp:spPr>
        <a:xfrm>
          <a:off x="0" y="3829072"/>
          <a:ext cx="11504118" cy="1417500"/>
        </a:xfrm>
        <a:prstGeom prst="rect">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92847" tIns="374904" rIns="892847"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varchar(8000) / nvarchar(4000) / varbinary(8000)</a:t>
          </a:r>
        </a:p>
        <a:p>
          <a:pPr marL="171450" lvl="1" indent="-171450" algn="l" defTabSz="800100">
            <a:lnSpc>
              <a:spcPct val="90000"/>
            </a:lnSpc>
            <a:spcBef>
              <a:spcPct val="0"/>
            </a:spcBef>
            <a:spcAft>
              <a:spcPct val="15000"/>
            </a:spcAft>
            <a:buChar char="•"/>
          </a:pPr>
          <a:r>
            <a:rPr lang="en-US" sz="1800" kern="1200" dirty="0"/>
            <a:t>When a column can’t fit onto a page</a:t>
          </a:r>
        </a:p>
        <a:p>
          <a:pPr marL="171450" lvl="1" indent="-171450" algn="l" defTabSz="800100">
            <a:lnSpc>
              <a:spcPct val="90000"/>
            </a:lnSpc>
            <a:spcBef>
              <a:spcPct val="0"/>
            </a:spcBef>
            <a:spcAft>
              <a:spcPct val="15000"/>
            </a:spcAft>
            <a:buChar char="•"/>
          </a:pPr>
          <a:r>
            <a:rPr lang="en-US" sz="1800" kern="1200" dirty="0"/>
            <a:t>No control over which column overflows</a:t>
          </a:r>
        </a:p>
      </dsp:txBody>
      <dsp:txXfrm>
        <a:off x="0" y="3829072"/>
        <a:ext cx="11504118" cy="1417500"/>
      </dsp:txXfrm>
    </dsp:sp>
    <dsp:sp modelId="{A2693F37-0C62-4143-8E0A-2BC5D60CCFE2}">
      <dsp:nvSpPr>
        <dsp:cNvPr id="0" name=""/>
        <dsp:cNvSpPr/>
      </dsp:nvSpPr>
      <dsp:spPr>
        <a:xfrm>
          <a:off x="575205" y="3563392"/>
          <a:ext cx="8052882" cy="53136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380" tIns="0" rIns="304380" bIns="0" numCol="1" spcCol="1270" anchor="ctr" anchorCtr="0">
          <a:noAutofit/>
        </a:bodyPr>
        <a:lstStyle/>
        <a:p>
          <a:pPr marL="0" lvl="0" indent="0" algn="l" defTabSz="800100">
            <a:lnSpc>
              <a:spcPct val="90000"/>
            </a:lnSpc>
            <a:spcBef>
              <a:spcPct val="0"/>
            </a:spcBef>
            <a:spcAft>
              <a:spcPct val="35000"/>
            </a:spcAft>
            <a:buNone/>
          </a:pPr>
          <a:r>
            <a:rPr lang="en-US" sz="1800" kern="1200" dirty="0"/>
            <a:t>ROW_OVERFLOW_DATA (SLOB)</a:t>
          </a:r>
        </a:p>
      </dsp:txBody>
      <dsp:txXfrm>
        <a:off x="601144" y="3589331"/>
        <a:ext cx="8001004" cy="47948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21.01.2023</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1/21/2023</a:t>
            </a:fld>
            <a:endParaRPr lang="en-US" noProof="0"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a:p>
            <a:pPr lvl="5"/>
            <a:r>
              <a:rPr lang="en-US" noProof="0"/>
              <a:t>6</a:t>
            </a:r>
          </a:p>
          <a:p>
            <a:pPr lvl="6"/>
            <a:r>
              <a:rPr lang="en-US" noProof="0"/>
              <a:t>7</a:t>
            </a:r>
          </a:p>
          <a:p>
            <a:pPr lvl="7"/>
            <a:r>
              <a:rPr lang="en-US" noProof="0"/>
              <a:t>8</a:t>
            </a:r>
          </a:p>
          <a:p>
            <a:pPr lvl="8"/>
            <a:r>
              <a:rPr lang="en-US" noProof="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dirty="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sql/relational-databases/logs/database-checkpoints-sql-server?view=sql-server-ver15" TargetMode="External"/><Relationship Id="rId2" Type="http://schemas.openxmlformats.org/officeDocument/2006/relationships/slide" Target="../slides/slide13.xml"/><Relationship Id="rId1" Type="http://schemas.openxmlformats.org/officeDocument/2006/relationships/notesMaster" Target="../notesMasters/notesMaster1.xml"/><Relationship Id="rId5" Type="http://schemas.openxmlformats.org/officeDocument/2006/relationships/hyperlink" Target="https://docs.microsoft.com/en-us/sql/relational-databases/logs/change-the-target-recovery-time-of-a-database-sql-server?view=sql-server-ver15" TargetMode="External"/><Relationship Id="rId4" Type="http://schemas.openxmlformats.org/officeDocument/2006/relationships/hyperlink" Target="https://docs.microsoft.com/en-us/sql/database-engine/configure-windows/configure-the-recovery-interval-server-configuration-option?view=sql-server-ver15"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www.sqlskills.com/BLOGS/PAUL/post/Inside-the-Storage-Engine-Anatomy-of-a-page.aspx"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docs.microsoft.com/en-us/sql/relational-databases/pages-and-extents-architecture-guide?view=sql-server-ver15"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channel9.msdn.com/Events/TechEd/NorthAmerica/2013/DBI-B309"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notesMaster" Target="../notesMasters/notesMaster1.xml"/><Relationship Id="rId1" Type="http://schemas.openxmlformats.org/officeDocument/2006/relationships/tags" Target="../tags/tag37.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microsoft.com/en-us/sql/relational-databases/databases/database-files-and-filegroups?view=sql-server-ver15"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ocs.microsoft.com/en-us/sql/relational-databases/databases/database-files-and-filegroups?view=sql-server-ver15"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docs.microsoft.com/en-us/sql/relational-databases/sql-server-transaction-log-architecture-and-management-guide?view=sql-server-ver15"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docs.microsoft.com/en-us/sql/relational-databases/sql-server-transaction-log-architecture-and-management-guide?view=sql-server-ver15"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www.sqlskills.com/BLOGS/KIMBERLY/post/Transaction-Log-VLFs-too-many-or-too-few.aspx"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docs.microsoft.com/en-us/sql/relational-databases/sql-server-transaction-log-architecture-and-management-guide?view=sql-server-ver15#physical_arch"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blogs.msdn.com/b/blogdoezequiel/archive/tags/vlf" TargetMode="External"/><Relationship Id="rId2" Type="http://schemas.openxmlformats.org/officeDocument/2006/relationships/slide" Target="../slides/slide46.xml"/><Relationship Id="rId1" Type="http://schemas.openxmlformats.org/officeDocument/2006/relationships/notesMaster" Target="../notesMasters/notesMaster1.xml"/><Relationship Id="rId5" Type="http://schemas.openxmlformats.org/officeDocument/2006/relationships/hyperlink" Target="http://blogs.msdn.com/b/blogdoezequiel/archive/2011/05/24/sql-swiss-army-knife-9-vlfs-revisited.aspx" TargetMode="External"/><Relationship Id="rId4" Type="http://schemas.openxmlformats.org/officeDocument/2006/relationships/hyperlink" Target="http://blogs.msdn.com/b/blogdoezequiel/archive/2011/04/26/can-log-files-growth-affect-dml-post-cu6-update.aspx" TargetMode="Externa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docs.microsoft.com/en-us/sql/relational-databases/sql-server-transaction-log-architecture-and-management-guide?view=sql-server-ver15#physical_arch"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docs.microsoft.com/en-us/sql/relational-databases/logs/control-transaction-durability?view=sql-server-ver15#delayed-transaction-durability" TargetMode="External"/><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docs.microsoft.com/en-us/sql/relational-databases/logs/control-transaction-durability?view=sql-server-ver15#delayed-transaction-durability" TargetMode="External"/><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memory-optimized-tempdb-metadata" TargetMode="External"/><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sql/relational-databases/databases/database-files-and-filegroups?view=sql-server-ver15"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channel9.msdn.com/Shows/Data-Exposed/How-and-When-To-Memory-Optimized-TempDB-Metadata?term=tempdb&amp;lang-en=true" TargetMode="External"/><Relationship Id="rId2" Type="http://schemas.openxmlformats.org/officeDocument/2006/relationships/slide" Target="../slides/slide59.xml"/><Relationship Id="rId1" Type="http://schemas.openxmlformats.org/officeDocument/2006/relationships/notesMaster" Target="../notesMasters/notesMaster1.xml"/><Relationship Id="rId4" Type="http://schemas.openxmlformats.org/officeDocument/2006/relationships/hyperlink" Target="https://channel9.msdn.com/Shows/Data-Exposed/It-Just-Runs-Faster-SQL-Server-2019-TempDB-Improvements" TargetMode="Externa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hysical-properties-of-tempdb-in-sql-server" TargetMode="External"/><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erformance-improvements-in-tempdb-for-sql-server" TargetMode="External"/><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3" Type="http://schemas.openxmlformats.org/officeDocument/2006/relationships/hyperlink" Target="https://docs.microsoft.com/en-us/sql/t-sql/database-console-commands/dbcc-traceon-trace-flags-transact-sql?view=sql-server-ver15" TargetMode="External"/><Relationship Id="rId2" Type="http://schemas.openxmlformats.org/officeDocument/2006/relationships/slide" Target="../slides/slide62.xml"/><Relationship Id="rId1" Type="http://schemas.openxmlformats.org/officeDocument/2006/relationships/notesMaster" Target="../notesMasters/notesMaster1.xml"/><Relationship Id="rId4" Type="http://schemas.openxmlformats.org/officeDocument/2006/relationships/hyperlink" Target="https://docs.microsoft.com/en-us/sql/relational-databases/databases/tempdb-database?view=sql-server-ver15#memory-optimized-tempdb-metadata" TargetMode="Externa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docs.microsoft.com/en-us/archive/blogs/bobsql/sql-2016-it-just-runs-faster-automatic-tempdb-configuration" TargetMode="External"/><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channel9.msdn.com/Shows/Data-Exposed/How-and-When-To-Memory-Optimized-TempDB-Metadata?term=tempdb&amp;lang-en=true" TargetMode="External"/><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github.com/microsoft/sqlworkshops/blob/master/sql2019workshop/sql2019wks/02_IntelligentPerformance.md#-----22-advanced-tempdb-just-runs-faster" TargetMode="External"/><Relationship Id="rId2" Type="http://schemas.openxmlformats.org/officeDocument/2006/relationships/slide" Target="../slides/slide66.xml"/><Relationship Id="rId1" Type="http://schemas.openxmlformats.org/officeDocument/2006/relationships/notesMaster" Target="../notesMasters/notesMaster1.xml"/><Relationship Id="rId4" Type="http://schemas.openxmlformats.org/officeDocument/2006/relationships/hyperlink" Target="https://channel9.msdn.com/Shows/Data-Exposed/How-and-When-To-Memory-Optimized-TempDB-Metadata?term=tempdb&amp;lang-en=true" TargetMode="Externa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sql/relational-databases/sql-server-transaction-log-architecture-and-management-guide?view=sql-server-ver15" TargetMode="External"/><Relationship Id="rId7" Type="http://schemas.openxmlformats.org/officeDocument/2006/relationships/hyperlink" Target="https://docs.microsoft.com/en-us/previous-versions/sql/sql-server-2008/ee410782(v=sql.100)"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docs.microsoft.com/en-us/sql/relational-databases/writing-pages?view=sql-server-ver15" TargetMode="External"/><Relationship Id="rId5" Type="http://schemas.openxmlformats.org/officeDocument/2006/relationships/hyperlink" Target="https://docs.microsoft.com/en-us/sql/relational-databases/sql-server-transaction-log-architecture-and-management-guide?view=sql-server-ver15#WAL" TargetMode="External"/><Relationship Id="rId4" Type="http://schemas.openxmlformats.org/officeDocument/2006/relationships/hyperlink" Target="https://docs.microsoft.com/en-us/previous-versions/office/developer/server-technologies/aa480356(v=msdn.10)" TargetMode="Externa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27.xml"/><Relationship Id="rId5" Type="http://schemas.openxmlformats.org/officeDocument/2006/relationships/hyperlink" Target="https://docs.microsoft.com/en-us/previous-versions/sql/sql-server-2008-r2/ms345403(v=sql.105)" TargetMode="External"/><Relationship Id="rId4" Type="http://schemas.openxmlformats.org/officeDocument/2006/relationships/hyperlink" Target="https://docs.microsoft.com/en-us/previous-versions/sql/sql-server-2008-r2/aa337525(v=sql.105)"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sql/t-sql/statements/set-statistics-io-transact-sql?view=sql-server-ver15"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docs.microsoft.com/en-us/sql/t-sql/statements/set-statistics-time-transact-sql?view=sql-server-ver15"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a:t>
            </a:fld>
            <a:endParaRPr lang="en-US" noProof="0" dirty="0"/>
          </a:p>
        </p:txBody>
      </p:sp>
    </p:spTree>
    <p:extLst>
      <p:ext uri="{BB962C8B-B14F-4D97-AF65-F5344CB8AC3E}">
        <p14:creationId xmlns:p14="http://schemas.microsoft.com/office/powerpoint/2010/main" val="3893270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sz="882" b="1" i="0" kern="1200" baseline="0" dirty="0">
                <a:solidFill>
                  <a:schemeClr val="tx1"/>
                </a:solidFill>
                <a:effectLst/>
                <a:latin typeface="+mn-lt"/>
                <a:ea typeface="+mn-ea"/>
                <a:cs typeface="+mn-cs"/>
              </a:rPr>
              <a:t>Overview</a:t>
            </a:r>
          </a:p>
          <a:p>
            <a:r>
              <a:rPr lang="en-US" sz="882" b="0" i="0" kern="1200" baseline="0" dirty="0">
                <a:solidFill>
                  <a:schemeClr val="tx1"/>
                </a:solidFill>
                <a:effectLst/>
                <a:latin typeface="+mn-lt"/>
                <a:ea typeface="+mn-ea"/>
                <a:cs typeface="+mn-cs"/>
              </a:rPr>
              <a:t>For performance reasons, the Database Engine performs modifications to database pages in memory-in the buffer cache-and does not write these pages to disk after every change. Rather, the Database Engine periodically issues a checkpoint on each database. A </a:t>
            </a:r>
            <a:r>
              <a:rPr lang="en-US" sz="882" b="0" i="1" kern="1200" baseline="0" dirty="0">
                <a:solidFill>
                  <a:schemeClr val="tx1"/>
                </a:solidFill>
                <a:effectLst/>
                <a:latin typeface="+mn-lt"/>
                <a:ea typeface="+mn-ea"/>
                <a:cs typeface="+mn-cs"/>
              </a:rPr>
              <a:t>checkpoint</a:t>
            </a:r>
            <a:r>
              <a:rPr lang="en-US" sz="882" b="0" i="0" kern="1200" baseline="0" dirty="0">
                <a:solidFill>
                  <a:schemeClr val="tx1"/>
                </a:solidFill>
                <a:effectLst/>
                <a:latin typeface="+mn-lt"/>
                <a:ea typeface="+mn-ea"/>
                <a:cs typeface="+mn-cs"/>
              </a:rPr>
              <a:t> writes the current in-memory modified pages (known as </a:t>
            </a:r>
            <a:r>
              <a:rPr lang="en-US" sz="882" b="0" i="1" kern="1200" baseline="0" dirty="0">
                <a:solidFill>
                  <a:schemeClr val="tx1"/>
                </a:solidFill>
                <a:effectLst/>
                <a:latin typeface="+mn-lt"/>
                <a:ea typeface="+mn-ea"/>
                <a:cs typeface="+mn-cs"/>
              </a:rPr>
              <a:t>dirty pages</a:t>
            </a:r>
            <a:r>
              <a:rPr lang="en-US" sz="882" b="0" i="0" kern="1200" baseline="0" dirty="0">
                <a:solidFill>
                  <a:schemeClr val="tx1"/>
                </a:solidFill>
                <a:effectLst/>
                <a:latin typeface="+mn-lt"/>
                <a:ea typeface="+mn-ea"/>
                <a:cs typeface="+mn-cs"/>
              </a:rPr>
              <a:t>) and transaction log information from memory to disk and, also records the information in the transaction log.</a:t>
            </a:r>
          </a:p>
          <a:p>
            <a:r>
              <a:rPr lang="en-US" sz="882" b="0" i="0" kern="1200" baseline="0" dirty="0">
                <a:solidFill>
                  <a:schemeClr val="tx1"/>
                </a:solidFill>
                <a:effectLst/>
                <a:latin typeface="+mn-lt"/>
                <a:ea typeface="+mn-ea"/>
                <a:cs typeface="+mn-cs"/>
              </a:rPr>
              <a:t>The Database Engine supports several types of checkpoints: automatic, indirect, manual, and internal. </a:t>
            </a:r>
          </a:p>
          <a:p>
            <a:endParaRPr lang="en-US" dirty="0"/>
          </a:p>
          <a:p>
            <a:pPr rtl="0"/>
            <a:r>
              <a:rPr lang="en-US" sz="882" b="1" i="0" kern="1200" baseline="0" dirty="0">
                <a:solidFill>
                  <a:schemeClr val="tx1"/>
                </a:solidFill>
                <a:effectLst/>
                <a:latin typeface="+mn-lt"/>
                <a:ea typeface="+mn-ea"/>
                <a:cs typeface="+mn-cs"/>
              </a:rPr>
              <a:t>Note</a:t>
            </a:r>
          </a:p>
          <a:p>
            <a:r>
              <a:rPr lang="en-US" sz="882" b="0" i="0" kern="1200" baseline="0" dirty="0">
                <a:solidFill>
                  <a:schemeClr val="tx1"/>
                </a:solidFill>
                <a:effectLst/>
                <a:latin typeface="+mn-lt"/>
                <a:ea typeface="+mn-ea"/>
                <a:cs typeface="+mn-cs"/>
              </a:rPr>
              <a:t>The </a:t>
            </a:r>
            <a:r>
              <a:rPr lang="en-US" sz="882" b="1" i="0" kern="1200" baseline="0" dirty="0">
                <a:solidFill>
                  <a:schemeClr val="tx1"/>
                </a:solidFill>
                <a:effectLst/>
                <a:latin typeface="+mn-lt"/>
                <a:ea typeface="+mn-ea"/>
                <a:cs typeface="+mn-cs"/>
              </a:rPr>
              <a:t>-k</a:t>
            </a:r>
            <a:r>
              <a:rPr lang="en-US" sz="882" b="0" i="0" kern="1200" baseline="0" dirty="0">
                <a:solidFill>
                  <a:schemeClr val="tx1"/>
                </a:solidFill>
                <a:effectLst/>
                <a:latin typeface="+mn-lt"/>
                <a:ea typeface="+mn-ea"/>
                <a:cs typeface="+mn-cs"/>
              </a:rPr>
              <a:t> SQL Server advanced setup option enables a database administrator to throttle checkpoint I/O behavior based on the throughput of the I/O subsystem for some types of checkpoints. The </a:t>
            </a:r>
            <a:r>
              <a:rPr lang="en-US" sz="882" b="1" i="0" kern="1200" baseline="0" dirty="0">
                <a:solidFill>
                  <a:schemeClr val="tx1"/>
                </a:solidFill>
                <a:effectLst/>
                <a:latin typeface="+mn-lt"/>
                <a:ea typeface="+mn-ea"/>
                <a:cs typeface="+mn-cs"/>
              </a:rPr>
              <a:t>-k</a:t>
            </a:r>
            <a:r>
              <a:rPr lang="en-US" sz="882" b="0" i="0" kern="1200" baseline="0" dirty="0">
                <a:solidFill>
                  <a:schemeClr val="tx1"/>
                </a:solidFill>
                <a:effectLst/>
                <a:latin typeface="+mn-lt"/>
                <a:ea typeface="+mn-ea"/>
                <a:cs typeface="+mn-cs"/>
              </a:rPr>
              <a:t> setup option applies to automatic checkpoints and any otherwise unthrottled manual and internal checkpoints.</a:t>
            </a:r>
          </a:p>
          <a:p>
            <a:r>
              <a:rPr lang="en-US" sz="882" b="0" i="0" kern="1200" baseline="0" dirty="0">
                <a:solidFill>
                  <a:schemeClr val="tx1"/>
                </a:solidFill>
                <a:effectLst/>
                <a:latin typeface="+mn-lt"/>
                <a:ea typeface="+mn-ea"/>
                <a:cs typeface="+mn-cs"/>
              </a:rPr>
              <a:t>For automatic, manual, and internal checkpoints, only modifications made after the latest checkpoint need to be rolled forward during database recovery. This reduces the time required to recover a database.</a:t>
            </a:r>
          </a:p>
          <a:p>
            <a:endParaRPr lang="en-US" sz="882" b="1"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Important</a:t>
            </a:r>
          </a:p>
          <a:p>
            <a:r>
              <a:rPr lang="en-US" sz="882" b="0" i="0" kern="1200" baseline="0" dirty="0">
                <a:solidFill>
                  <a:schemeClr val="tx1"/>
                </a:solidFill>
                <a:effectLst/>
                <a:latin typeface="+mn-lt"/>
                <a:ea typeface="+mn-ea"/>
                <a:cs typeface="+mn-cs"/>
              </a:rPr>
              <a:t>Long-running, uncommitted transactions increase recovery time for all checkpoint types.</a:t>
            </a:r>
          </a:p>
          <a:p>
            <a:endParaRPr lang="en-US" dirty="0"/>
          </a:p>
          <a:p>
            <a:r>
              <a:rPr lang="en-US" b="1" dirty="0"/>
              <a:t>Key Points</a:t>
            </a:r>
            <a:r>
              <a:rPr lang="en-US" dirty="0"/>
              <a:t>:</a:t>
            </a:r>
          </a:p>
          <a:p>
            <a:pPr>
              <a:spcAft>
                <a:spcPts val="600"/>
              </a:spcAft>
            </a:pPr>
            <a:r>
              <a:rPr lang="en-US" dirty="0"/>
              <a:t>Checkpoints are used by the database engine to minimize the time to recover databases in the event of a server crash or restart. Data page changes are buffered in memory to minimize disk I/O and maximize performance. If the server crashes, any changes made in-memory that have not yet been written to the data file will be lost. Upon restart, SQL Server will need to recover these changes by reading the transaction log file – rolling forward any changes that were committed at the time of the crash and rolling back any changes that were not committed at the time of the crash. This process is called “recovery.”</a:t>
            </a:r>
          </a:p>
          <a:p>
            <a:pPr>
              <a:spcAft>
                <a:spcPts val="600"/>
              </a:spcAft>
            </a:pPr>
            <a:r>
              <a:rPr lang="en-US" dirty="0"/>
              <a:t>The “</a:t>
            </a:r>
            <a:r>
              <a:rPr lang="en-US" b="1" dirty="0"/>
              <a:t>recovery interval</a:t>
            </a:r>
            <a:r>
              <a:rPr lang="en-US" dirty="0"/>
              <a:t>” server option allows you to control the estimated time it will take to recover databases on the server upon restart. The default setting is 0, which allows SQL Server to control the interval (</a:t>
            </a:r>
            <a:r>
              <a:rPr lang="en-US" b="1" dirty="0"/>
              <a:t>typically resulting in checkpoints about every 1 minute and &lt; 1 minute recovery</a:t>
            </a:r>
            <a:r>
              <a:rPr lang="en-US" dirty="0"/>
              <a:t>). The longer the recovery interval, the less frequent the checkpoints will be, resulting in less disk I/O on the server. The tradeoff is longer recovery time, thus longer downtime in the event of an unexpected restart. It is recommended to leave the recovery interval at the default, but if there are very frequent changes in a database, particularly changes that always affect the same page in memory, it may be beneficial to increase the interval.</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r>
              <a:rPr lang="en-US" dirty="0"/>
              <a:t>:</a:t>
            </a:r>
          </a:p>
          <a:p>
            <a:r>
              <a:rPr lang="en-US" sz="882" kern="1200" baseline="0" dirty="0">
                <a:solidFill>
                  <a:schemeClr val="tx1"/>
                </a:solidFill>
                <a:effectLst/>
                <a:latin typeface="+mn-lt"/>
                <a:ea typeface="+mn-ea"/>
                <a:cs typeface="+mn-cs"/>
              </a:rPr>
              <a:t>Database Checkpoints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logs/database-checkpoints-sql-server?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Configure the recovery interval Server Configuration Option</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docs.microsoft.com/en-us/sql/database-engine/configure-windows/configure-the-recovery-interval-server-configuration-option?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Change the Target Recovery Time of a Database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5"/>
              </a:rPr>
              <a:t>https://docs.microsoft.com/en-us/sql/relational-databases/logs/change-the-target-recovery-time-of-a-database-sql-server?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dirty="0"/>
          </a:p>
        </p:txBody>
      </p:sp>
    </p:spTree>
    <p:extLst>
      <p:ext uri="{BB962C8B-B14F-4D97-AF65-F5344CB8AC3E}">
        <p14:creationId xmlns:p14="http://schemas.microsoft.com/office/powerpoint/2010/main" val="1816708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268194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The fundamental unit of data storage in SQL Server is the page. The disk space allocated to a data file (.mdf or .ndf) in a database is logically divided into pages numbered contiguously from 0 to n. Disk I/O operations are performed at the page level. That is, SQL Server reads or writes whole data pages.</a:t>
            </a:r>
          </a:p>
          <a:p>
            <a:r>
              <a:rPr lang="en-US" sz="882" b="0" i="0" kern="1200" baseline="0" dirty="0">
                <a:solidFill>
                  <a:schemeClr val="tx1"/>
                </a:solidFill>
                <a:effectLst/>
                <a:latin typeface="+mn-lt"/>
                <a:ea typeface="+mn-ea"/>
                <a:cs typeface="+mn-cs"/>
              </a:rPr>
              <a:t>Extents are a collection of eight physically contiguous pages and are used to efficiently manage the pages. All pages are stored in extents.</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Pages</a:t>
            </a:r>
          </a:p>
          <a:p>
            <a:r>
              <a:rPr lang="en-US" sz="882" b="0" i="0" kern="1200" baseline="0" dirty="0">
                <a:solidFill>
                  <a:schemeClr val="tx1"/>
                </a:solidFill>
                <a:effectLst/>
                <a:latin typeface="+mn-lt"/>
                <a:ea typeface="+mn-ea"/>
                <a:cs typeface="+mn-cs"/>
              </a:rPr>
              <a:t>In SQL Server, the page size is 8 KB. This means SQL Server databases have 128 pages per megabyte. Each page begins with a 96-byte header that is used to store system information about the page. This information includes the page number, page type, the amount of free space on the page, and the allocation unit ID of the object that owns the page.</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endParaRPr lang="en-US" dirty="0"/>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pages-and-extents-architecture-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dirty="0"/>
          </a:p>
        </p:txBody>
      </p:sp>
    </p:spTree>
    <p:extLst>
      <p:ext uri="{BB962C8B-B14F-4D97-AF65-F5344CB8AC3E}">
        <p14:creationId xmlns:p14="http://schemas.microsoft.com/office/powerpoint/2010/main" val="29937783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kern="1200" dirty="0">
                <a:solidFill>
                  <a:schemeClr val="tx1"/>
                </a:solidFill>
                <a:effectLst/>
                <a:latin typeface="Segoe UI Light" pitchFamily="34" charset="0"/>
                <a:ea typeface="+mn-ea"/>
                <a:cs typeface="+mn-cs"/>
              </a:rPr>
              <a:t>All SQL Server [Data or Index] pages contain a header, a body containing data rows, and a slot array.</a:t>
            </a:r>
          </a:p>
          <a:p>
            <a:r>
              <a:rPr lang="en-US" sz="800" b="1" kern="1200" dirty="0">
                <a:solidFill>
                  <a:schemeClr val="tx1"/>
                </a:solidFill>
                <a:effectLst/>
                <a:latin typeface="Segoe UI Light" pitchFamily="34" charset="0"/>
                <a:ea typeface="+mn-ea"/>
                <a:cs typeface="+mn-cs"/>
              </a:rPr>
              <a:t>Page header</a:t>
            </a:r>
          </a:p>
          <a:p>
            <a:r>
              <a:rPr lang="en-US" sz="800" kern="1200" dirty="0">
                <a:solidFill>
                  <a:schemeClr val="tx1"/>
                </a:solidFill>
                <a:effectLst/>
                <a:latin typeface="Segoe UI Light" pitchFamily="34" charset="0"/>
                <a:ea typeface="+mn-ea"/>
                <a:cs typeface="+mn-cs"/>
              </a:rPr>
              <a:t>The page header is the first 96 bytes of each data page. It contains the page header information such as the Page ID, Page type, and Allocation Unit ID of the page.</a:t>
            </a:r>
          </a:p>
          <a:p>
            <a:endParaRPr lang="en-US" sz="800" b="1" kern="1200" dirty="0">
              <a:solidFill>
                <a:schemeClr val="tx1"/>
              </a:solidFill>
              <a:effectLst/>
              <a:latin typeface="Segoe UI Light" pitchFamily="34" charset="0"/>
              <a:ea typeface="+mn-ea"/>
              <a:cs typeface="+mn-cs"/>
            </a:endParaRPr>
          </a:p>
          <a:p>
            <a:r>
              <a:rPr lang="en-US" sz="800" b="1" kern="1200" dirty="0">
                <a:solidFill>
                  <a:schemeClr val="tx1"/>
                </a:solidFill>
                <a:effectLst/>
                <a:latin typeface="Segoe UI Light" pitchFamily="34" charset="0"/>
                <a:ea typeface="+mn-ea"/>
                <a:cs typeface="+mn-cs"/>
              </a:rPr>
              <a:t>Data rows</a:t>
            </a:r>
          </a:p>
          <a:p>
            <a:r>
              <a:rPr lang="en-US" sz="800" kern="1200" dirty="0">
                <a:solidFill>
                  <a:schemeClr val="tx1"/>
                </a:solidFill>
                <a:effectLst/>
                <a:latin typeface="Segoe UI Light" pitchFamily="34" charset="0"/>
                <a:ea typeface="+mn-ea"/>
                <a:cs typeface="+mn-cs"/>
              </a:rPr>
              <a:t>This section holds the actual data rows of the table. Data rows have the following characteristics:</a:t>
            </a:r>
          </a:p>
          <a:p>
            <a:pPr marL="171450" lvl="0" indent="-171450">
              <a:buFont typeface="Arial" pitchFamily="34" charset="0"/>
              <a:buChar char="•"/>
            </a:pPr>
            <a:r>
              <a:rPr lang="en-US" sz="800" kern="1200" dirty="0">
                <a:solidFill>
                  <a:schemeClr val="tx1"/>
                </a:solidFill>
                <a:effectLst/>
                <a:latin typeface="Segoe UI Light" pitchFamily="34" charset="0"/>
                <a:ea typeface="+mn-ea"/>
                <a:cs typeface="+mn-cs"/>
              </a:rPr>
              <a:t>The maximum size of a single data row is 8,060 bytes.</a:t>
            </a:r>
          </a:p>
          <a:p>
            <a:pPr marL="171450" lvl="0" indent="-171450">
              <a:buFont typeface="Arial" pitchFamily="34" charset="0"/>
              <a:buChar char="•"/>
            </a:pPr>
            <a:r>
              <a:rPr lang="en-US" sz="800" kern="1200" dirty="0">
                <a:solidFill>
                  <a:schemeClr val="tx1"/>
                </a:solidFill>
                <a:effectLst/>
                <a:latin typeface="Segoe UI Light" pitchFamily="34" charset="0"/>
                <a:ea typeface="+mn-ea"/>
                <a:cs typeface="+mn-cs"/>
              </a:rPr>
              <a:t>A normal data row cannot span multiple pages.</a:t>
            </a:r>
          </a:p>
          <a:p>
            <a:pPr marL="171450" lvl="0" indent="-171450">
              <a:buFont typeface="Arial" pitchFamily="34" charset="0"/>
              <a:buChar char="•"/>
            </a:pPr>
            <a:r>
              <a:rPr lang="en-US" sz="800" kern="1200" dirty="0">
                <a:solidFill>
                  <a:schemeClr val="tx1"/>
                </a:solidFill>
                <a:effectLst/>
                <a:latin typeface="Segoe UI Light" pitchFamily="34" charset="0"/>
                <a:ea typeface="+mn-ea"/>
                <a:cs typeface="+mn-cs"/>
              </a:rPr>
              <a:t>Text and image data columns can be stored in their own separate pages and can span multiple pages.</a:t>
            </a:r>
          </a:p>
          <a:p>
            <a:pPr marL="171450" lvl="0" indent="-171450">
              <a:buFont typeface="Arial" pitchFamily="34" charset="0"/>
              <a:buChar char="•"/>
            </a:pPr>
            <a:r>
              <a:rPr lang="en-US" sz="800" kern="1200" dirty="0">
                <a:solidFill>
                  <a:schemeClr val="tx1"/>
                </a:solidFill>
                <a:effectLst/>
                <a:latin typeface="Segoe UI Light" pitchFamily="34" charset="0"/>
                <a:ea typeface="+mn-ea"/>
                <a:cs typeface="+mn-cs"/>
              </a:rPr>
              <a:t>Fixed-length columns always store the same number of rows per page.</a:t>
            </a:r>
          </a:p>
          <a:p>
            <a:pPr marL="171450" lvl="0" indent="-171450">
              <a:buFont typeface="Arial" pitchFamily="34" charset="0"/>
              <a:buChar char="•"/>
            </a:pPr>
            <a:r>
              <a:rPr lang="en-US" sz="800" kern="1200" dirty="0">
                <a:solidFill>
                  <a:schemeClr val="tx1"/>
                </a:solidFill>
                <a:effectLst/>
                <a:latin typeface="Segoe UI Light" pitchFamily="34" charset="0"/>
                <a:ea typeface="+mn-ea"/>
                <a:cs typeface="+mn-cs"/>
              </a:rPr>
              <a:t>Variable-length rows (rows from tables that are defined by using one or more variable length data types) store as many rows as will fit, based on the actual length of the data entered.</a:t>
            </a:r>
          </a:p>
          <a:p>
            <a:pPr marL="171450" lvl="0" indent="-171450">
              <a:buFont typeface="Arial" pitchFamily="34" charset="0"/>
              <a:buChar char="•"/>
            </a:pPr>
            <a:r>
              <a:rPr lang="en-US" sz="800" kern="1200" dirty="0">
                <a:solidFill>
                  <a:schemeClr val="tx1"/>
                </a:solidFill>
                <a:effectLst/>
                <a:latin typeface="Segoe UI Light" pitchFamily="34" charset="0"/>
                <a:ea typeface="+mn-ea"/>
                <a:cs typeface="+mn-cs"/>
              </a:rPr>
              <a:t>Shorter row length enables more rows to fit on a page, thereby reducing I/O and improving the cache/hit ratio.</a:t>
            </a:r>
          </a:p>
          <a:p>
            <a:endParaRPr lang="en-US" sz="800" b="1" kern="1200" dirty="0">
              <a:solidFill>
                <a:schemeClr val="tx1"/>
              </a:solidFill>
              <a:effectLst/>
              <a:latin typeface="Segoe UI Light" pitchFamily="34" charset="0"/>
              <a:ea typeface="+mn-ea"/>
              <a:cs typeface="+mn-cs"/>
            </a:endParaRPr>
          </a:p>
          <a:p>
            <a:r>
              <a:rPr lang="en-US" sz="800" b="1" kern="1200" dirty="0">
                <a:solidFill>
                  <a:schemeClr val="tx1"/>
                </a:solidFill>
                <a:effectLst/>
                <a:latin typeface="Segoe UI Light" pitchFamily="34" charset="0"/>
                <a:ea typeface="+mn-ea"/>
                <a:cs typeface="+mn-cs"/>
              </a:rPr>
              <a:t>Row offset array</a:t>
            </a:r>
          </a:p>
          <a:p>
            <a:r>
              <a:rPr lang="en-US" sz="800" kern="1200" dirty="0">
                <a:solidFill>
                  <a:schemeClr val="tx1"/>
                </a:solidFill>
                <a:effectLst/>
                <a:latin typeface="Segoe UI Light" pitchFamily="34" charset="0"/>
                <a:ea typeface="+mn-ea"/>
                <a:cs typeface="+mn-cs"/>
              </a:rPr>
              <a:t>The row offset array is a block of 2-byte entries, each of which indicates the offset on the page on which the corresponding data row begins. Each row has a 2-byte entry in this array. Although these bytes are not stored in the row with the data, they do have an effect on the number of rows that will fit on a page.</a:t>
            </a:r>
          </a:p>
          <a:p>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The row offset array indicates the logical order of rows on a page. For example, if a table has a clustered index, the logical order is the order of the clustered index key. This does not mean that the rows will be physically stored on the page in the order of the clustered index key. Instead, slot 0 in the offset array refers to the first row in the order, slot 1 refers to the second row, and so forth. The offset of these rows can be anywhere on the page.</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800" dirty="0">
                <a:hlinkClick r:id="rId3"/>
              </a:rPr>
              <a:t>http://www.sqlskills.com/BLOGS/PAUL/post/Inside-the-Storage-Engine-Anatomy-of-a-page.aspx</a:t>
            </a:r>
            <a:endParaRPr lang="en-US" sz="800" dirty="0"/>
          </a:p>
          <a:p>
            <a:endParaRPr lang="en-US" sz="800" kern="1200" dirty="0">
              <a:solidFill>
                <a:schemeClr val="tx1"/>
              </a:solidFill>
              <a:effectLst/>
              <a:latin typeface="Segoe UI Light" pitchFamily="34" charset="0"/>
              <a:ea typeface="+mn-ea"/>
              <a:cs typeface="+mn-cs"/>
            </a:endParaRPr>
          </a:p>
          <a:p>
            <a:endParaRPr lang="en-US" sz="8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00" b="1" dirty="0"/>
              <a:t>Additional Reading:</a:t>
            </a:r>
            <a:endParaRPr lang="en-US" sz="800" dirty="0"/>
          </a:p>
          <a:p>
            <a:r>
              <a:rPr lang="en-US" sz="800" kern="1200" baseline="0" dirty="0">
                <a:solidFill>
                  <a:schemeClr val="tx1"/>
                </a:solidFill>
                <a:effectLst/>
                <a:latin typeface="+mn-lt"/>
                <a:ea typeface="+mn-ea"/>
                <a:cs typeface="+mn-cs"/>
              </a:rPr>
              <a:t>Pages and Extents Architecture Guide</a:t>
            </a:r>
          </a:p>
          <a:p>
            <a:r>
              <a:rPr lang="en-US" sz="800" i="1" kern="1200" baseline="0" dirty="0">
                <a:solidFill>
                  <a:schemeClr val="tx1"/>
                </a:solidFill>
                <a:effectLst/>
                <a:latin typeface="+mn-lt"/>
                <a:ea typeface="+mn-ea"/>
                <a:cs typeface="+mn-cs"/>
              </a:rPr>
              <a:t>From &lt;</a:t>
            </a:r>
            <a:r>
              <a:rPr lang="en-US" sz="800" i="1" kern="1200" baseline="0" dirty="0">
                <a:solidFill>
                  <a:schemeClr val="tx1"/>
                </a:solidFill>
                <a:effectLst/>
                <a:latin typeface="+mn-lt"/>
                <a:ea typeface="+mn-ea"/>
                <a:cs typeface="+mn-cs"/>
                <a:hlinkClick r:id="rId4"/>
              </a:rPr>
              <a:t>https://docs.microsoft.com/en-us/sql/relational-databases/pages-and-extents-architecture-guide?view=sql-server-ver15</a:t>
            </a:r>
            <a:r>
              <a:rPr lang="en-US" sz="800" i="1" kern="1200" baseline="0" dirty="0">
                <a:solidFill>
                  <a:schemeClr val="tx1"/>
                </a:solidFill>
                <a:effectLst/>
                <a:latin typeface="+mn-lt"/>
                <a:ea typeface="+mn-ea"/>
                <a:cs typeface="+mn-cs"/>
              </a:rPr>
              <a:t>&gt; </a:t>
            </a:r>
            <a:endParaRPr lang="en-US" sz="800" kern="1200" baseline="0" dirty="0">
              <a:solidFill>
                <a:schemeClr val="tx1"/>
              </a:solidFill>
              <a:effectLst/>
              <a:latin typeface="+mn-lt"/>
              <a:ea typeface="+mn-ea"/>
              <a:cs typeface="+mn-cs"/>
            </a:endParaRPr>
          </a:p>
          <a:p>
            <a:endParaRPr lang="en-US" sz="800" kern="1200" dirty="0">
              <a:solidFill>
                <a:schemeClr val="tx1"/>
              </a:solidFill>
              <a:effectLst/>
              <a:latin typeface="Segoe UI Light" pitchFamily="34" charset="0"/>
              <a:ea typeface="+mn-ea"/>
              <a:cs typeface="+mn-cs"/>
            </a:endParaRP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7</a:t>
            </a:fld>
            <a:endParaRPr lang="en-US" noProof="0" dirty="0"/>
          </a:p>
        </p:txBody>
      </p:sp>
    </p:spTree>
    <p:extLst>
      <p:ext uri="{BB962C8B-B14F-4D97-AF65-F5344CB8AC3E}">
        <p14:creationId xmlns:p14="http://schemas.microsoft.com/office/powerpoint/2010/main" val="14915049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Pages</a:t>
            </a:r>
          </a:p>
          <a:p>
            <a:r>
              <a:rPr lang="en-US" sz="882" b="0" i="0" kern="1200" baseline="0" dirty="0">
                <a:solidFill>
                  <a:schemeClr val="tx1"/>
                </a:solidFill>
                <a:effectLst/>
                <a:latin typeface="+mn-lt"/>
                <a:ea typeface="+mn-ea"/>
                <a:cs typeface="+mn-cs"/>
              </a:rPr>
              <a:t>Take a regular book: all content in it is written on pages. Similar to a book, in SQL Server all the data rows are written on pages. In a book, all pages are the same physical size. Similarly, in SQL Server all data pages are the same size - 8 kilobytes. In a book most pages contain the data - the main content of the book - and some pages contain metadata about the content - for example table of contents and index. Again, SQL Server is not different: most pages contain actual rows of data which were stored by users; these are called Data pages and text/image pages (for special cases). The Index pages contain index references about where the data is and finally there are system pages that store variety of metadata about the organization of the data (PFS, GAM, SGAM, IAM, DCM, BCM pages). See table below for page types and their description.</a:t>
            </a:r>
          </a:p>
          <a:p>
            <a:r>
              <a:rPr lang="en-US" sz="882" b="0" i="0" kern="1200" baseline="0" dirty="0">
                <a:solidFill>
                  <a:schemeClr val="tx1"/>
                </a:solidFill>
                <a:effectLst/>
                <a:latin typeface="+mn-lt"/>
                <a:ea typeface="+mn-ea"/>
                <a:cs typeface="+mn-cs"/>
              </a:rPr>
              <a:t>As mentioned, in SQL Server, the page size is 8-KB. This means SQL Server databases have 128 pages per megabyte. Each page begins with a 96-byte header that is used to store system information about the page. This information includes the page number, page type, the amount of free space on the page, and the allocation unit ID of the object that owns the page.</a:t>
            </a:r>
          </a:p>
          <a:p>
            <a:endParaRPr lang="en-US" dirty="0"/>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pages-and-extents-architecture-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35858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https://docs.microsoft.com/en-us/sql/relational-databases/system-dynamic-management-views/sys-dm-db-page-info-transact-sql?view=sql-server-ver15</a:t>
            </a:r>
            <a:r>
              <a:rPr lang="en-US" dirty="0"/>
              <a:t>  </a:t>
            </a:r>
          </a:p>
          <a:p>
            <a:endParaRPr lang="en-US" dirty="0"/>
          </a:p>
          <a:p>
            <a:r>
              <a:rPr lang="en-US" dirty="0"/>
              <a:t>sys.dm_db_page_info</a:t>
            </a:r>
            <a:r>
              <a:rPr lang="en-US" sz="882" b="0" i="0" u="none" strike="noStrike" kern="1200" baseline="0" dirty="0">
                <a:solidFill>
                  <a:schemeClr val="tx1"/>
                </a:solidFill>
                <a:effectLst/>
                <a:latin typeface="+mn-lt"/>
                <a:ea typeface="+mn-ea"/>
                <a:cs typeface="+mn-cs"/>
              </a:rPr>
              <a:t> can be used in place of the </a:t>
            </a:r>
            <a:r>
              <a:rPr lang="en-US" dirty="0"/>
              <a:t>DBCC PAGE</a:t>
            </a:r>
            <a:r>
              <a:rPr lang="en-US" sz="882" b="0" i="0" u="none" strike="noStrike" kern="1200" baseline="0" dirty="0">
                <a:solidFill>
                  <a:schemeClr val="tx1"/>
                </a:solidFill>
                <a:effectLst/>
                <a:latin typeface="+mn-lt"/>
                <a:ea typeface="+mn-ea"/>
                <a:cs typeface="+mn-cs"/>
              </a:rPr>
              <a:t> statement in many cases, but it returns only the page header information, not the body of the page. </a:t>
            </a:r>
            <a:r>
              <a:rPr lang="en-US" dirty="0"/>
              <a:t>DBCC PAGE</a:t>
            </a:r>
            <a:r>
              <a:rPr lang="en-US" sz="882" b="0" i="0" u="none" strike="noStrike" kern="1200" baseline="0" dirty="0">
                <a:solidFill>
                  <a:schemeClr val="tx1"/>
                </a:solidFill>
                <a:effectLst/>
                <a:latin typeface="+mn-lt"/>
                <a:ea typeface="+mn-ea"/>
                <a:cs typeface="+mn-cs"/>
              </a:rPr>
              <a:t> will still be needed for use cases where the entire contents of the page are required.</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2</a:t>
            </a:fld>
            <a:endParaRPr lang="en-US" noProof="0" dirty="0"/>
          </a:p>
        </p:txBody>
      </p:sp>
    </p:spTree>
    <p:extLst>
      <p:ext uri="{BB962C8B-B14F-4D97-AF65-F5344CB8AC3E}">
        <p14:creationId xmlns:p14="http://schemas.microsoft.com/office/powerpoint/2010/main" val="14175030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altLang="ja-JP" sz="900" dirty="0">
                <a:solidFill>
                  <a:schemeClr val="tx1"/>
                </a:solidFill>
              </a:rPr>
              <a:t>M02L04Demo01</a:t>
            </a:r>
          </a:p>
          <a:p>
            <a:endParaRPr lang="en-US" altLang="ja-JP" sz="900" dirty="0">
              <a:solidFill>
                <a:schemeClr val="tx1"/>
              </a:solidFill>
            </a:endParaRPr>
          </a:p>
          <a:p>
            <a:r>
              <a:rPr lang="en-US" altLang="ja-JP" sz="900" i="1" dirty="0">
                <a:solidFill>
                  <a:schemeClr val="tx1"/>
                </a:solidFill>
              </a:rPr>
              <a:t>E:\Demos\M02L04Demo01\M02L04_01_ExaminingDataPage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altLang="ja-JP" sz="900" i="1" dirty="0">
                <a:solidFill>
                  <a:schemeClr val="tx1"/>
                </a:solidFill>
              </a:rPr>
              <a:t>E:\Demos\M02L04Demo01\M02L04_02_ExaminingDataPages_RowOverFlow</a:t>
            </a:r>
          </a:p>
          <a:p>
            <a:endParaRPr lang="en-US" altLang="ja-JP" sz="900" dirty="0">
              <a:solidFill>
                <a:schemeClr val="tx1"/>
              </a:solidFill>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6387311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625266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5284579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Extents</a:t>
            </a:r>
          </a:p>
          <a:p>
            <a:r>
              <a:rPr lang="en-US" sz="882" b="0" i="0" kern="1200" baseline="0" dirty="0">
                <a:solidFill>
                  <a:schemeClr val="tx1"/>
                </a:solidFill>
                <a:effectLst/>
                <a:latin typeface="+mn-lt"/>
                <a:ea typeface="+mn-ea"/>
                <a:cs typeface="+mn-cs"/>
              </a:rPr>
              <a:t>Extents are the basic unit in which space is managed. An extent is eight physically contiguous pages, or 64 KB. This means SQL Server databases have 16 extents per megabyte.</a:t>
            </a:r>
          </a:p>
          <a:p>
            <a:r>
              <a:rPr lang="en-US" sz="882" b="0" i="0" kern="1200" baseline="0" dirty="0">
                <a:solidFill>
                  <a:schemeClr val="tx1"/>
                </a:solidFill>
                <a:effectLst/>
                <a:latin typeface="+mn-lt"/>
                <a:ea typeface="+mn-ea"/>
                <a:cs typeface="+mn-cs"/>
              </a:rPr>
              <a:t>SQL Server has two types of extents:</a:t>
            </a:r>
          </a:p>
          <a:p>
            <a:endParaRPr lang="en-US" sz="882" b="0" i="0" kern="1200" baseline="0" dirty="0">
              <a:solidFill>
                <a:schemeClr val="tx1"/>
              </a:solidFill>
              <a:effectLst/>
              <a:latin typeface="+mn-lt"/>
              <a:ea typeface="+mn-ea"/>
              <a:cs typeface="+mn-cs"/>
            </a:endParaRPr>
          </a:p>
          <a:p>
            <a:pPr lvl="1"/>
            <a:r>
              <a:rPr lang="en-US" sz="882" b="1" i="0" kern="1200" baseline="0" dirty="0">
                <a:solidFill>
                  <a:schemeClr val="tx1"/>
                </a:solidFill>
                <a:effectLst/>
                <a:latin typeface="+mn-lt"/>
                <a:ea typeface="+mn-ea"/>
                <a:cs typeface="+mn-cs"/>
              </a:rPr>
              <a:t>Uniform</a:t>
            </a:r>
            <a:r>
              <a:rPr lang="en-US" sz="882" b="0" i="0" kern="1200" baseline="0" dirty="0">
                <a:solidFill>
                  <a:schemeClr val="tx1"/>
                </a:solidFill>
                <a:effectLst/>
                <a:latin typeface="+mn-lt"/>
                <a:ea typeface="+mn-ea"/>
                <a:cs typeface="+mn-cs"/>
              </a:rPr>
              <a:t> extents are owned by a single object; all eight pages in the extent can only be used by the owning object.</a:t>
            </a:r>
          </a:p>
          <a:p>
            <a:pPr lvl="1"/>
            <a:r>
              <a:rPr lang="en-US" sz="882" b="1" i="0" kern="1200" baseline="0" dirty="0">
                <a:solidFill>
                  <a:schemeClr val="tx1"/>
                </a:solidFill>
                <a:effectLst/>
                <a:latin typeface="+mn-lt"/>
                <a:ea typeface="+mn-ea"/>
                <a:cs typeface="+mn-cs"/>
              </a:rPr>
              <a:t>Mixed</a:t>
            </a:r>
            <a:r>
              <a:rPr lang="en-US" sz="882" b="0" i="0" kern="1200" baseline="0" dirty="0">
                <a:solidFill>
                  <a:schemeClr val="tx1"/>
                </a:solidFill>
                <a:effectLst/>
                <a:latin typeface="+mn-lt"/>
                <a:ea typeface="+mn-ea"/>
                <a:cs typeface="+mn-cs"/>
              </a:rPr>
              <a:t> extents are shared by up to eight objects. Each of the eight pages in the extent can be owned by a different object.</a:t>
            </a:r>
          </a:p>
          <a:p>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endParaRPr lang="en-US" sz="882" b="0" i="0"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pages-and-extents-architecture-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7</a:t>
            </a:fld>
            <a:endParaRPr lang="en-US" noProof="0" dirty="0"/>
          </a:p>
        </p:txBody>
      </p:sp>
    </p:spTree>
    <p:extLst>
      <p:ext uri="{BB962C8B-B14F-4D97-AF65-F5344CB8AC3E}">
        <p14:creationId xmlns:p14="http://schemas.microsoft.com/office/powerpoint/2010/main" val="3480202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4</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21/2023</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Microsoft SQL Server Transaction Log Internals</a:t>
            </a:r>
          </a:p>
          <a:p>
            <a:r>
              <a:rPr lang="en-US" dirty="0">
                <a:hlinkClick r:id="rId3"/>
              </a:rPr>
              <a:t>https://channel9.msdn.com/Events/TechEd/NorthAmerica/2013/DBI-B309</a:t>
            </a:r>
            <a:endParaRPr lang="en-US" dirty="0"/>
          </a:p>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676444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PFS and IAM are used to determine when an object needs a new extent allocated</a:t>
            </a:r>
          </a:p>
          <a:p>
            <a:r>
              <a:rPr lang="en-US" sz="900" kern="1200" dirty="0">
                <a:solidFill>
                  <a:schemeClr val="tx1"/>
                </a:solidFill>
                <a:effectLst/>
                <a:latin typeface="Segoe UI Light" pitchFamily="34" charset="0"/>
                <a:ea typeface="+mn-ea"/>
                <a:cs typeface="+mn-cs"/>
              </a:rPr>
              <a:t>When SQL Server needs to insert a new row, but there is no space available in the current page, SQL Server uses the IAM and PFS pages to find a page with enough space to hold the row. First, SQL Server uses the IAM pages to find the extents allocated to the object. Then, for each extent, SQL Server searches the PFS pages to see if there is a page with enough free space to hold the row. Each IAM and PFS page covers a large number of data pages, which are generally stored in the memory in the SQL Server buffer pool. This means that these pages can be searched quickly.</a:t>
            </a: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SQL allocates a new extent to an object only when it cannot quickly find a page in an existing extent with enough space to hold the row that is being inserted. It allocates extents from those available in the filegroup by using a proportional fill algorithm (files are used in proportion to their free space). Every file in a filegroup should have a similar percentage of space used.</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Heaps have one row in </a:t>
            </a:r>
            <a:r>
              <a:rPr lang="en-US" sz="900" b="1" kern="1200" dirty="0" err="1">
                <a:solidFill>
                  <a:schemeClr val="tx1"/>
                </a:solidFill>
                <a:effectLst/>
                <a:latin typeface="Segoe UI Light" pitchFamily="34" charset="0"/>
                <a:ea typeface="+mn-ea"/>
                <a:cs typeface="+mn-cs"/>
              </a:rPr>
              <a:t>sys.partitions</a:t>
            </a:r>
            <a:r>
              <a:rPr lang="en-US" sz="900" kern="1200" dirty="0">
                <a:solidFill>
                  <a:schemeClr val="tx1"/>
                </a:solidFill>
                <a:effectLst/>
                <a:latin typeface="Segoe UI Light" pitchFamily="34" charset="0"/>
                <a:ea typeface="+mn-ea"/>
                <a:cs typeface="+mn-cs"/>
              </a:rPr>
              <a:t> with </a:t>
            </a:r>
            <a:r>
              <a:rPr lang="en-US" sz="900" b="1" kern="1200" dirty="0" err="1">
                <a:solidFill>
                  <a:schemeClr val="tx1"/>
                </a:solidFill>
                <a:effectLst/>
                <a:latin typeface="Segoe UI Light" pitchFamily="34" charset="0"/>
                <a:ea typeface="+mn-ea"/>
                <a:cs typeface="+mn-cs"/>
              </a:rPr>
              <a:t>index_id</a:t>
            </a:r>
            <a:r>
              <a:rPr lang="en-US" sz="900" kern="1200" dirty="0">
                <a:solidFill>
                  <a:schemeClr val="tx1"/>
                </a:solidFill>
                <a:effectLst/>
                <a:latin typeface="Segoe UI Light" pitchFamily="34" charset="0"/>
                <a:ea typeface="+mn-ea"/>
                <a:cs typeface="+mn-cs"/>
              </a:rPr>
              <a:t> = 0. The </a:t>
            </a:r>
            <a:r>
              <a:rPr lang="en-US" sz="900" b="1" kern="1200" dirty="0" err="1">
                <a:solidFill>
                  <a:schemeClr val="tx1"/>
                </a:solidFill>
                <a:effectLst/>
                <a:latin typeface="Segoe UI Light" pitchFamily="34" charset="0"/>
                <a:ea typeface="+mn-ea"/>
                <a:cs typeface="+mn-cs"/>
              </a:rPr>
              <a:t>first_iam_page</a:t>
            </a:r>
            <a:r>
              <a:rPr lang="en-US" sz="900" kern="1200" dirty="0">
                <a:solidFill>
                  <a:schemeClr val="tx1"/>
                </a:solidFill>
                <a:effectLst/>
                <a:latin typeface="Segoe UI Light" pitchFamily="34" charset="0"/>
                <a:ea typeface="+mn-ea"/>
                <a:cs typeface="+mn-cs"/>
              </a:rPr>
              <a:t> column in </a:t>
            </a:r>
            <a:r>
              <a:rPr lang="en-US" sz="900" b="1" kern="1200" dirty="0" err="1">
                <a:solidFill>
                  <a:schemeClr val="tx1"/>
                </a:solidFill>
                <a:effectLst/>
                <a:latin typeface="Segoe UI Light" pitchFamily="34" charset="0"/>
                <a:ea typeface="+mn-ea"/>
                <a:cs typeface="+mn-cs"/>
              </a:rPr>
              <a:t>sys.system_internals_allocation_units</a:t>
            </a:r>
            <a:r>
              <a:rPr lang="en-US" sz="900" kern="1200" dirty="0">
                <a:solidFill>
                  <a:schemeClr val="tx1"/>
                </a:solidFill>
                <a:effectLst/>
                <a:latin typeface="Segoe UI Light" pitchFamily="34" charset="0"/>
                <a:ea typeface="+mn-ea"/>
                <a:cs typeface="+mn-cs"/>
              </a:rPr>
              <a:t> points to the IAM chain for the collection of heap data pages in the specified partition. The server uses the IAM pages to find the pages in the data page collection.</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SQL Server uses the IAM pages to navigate through the heap. Data pages and the rows within them are not in any specific order and are not linked together. The only logical connection between data pages in a heap is the connection recorded in the IAM page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IAM pages can be scanned to perform table scans or serial reads of a heap to find the extents holding pages for the heap. Because the IAM represents extents in the same order that they exist in the data files, serial heap scans progress uniformly down each file. Using the IAM pages to set the scan sequence also means that rows from the heap are not typically returned in the order in which they were inserted.</a:t>
            </a:r>
          </a:p>
          <a:p>
            <a:endParaRPr lang="en-US" sz="900" b="1" kern="1200" dirty="0">
              <a:solidFill>
                <a:schemeClr val="tx1"/>
              </a:solidFill>
              <a:effectLst/>
              <a:latin typeface="Segoe UI Light" pitchFamily="34" charset="0"/>
              <a:ea typeface="+mn-ea"/>
              <a:cs typeface="+mn-cs"/>
            </a:endParaRP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Slide Number Placeholder 8"/>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33897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kern="1200" dirty="0">
                <a:solidFill>
                  <a:schemeClr val="tx1"/>
                </a:solidFill>
                <a:effectLst/>
                <a:latin typeface="Segoe UI Light" pitchFamily="34" charset="0"/>
                <a:ea typeface="+mn-ea"/>
                <a:cs typeface="+mn-cs"/>
              </a:rPr>
              <a:t>PFS and IAM are used to determine when an object needs a new extent allocated</a:t>
            </a:r>
          </a:p>
          <a:p>
            <a:r>
              <a:rPr lang="en-US" sz="800" kern="1200" dirty="0">
                <a:solidFill>
                  <a:schemeClr val="tx1"/>
                </a:solidFill>
                <a:effectLst/>
                <a:latin typeface="Segoe UI Light" pitchFamily="34" charset="0"/>
                <a:ea typeface="+mn-ea"/>
                <a:cs typeface="+mn-cs"/>
              </a:rPr>
              <a:t>When SQL Server needs to insert a new row, but there is no space available in the current page, SQL Server uses the IAM and PFS pages to find a page with enough space to hold the row. First, SQL Server uses the IAM pages to find the extents allocated to the object. Then, for each extent, SQL Server searches the PFS pages to see if there is a page with enough free space to hold the row. Each IAM and PFS page covers a large number of data pages, which are generally stored in the memory in the SQL Server buffer pool. This means that these pages can be searched quickly.</a:t>
            </a:r>
          </a:p>
          <a:p>
            <a:endParaRPr lang="en-US" sz="800" kern="1200" dirty="0">
              <a:solidFill>
                <a:schemeClr val="tx1"/>
              </a:solidFill>
              <a:effectLst/>
              <a:latin typeface="Segoe UI Light" pitchFamily="34" charset="0"/>
              <a:ea typeface="+mn-ea"/>
              <a:cs typeface="+mn-cs"/>
            </a:endParaRPr>
          </a:p>
          <a:p>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SQL allocates a new extent to an object only when it cannot quickly find a page in an existing extent with enough space to hold the row that is being inserted. It allocates extents from those available in the filegroup by using a proportional fill algorithm (files are used in proportion to their free space). Every file in a filegroup should have a similar percentage of space used.</a:t>
            </a:r>
          </a:p>
          <a:p>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Heaps have one row in </a:t>
            </a:r>
            <a:r>
              <a:rPr lang="en-US" sz="800" b="1" kern="1200" dirty="0" err="1">
                <a:solidFill>
                  <a:schemeClr val="tx1"/>
                </a:solidFill>
                <a:effectLst/>
                <a:latin typeface="Segoe UI Light" pitchFamily="34" charset="0"/>
                <a:ea typeface="+mn-ea"/>
                <a:cs typeface="+mn-cs"/>
              </a:rPr>
              <a:t>sys.partitions</a:t>
            </a:r>
            <a:r>
              <a:rPr lang="en-US" sz="800" kern="1200" dirty="0">
                <a:solidFill>
                  <a:schemeClr val="tx1"/>
                </a:solidFill>
                <a:effectLst/>
                <a:latin typeface="Segoe UI Light" pitchFamily="34" charset="0"/>
                <a:ea typeface="+mn-ea"/>
                <a:cs typeface="+mn-cs"/>
              </a:rPr>
              <a:t> with </a:t>
            </a:r>
            <a:r>
              <a:rPr lang="en-US" sz="800" b="1" kern="1200" dirty="0" err="1">
                <a:solidFill>
                  <a:schemeClr val="tx1"/>
                </a:solidFill>
                <a:effectLst/>
                <a:latin typeface="Segoe UI Light" pitchFamily="34" charset="0"/>
                <a:ea typeface="+mn-ea"/>
                <a:cs typeface="+mn-cs"/>
              </a:rPr>
              <a:t>index_id</a:t>
            </a:r>
            <a:r>
              <a:rPr lang="en-US" sz="800" kern="1200" dirty="0">
                <a:solidFill>
                  <a:schemeClr val="tx1"/>
                </a:solidFill>
                <a:effectLst/>
                <a:latin typeface="Segoe UI Light" pitchFamily="34" charset="0"/>
                <a:ea typeface="+mn-ea"/>
                <a:cs typeface="+mn-cs"/>
              </a:rPr>
              <a:t> = 0. The </a:t>
            </a:r>
            <a:r>
              <a:rPr lang="en-US" sz="800" b="1" kern="1200" dirty="0" err="1">
                <a:solidFill>
                  <a:schemeClr val="tx1"/>
                </a:solidFill>
                <a:effectLst/>
                <a:latin typeface="Segoe UI Light" pitchFamily="34" charset="0"/>
                <a:ea typeface="+mn-ea"/>
                <a:cs typeface="+mn-cs"/>
              </a:rPr>
              <a:t>first_iam_page</a:t>
            </a:r>
            <a:r>
              <a:rPr lang="en-US" sz="800" kern="1200" dirty="0">
                <a:solidFill>
                  <a:schemeClr val="tx1"/>
                </a:solidFill>
                <a:effectLst/>
                <a:latin typeface="Segoe UI Light" pitchFamily="34" charset="0"/>
                <a:ea typeface="+mn-ea"/>
                <a:cs typeface="+mn-cs"/>
              </a:rPr>
              <a:t> column in </a:t>
            </a:r>
            <a:r>
              <a:rPr lang="en-US" sz="800" b="1" kern="1200" dirty="0" err="1">
                <a:solidFill>
                  <a:schemeClr val="tx1"/>
                </a:solidFill>
                <a:effectLst/>
                <a:latin typeface="Segoe UI Light" pitchFamily="34" charset="0"/>
                <a:ea typeface="+mn-ea"/>
                <a:cs typeface="+mn-cs"/>
              </a:rPr>
              <a:t>sys.system_internals_allocation_units</a:t>
            </a:r>
            <a:r>
              <a:rPr lang="en-US" sz="800" kern="1200" dirty="0">
                <a:solidFill>
                  <a:schemeClr val="tx1"/>
                </a:solidFill>
                <a:effectLst/>
                <a:latin typeface="Segoe UI Light" pitchFamily="34" charset="0"/>
                <a:ea typeface="+mn-ea"/>
                <a:cs typeface="+mn-cs"/>
              </a:rPr>
              <a:t> points to the IAM chain for the collection of heap data pages in the specified partition. The server uses the IAM pages to find the pages in the data page collection.</a:t>
            </a:r>
          </a:p>
          <a:p>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SQL Server uses the IAM pages to navigate through the heap. Data pages and the rows within them are not in any specific order and are not linked together. The only logical connection between data pages in a heap is the connection recorded in the IAM pages.</a:t>
            </a:r>
          </a:p>
          <a:p>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The IAM pages can be scanned to perform table scans or serial reads of a heap to find the extents holding pages for the heap. Because the IAM represents extents in the same order that they exist in the data files, serial heap scans progress uniformly down each file. Using the IAM pages to set the scan sequence also means that rows from the heap are not typically returned in the order in which they were inserted.</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9</a:t>
            </a:fld>
            <a:endParaRPr lang="en-US" noProof="0" dirty="0"/>
          </a:p>
        </p:txBody>
      </p:sp>
    </p:spTree>
    <p:extLst>
      <p:ext uri="{BB962C8B-B14F-4D97-AF65-F5344CB8AC3E}">
        <p14:creationId xmlns:p14="http://schemas.microsoft.com/office/powerpoint/2010/main" val="8314568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dirty="0"/>
              <a:t>SQL Server databases have at least one data file called the Primary data file, which will typically have a .mdf extension. They can also have secondary data files with .ndf extensions. This is the default naming convention, but any file extensions the user specifies will be accepted.</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When a database has multiple files, the files are numbered from 1 to n, n being the total number of files. Each file consists of a collection of pages numbered from 0 to n-1, n being the number of pages in the file (total number of pages will depend on the size of the file).</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pecial Object Allocation pages mentioned on the previous slide will always appear in the same location in each data file contained in a database. A PFS page is the first page after the file header page in a data file and is marked as page 1. Following the PFS page is a GAM, marked as page 2, followed by an SGAM, marked as page 3. After the first PFS, there will be a new PFS page after every 8,087 pages. There is a new GAM for each 63,904 extents after the first GAM on page 2, and a new SGAM each 63,904 extents after the first SGAM on page 3.</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QL Server engine addresses each of these pages using a combination of database id, file id, and page number. For example, the SGAM page in the first data file of a user database with a database id of 5 will be notated as </a:t>
            </a:r>
            <a:r>
              <a:rPr lang="en-US" b="1" dirty="0"/>
              <a:t>5:1:3</a:t>
            </a:r>
            <a:r>
              <a:rPr lang="en-US" dirty="0"/>
              <a:t>.  This becomes important when troubleshooting any type of page-related wait as the wait resource will be listed using this notation.</a:t>
            </a:r>
          </a:p>
          <a:p>
            <a:pPr marL="0" marR="0" indent="0" algn="l" defTabSz="914400" rtl="0" eaLnBrk="1" fontAlgn="auto" latinLnBrk="0" hangingPunct="1">
              <a:lnSpc>
                <a:spcPct val="100000"/>
              </a:lnSpc>
              <a:spcBef>
                <a:spcPts val="0"/>
              </a:spcBef>
              <a:spcAft>
                <a:spcPts val="60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60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Database Files and Filegroup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database-files-and-filegroup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0</a:t>
            </a:fld>
            <a:endParaRPr lang="en-US" noProof="0" dirty="0"/>
          </a:p>
        </p:txBody>
      </p:sp>
    </p:spTree>
    <p:extLst>
      <p:ext uri="{BB962C8B-B14F-4D97-AF65-F5344CB8AC3E}">
        <p14:creationId xmlns:p14="http://schemas.microsoft.com/office/powerpoint/2010/main" val="24347290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800" baseline="0" dirty="0"/>
              <a:t>Up to, and including, SQL Server 2014 (12.x)</a:t>
            </a:r>
            <a:endParaRPr lang="en-US" sz="1800" dirty="0"/>
          </a:p>
          <a:p>
            <a:pPr lvl="1"/>
            <a:r>
              <a:rPr lang="en-US" sz="1800" baseline="0" dirty="0"/>
              <a:t>On object creation 2 pages from a mixed extents are allocated:</a:t>
            </a:r>
            <a:endParaRPr lang="en-US" sz="1800" dirty="0"/>
          </a:p>
          <a:p>
            <a:pPr lvl="2"/>
            <a:r>
              <a:rPr lang="en-US" sz="1800" baseline="0" dirty="0"/>
              <a:t>1st page is for the object itself</a:t>
            </a:r>
            <a:endParaRPr lang="en-US" sz="1800" dirty="0"/>
          </a:p>
          <a:p>
            <a:pPr lvl="2"/>
            <a:r>
              <a:rPr lang="en-US" sz="1800" baseline="0" dirty="0"/>
              <a:t>2nd page contains the list of all pages used by the object (IAM)</a:t>
            </a:r>
            <a:endParaRPr lang="en-US" sz="1800" dirty="0"/>
          </a:p>
          <a:p>
            <a:pPr lvl="1"/>
            <a:r>
              <a:rPr lang="en-US" sz="1800" baseline="0" dirty="0"/>
              <a:t>As more space is needed, additional pages are added:</a:t>
            </a:r>
            <a:endParaRPr lang="en-US" sz="1800" dirty="0"/>
          </a:p>
          <a:p>
            <a:pPr lvl="2"/>
            <a:r>
              <a:rPr lang="en-US" sz="1800" baseline="0" dirty="0"/>
              <a:t>Up to 8 data pages, new pages are added individually from mixed extents </a:t>
            </a:r>
            <a:endParaRPr lang="en-US" sz="1800" dirty="0"/>
          </a:p>
          <a:p>
            <a:pPr lvl="2"/>
            <a:r>
              <a:rPr lang="en-US" sz="1800" baseline="0" dirty="0"/>
              <a:t>After 8 data pages,  new allocation comes from Uniform Extent – i.e. 8 pages are allocated</a:t>
            </a:r>
            <a:endParaRPr lang="en-US" sz="1800" dirty="0"/>
          </a:p>
          <a:p>
            <a:pPr lvl="2"/>
            <a:r>
              <a:rPr lang="en-US" sz="1800" baseline="0" dirty="0"/>
              <a:t>The corresponding IAM gets updated to reflect new page(s)</a:t>
            </a:r>
            <a:endParaRPr lang="en-US" sz="1800"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pages-and-extents-architecture-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1</a:t>
            </a:fld>
            <a:endParaRPr lang="en-US" noProof="0" dirty="0"/>
          </a:p>
        </p:txBody>
      </p:sp>
    </p:spTree>
    <p:extLst>
      <p:ext uri="{BB962C8B-B14F-4D97-AF65-F5344CB8AC3E}">
        <p14:creationId xmlns:p14="http://schemas.microsoft.com/office/powerpoint/2010/main" val="35723076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pages-and-extents-architecture-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2</a:t>
            </a:fld>
            <a:endParaRPr lang="en-US" noProof="0" dirty="0"/>
          </a:p>
        </p:txBody>
      </p:sp>
    </p:spTree>
    <p:extLst>
      <p:ext uri="{BB962C8B-B14F-4D97-AF65-F5344CB8AC3E}">
        <p14:creationId xmlns:p14="http://schemas.microsoft.com/office/powerpoint/2010/main" val="7688262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Consider a scenario, where the user is trying to insert/update a record into the database table. Represented below is a very high level overview of the algorithm/process SQL Server uses to insert/update the record. There is another thing which SQL Server has to check when doing an INSERT operation. But those are not important for this discussion about the Allocation objects.</a:t>
            </a:r>
          </a:p>
          <a:p>
            <a:pPr lvl="1"/>
            <a:r>
              <a:rPr lang="en-US" dirty="0"/>
              <a:t>Calculate the space required for the inserted record (or could be updated record size).</a:t>
            </a:r>
          </a:p>
          <a:p>
            <a:pPr lvl="1"/>
            <a:r>
              <a:rPr lang="en-US" dirty="0"/>
              <a:t>Check if the Table already had some pages allocated (use IAM page/Clustered Index Root Page). In case of update, this would always be true.</a:t>
            </a:r>
          </a:p>
          <a:p>
            <a:pPr lvl="1"/>
            <a:r>
              <a:rPr lang="en-US" dirty="0"/>
              <a:t>Check if any of these pages has enough unallocated space to fit the new record (PFS Page/Page header). If there is enough space, insert record and update PFS page/Page header with the information related to unallocated space and other related information.</a:t>
            </a:r>
          </a:p>
          <a:p>
            <a:pPr lvl="1"/>
            <a:r>
              <a:rPr lang="en-US" dirty="0"/>
              <a:t>If there is not enough unallocated space on the pages, allocate a New Page.</a:t>
            </a:r>
          </a:p>
          <a:p>
            <a:pPr lvl="1"/>
            <a:r>
              <a:rPr lang="en-US" dirty="0"/>
              <a:t>Check if TF 1118 (uniform Extent allocation) is enabled or if the table has more than eight pages already allocated or if SQL Server is 13.x or later.</a:t>
            </a:r>
          </a:p>
          <a:p>
            <a:pPr marL="344472" lvl="2" indent="0">
              <a:buNone/>
            </a:pPr>
            <a:r>
              <a:rPr lang="en-US" dirty="0"/>
              <a:t>If yes, allocate a new Uniform extent to the table, else allocate a page from one of the Mixed extents (GAM/SGAM Pages). Update GAM/SGAM, to reflect the changes (mark the extent used in case it was uniform extent allocation, or if the mixed extent is full). Additionally, update the IAM Page with the information.</a:t>
            </a:r>
          </a:p>
          <a:p>
            <a:pPr lvl="1"/>
            <a:r>
              <a:rPr lang="en-US" dirty="0"/>
              <a:t>Insert the record on the newly allocated page, update the PFS Page, with the unallocated space information.</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3</a:t>
            </a:fld>
            <a:endParaRPr lang="en-US" noProof="0" dirty="0"/>
          </a:p>
        </p:txBody>
      </p:sp>
    </p:spTree>
    <p:extLst>
      <p:ext uri="{BB962C8B-B14F-4D97-AF65-F5344CB8AC3E}">
        <p14:creationId xmlns:p14="http://schemas.microsoft.com/office/powerpoint/2010/main" val="8871455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Differential Changed Map (DCM)</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This tracks the extents that have changed since the last BACKUP DATABASE statement. If the bit for an extent is 1, the extent has been modified since the last BACKUP DATABASE statement. If the bit is 0, the extent has not been modified. Differential backups read just the DCM pages to determine which extents have been modified. This greatly reduces the number of pages that a differential backup must scan. The length of time that a differential backup runs is proportional to the number of extents modified since the last BACKUP DATABASE statement and not the overall size of the database.</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pages-and-extents-architecture-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4</a:t>
            </a:fld>
            <a:endParaRPr lang="en-US" noProof="0" dirty="0"/>
          </a:p>
        </p:txBody>
      </p:sp>
    </p:spTree>
    <p:extLst>
      <p:ext uri="{BB962C8B-B14F-4D97-AF65-F5344CB8AC3E}">
        <p14:creationId xmlns:p14="http://schemas.microsoft.com/office/powerpoint/2010/main" val="24280519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Bulk Changed Map (BCM)</a:t>
            </a:r>
            <a:br>
              <a:rPr lang="en-US" dirty="0"/>
            </a:br>
            <a:r>
              <a:rPr lang="en-US" sz="882" b="0" i="0" kern="1200" baseline="0" dirty="0">
                <a:solidFill>
                  <a:schemeClr val="tx1"/>
                </a:solidFill>
                <a:effectLst/>
                <a:latin typeface="+mn-lt"/>
                <a:ea typeface="+mn-ea"/>
                <a:cs typeface="+mn-cs"/>
              </a:rPr>
              <a:t>This tracks the extents that have been modified by bulk logged operations since the last </a:t>
            </a:r>
            <a:r>
              <a:rPr lang="en-US" dirty="0"/>
              <a:t>BACKUP LOG</a:t>
            </a:r>
            <a:r>
              <a:rPr lang="en-US" sz="882" b="0" i="0" kern="1200" baseline="0" dirty="0">
                <a:solidFill>
                  <a:schemeClr val="tx1"/>
                </a:solidFill>
                <a:effectLst/>
                <a:latin typeface="+mn-lt"/>
                <a:ea typeface="+mn-ea"/>
                <a:cs typeface="+mn-cs"/>
              </a:rPr>
              <a:t> statement. If the bit for an extent is 1, the extent has been modified by a bulk logged operation after the last </a:t>
            </a:r>
            <a:r>
              <a:rPr lang="en-US" dirty="0"/>
              <a:t>BACKUP LOG</a:t>
            </a:r>
            <a:r>
              <a:rPr lang="en-US" sz="882" b="0" i="0" kern="1200" baseline="0" dirty="0">
                <a:solidFill>
                  <a:schemeClr val="tx1"/>
                </a:solidFill>
                <a:effectLst/>
                <a:latin typeface="+mn-lt"/>
                <a:ea typeface="+mn-ea"/>
                <a:cs typeface="+mn-cs"/>
              </a:rPr>
              <a:t> statement. If the bit is 0, the extent has not been modified by bulk logged operations. Although BCM pages appear in all databases, they are only relevant when the database is using the bulk-logged recovery model. In this recovery model, when a </a:t>
            </a:r>
            <a:r>
              <a:rPr lang="en-US" dirty="0"/>
              <a:t>BACKUP LOG</a:t>
            </a:r>
            <a:r>
              <a:rPr lang="en-US" sz="882" b="0" i="0" kern="1200" baseline="0" dirty="0">
                <a:solidFill>
                  <a:schemeClr val="tx1"/>
                </a:solidFill>
                <a:effectLst/>
                <a:latin typeface="+mn-lt"/>
                <a:ea typeface="+mn-ea"/>
                <a:cs typeface="+mn-cs"/>
              </a:rPr>
              <a:t> is performed, the backup process scans the BCMs for extents that have been modified. It then includes those extents in the log backup. This lets the bulk logged operations be recovered if the database is restored from a database backup and a sequence of transaction log backups. BCM pages are not relevant in a database that is using the simple recovery model, because no bulk logged operations are logged. They are not relevant in a database that is using the full recovery model, because that recovery model treats bulk logged operations as fully logged operations.</a:t>
            </a:r>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pages-and-extents-architecture-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5</a:t>
            </a:fld>
            <a:endParaRPr lang="en-US" noProof="0" dirty="0"/>
          </a:p>
        </p:txBody>
      </p:sp>
    </p:spTree>
    <p:extLst>
      <p:ext uri="{BB962C8B-B14F-4D97-AF65-F5344CB8AC3E}">
        <p14:creationId xmlns:p14="http://schemas.microsoft.com/office/powerpoint/2010/main" val="35682993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3202322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7</a:t>
            </a:fld>
            <a:endParaRPr lang="en-US" noProof="0" dirty="0"/>
          </a:p>
        </p:txBody>
      </p:sp>
    </p:spTree>
    <p:extLst>
      <p:ext uri="{BB962C8B-B14F-4D97-AF65-F5344CB8AC3E}">
        <p14:creationId xmlns:p14="http://schemas.microsoft.com/office/powerpoint/2010/main" val="9031184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At a minimum, every SQL Server database has two operating system files: a data file and a log file. Data files contain data and objects such as tables, indexes, stored procedures, and views. Log files contain the information that is required to recover all transactions in the database. Data files can be grouped together in filegroups for allocation and administration purposes.</a:t>
            </a:r>
          </a:p>
          <a:p>
            <a:r>
              <a:rPr lang="en-US" sz="882" b="1" i="0" kern="1200" baseline="0" dirty="0">
                <a:solidFill>
                  <a:schemeClr val="tx1"/>
                </a:solidFill>
                <a:effectLst/>
                <a:latin typeface="+mn-lt"/>
                <a:ea typeface="+mn-ea"/>
                <a:cs typeface="+mn-cs"/>
              </a:rPr>
              <a:t>Database Files</a:t>
            </a:r>
          </a:p>
          <a:p>
            <a:r>
              <a:rPr lang="en-US" sz="882" b="0" i="0" kern="1200" baseline="0" dirty="0">
                <a:solidFill>
                  <a:schemeClr val="tx1"/>
                </a:solidFill>
                <a:effectLst/>
                <a:latin typeface="+mn-lt"/>
                <a:ea typeface="+mn-ea"/>
                <a:cs typeface="+mn-cs"/>
              </a:rPr>
              <a:t>SQL Server databases have three types of files:</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Primary</a:t>
            </a:r>
          </a:p>
          <a:p>
            <a:r>
              <a:rPr lang="en-US" sz="882" b="0" i="0" kern="1200" baseline="0" dirty="0">
                <a:solidFill>
                  <a:schemeClr val="tx1"/>
                </a:solidFill>
                <a:effectLst/>
                <a:latin typeface="+mn-lt"/>
                <a:ea typeface="+mn-ea"/>
                <a:cs typeface="+mn-cs"/>
              </a:rPr>
              <a:t>The primary data file contains the startup information for the database and points to the other files in the database. User data and objects can be stored in this file or in secondary data files. Every database has one primary data file. The recommended file name extension for primary data files is .mdf.</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Secondary</a:t>
            </a:r>
          </a:p>
          <a:p>
            <a:r>
              <a:rPr lang="en-US" sz="882" b="0" i="0" kern="1200" baseline="0" dirty="0">
                <a:solidFill>
                  <a:schemeClr val="tx1"/>
                </a:solidFill>
                <a:effectLst/>
                <a:latin typeface="+mn-lt"/>
                <a:ea typeface="+mn-ea"/>
                <a:cs typeface="+mn-cs"/>
              </a:rPr>
              <a:t>Secondary data files are optional, are user-defined, and store user data. Secondary files can be used to spread data across multiple disks by putting each file on a different disk drive. Additionally, if a database exceeds the maximum size for a single Windows file, you can use secondary data files so the database can continue to grow.</a:t>
            </a:r>
            <a:br>
              <a:rPr lang="en-US" sz="882" b="0" i="0" kern="1200" baseline="0" dirty="0">
                <a:solidFill>
                  <a:schemeClr val="tx1"/>
                </a:solidFill>
                <a:effectLst/>
                <a:latin typeface="+mn-lt"/>
                <a:ea typeface="+mn-ea"/>
                <a:cs typeface="+mn-cs"/>
              </a:rPr>
            </a:b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The recommended file name extension for secondary data files is .ndf.Transaction </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Log</a:t>
            </a:r>
          </a:p>
          <a:p>
            <a:r>
              <a:rPr lang="en-US" sz="882" b="0" i="0" kern="1200" baseline="0" dirty="0">
                <a:solidFill>
                  <a:schemeClr val="tx1"/>
                </a:solidFill>
                <a:effectLst/>
                <a:latin typeface="+mn-lt"/>
                <a:ea typeface="+mn-ea"/>
                <a:cs typeface="+mn-cs"/>
              </a:rPr>
              <a:t>The transaction log files hold the log information that is used to recover the database. There must be at least one log file for each database. The recommended file name extension for transaction logs is .ldf.</a:t>
            </a:r>
          </a:p>
          <a:p>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Database Files and Filegroup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database-files-and-filegroup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a:t>
            </a:fld>
            <a:endParaRPr lang="en-US" noProof="0" dirty="0"/>
          </a:p>
        </p:txBody>
      </p:sp>
    </p:spTree>
    <p:extLst>
      <p:ext uri="{BB962C8B-B14F-4D97-AF65-F5344CB8AC3E}">
        <p14:creationId xmlns:p14="http://schemas.microsoft.com/office/powerpoint/2010/main" val="69157875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2800470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t>Having more than one log file per database is possible, but it is not recommended. </a:t>
            </a:r>
            <a:br>
              <a:rPr lang="en-US" sz="900" dirty="0"/>
            </a:br>
            <a:r>
              <a:rPr lang="en-US" sz="900" dirty="0"/>
              <a:t>Log files are written to a single file sequentially, so multiple log files will not provide any performance benefit.</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9</a:t>
            </a:fld>
            <a:endParaRPr lang="en-US" noProof="0" dirty="0"/>
          </a:p>
        </p:txBody>
      </p:sp>
    </p:spTree>
    <p:extLst>
      <p:ext uri="{BB962C8B-B14F-4D97-AF65-F5344CB8AC3E}">
        <p14:creationId xmlns:p14="http://schemas.microsoft.com/office/powerpoint/2010/main" val="15989001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kern="1200" dirty="0">
                <a:solidFill>
                  <a:schemeClr val="tx1"/>
                </a:solidFill>
                <a:effectLst/>
                <a:latin typeface="Segoe UI Light" pitchFamily="34" charset="0"/>
                <a:ea typeface="+mn-ea"/>
                <a:cs typeface="+mn-cs"/>
              </a:rPr>
              <a:t>The transaction log in a database maps over one or more physical files, which are separate from the data files containing data pages. Logically, the log file is a string of log records that track modifications made to the database. Each log record is identified by a log sequence number (LSN). Each new log record is written to the logical end of the log with an LSN that is higher than the LSN of the record before it. Each log record contains the ID of the transaction that it belongs to. For each transaction, all log records associated with the transaction are linked in a chain using backward pointers for fast recovery. Many types of operations are recorded in the transaction log including:</a:t>
            </a:r>
          </a:p>
          <a:p>
            <a:pPr marL="171450" lvl="0" indent="-171450">
              <a:buFont typeface="Arial" pitchFamily="34" charset="0"/>
              <a:buChar char="•"/>
            </a:pPr>
            <a:r>
              <a:rPr lang="en-US" sz="800" kern="1200" dirty="0">
                <a:solidFill>
                  <a:schemeClr val="tx1"/>
                </a:solidFill>
                <a:effectLst/>
                <a:latin typeface="Segoe UI Light" pitchFamily="34" charset="0"/>
                <a:ea typeface="+mn-ea"/>
                <a:cs typeface="+mn-cs"/>
              </a:rPr>
              <a:t>Start and end of each transaction</a:t>
            </a:r>
          </a:p>
          <a:p>
            <a:pPr marL="171450" lvl="0" indent="-171450">
              <a:buFont typeface="Arial" pitchFamily="34" charset="0"/>
              <a:buChar char="•"/>
            </a:pPr>
            <a:r>
              <a:rPr lang="en-US" sz="800" kern="1200" dirty="0">
                <a:solidFill>
                  <a:schemeClr val="tx1"/>
                </a:solidFill>
                <a:effectLst/>
                <a:latin typeface="Segoe UI Light" pitchFamily="34" charset="0"/>
                <a:ea typeface="+mn-ea"/>
                <a:cs typeface="+mn-cs"/>
              </a:rPr>
              <a:t>All data modifications</a:t>
            </a:r>
          </a:p>
          <a:p>
            <a:pPr marL="171450" lvl="0" indent="-171450">
              <a:buFont typeface="Arial" pitchFamily="34" charset="0"/>
              <a:buChar char="•"/>
            </a:pPr>
            <a:r>
              <a:rPr lang="en-US" sz="800" kern="1200" dirty="0">
                <a:solidFill>
                  <a:schemeClr val="tx1"/>
                </a:solidFill>
                <a:effectLst/>
                <a:latin typeface="Segoe UI Light" pitchFamily="34" charset="0"/>
                <a:ea typeface="+mn-ea"/>
                <a:cs typeface="+mn-cs"/>
              </a:rPr>
              <a:t>Extent and page allocation or deallocation</a:t>
            </a:r>
          </a:p>
          <a:p>
            <a:pPr marL="171450" lvl="0" indent="-171450">
              <a:buFont typeface="Arial" pitchFamily="34" charset="0"/>
              <a:buChar char="•"/>
            </a:pPr>
            <a:r>
              <a:rPr lang="en-US" sz="800" kern="1200" dirty="0">
                <a:solidFill>
                  <a:schemeClr val="tx1"/>
                </a:solidFill>
                <a:effectLst/>
                <a:latin typeface="Segoe UI Light" pitchFamily="34" charset="0"/>
                <a:ea typeface="+mn-ea"/>
                <a:cs typeface="+mn-cs"/>
              </a:rPr>
              <a:t>Creating and dropping objects</a:t>
            </a:r>
          </a:p>
          <a:p>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Log records for data modification record either the logical operation performed, or they record the before and after images of the modified data. The before image is a copy of the data before the operation is performed and the after image is a copy of the data after the operation has been performed.</a:t>
            </a:r>
          </a:p>
          <a:p>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Each transaction reserves space on the transaction log to make sure enough log space is available to support a rollback of the transaction. Generally, this space is equal to the amount of space required to log each operation and is freed when the transaction is completed.</a:t>
            </a:r>
            <a:endParaRPr lang="en-US" dirty="0"/>
          </a:p>
          <a:p>
            <a:endParaRPr lang="en-US" dirty="0"/>
          </a:p>
          <a:p>
            <a:r>
              <a:rPr lang="en-US" sz="882" kern="1200" baseline="0" dirty="0">
                <a:solidFill>
                  <a:schemeClr val="tx1"/>
                </a:solidFill>
                <a:effectLst/>
                <a:latin typeface="+mn-lt"/>
                <a:ea typeface="+mn-ea"/>
                <a:cs typeface="+mn-cs"/>
              </a:rPr>
              <a:t>SQL Server Transaction Log Architecture and Management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sql-server-transaction-log-architecture-and-management-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0</a:t>
            </a:fld>
            <a:endParaRPr lang="en-US" noProof="0" dirty="0"/>
          </a:p>
        </p:txBody>
      </p:sp>
    </p:spTree>
    <p:extLst>
      <p:ext uri="{BB962C8B-B14F-4D97-AF65-F5344CB8AC3E}">
        <p14:creationId xmlns:p14="http://schemas.microsoft.com/office/powerpoint/2010/main" val="25755549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sider a scenario where an Insert/Update/Delete operation is being performed on a SQL Server table. How does SQL Server log this information in the transaction logs and later use it for recovery purposes. In this slide, we would talk about the high level overview of the operations (logging related) which happen when a record is Inserted/Deleted/Updated in a table.</a:t>
            </a:r>
          </a:p>
          <a:p>
            <a:pPr lvl="1"/>
            <a:r>
              <a:rPr lang="en-US" dirty="0"/>
              <a:t>Mark the beginning of the transaction in the Log Buffer (60 KB).</a:t>
            </a:r>
          </a:p>
          <a:p>
            <a:pPr lvl="1"/>
            <a:r>
              <a:rPr lang="en-US" dirty="0"/>
              <a:t>Log details about the nature of the transaction in the Log Buffer.</a:t>
            </a:r>
          </a:p>
          <a:p>
            <a:pPr lvl="1"/>
            <a:r>
              <a:rPr lang="en-US" dirty="0"/>
              <a:t>Read the page from the disk, where the operation needs to be performed (Page Latch/Locking).</a:t>
            </a:r>
          </a:p>
          <a:p>
            <a:pPr lvl="1"/>
            <a:r>
              <a:rPr lang="en-US" dirty="0"/>
              <a:t>Perform the modification (Page marked Dirty**/Latching/Locking).</a:t>
            </a:r>
          </a:p>
          <a:p>
            <a:pPr lvl="1"/>
            <a:r>
              <a:rPr lang="en-US" dirty="0"/>
              <a:t>Commit the transaction. During the commit flush, the log buffer to the LDF file (Log buffer could also be flushed if it is full, without having to wait from the commit) as a Synchronous process. After the write to the LDF file has been performed, send acknowledgement to the client/user.</a:t>
            </a:r>
          </a:p>
          <a:p>
            <a:endParaRPr lang="en-US" dirty="0"/>
          </a:p>
          <a:p>
            <a:r>
              <a:rPr lang="en-US" sz="882" kern="1200" baseline="0" dirty="0">
                <a:solidFill>
                  <a:schemeClr val="tx1"/>
                </a:solidFill>
                <a:effectLst/>
                <a:latin typeface="+mn-lt"/>
                <a:ea typeface="+mn-ea"/>
                <a:cs typeface="+mn-cs"/>
              </a:rPr>
              <a:t>SQL Server Transaction Log Architecture and Management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sql-server-transaction-log-architecture-and-management-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1</a:t>
            </a:fld>
            <a:endParaRPr lang="en-US" noProof="0" dirty="0"/>
          </a:p>
        </p:txBody>
      </p:sp>
    </p:spTree>
    <p:extLst>
      <p:ext uri="{BB962C8B-B14F-4D97-AF65-F5344CB8AC3E}">
        <p14:creationId xmlns:p14="http://schemas.microsoft.com/office/powerpoint/2010/main" val="9940635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ry database page has an LSN in the page header that reflects the location in the transaction log of the last log entry that modified a row on that page. Each log record that represents changes to a data page has two LSNs associated with it. In addition to the LSN for the actual log record, it keeps track of the LSN that was on the data page before the change recorded by this log record. During a redo operation of transactions, the LSN for each log record is compared to the page LSN of the data page that the log entry modified. If the page LSN is equal to the previous page LSN in the log record, the operation indicated in the log entry is redone. If the LSN on the page is equal to or higher than the actual LSN for this log record, SQL Server database skips the REDO operation. </a:t>
            </a:r>
          </a:p>
          <a:p>
            <a:r>
              <a:rPr lang="en-US" dirty="0"/>
              <a:t>As recovery finds the last checkpoint record in the log (also, transactions that were still active at the time of the checkpoint) and proceeds from there, recovery time is short, and all changes committed before the checkpoint can be purged from the log or archived. Otherwise, recovery can take a long time and transaction logs can become unreasonably large. A transaction log cannot be truncated before the point of the earliest transaction that is still open, no matter how many checkpoints have occurred since the transaction started and how many other transactions have started or completed. If a transaction remains open, the log must be preserved because it is still not clear whether the transaction is done or ever will be done. The transaction might ultimately need to be rolled back or rolled forward.</a:t>
            </a:r>
          </a:p>
          <a:p>
            <a:endParaRPr lang="en-US" dirty="0"/>
          </a:p>
          <a:p>
            <a:r>
              <a:rPr lang="en-US" b="1" dirty="0"/>
              <a:t>Reference:</a:t>
            </a:r>
          </a:p>
          <a:p>
            <a:pPr lvl="1"/>
            <a:r>
              <a:rPr lang="en-US" dirty="0">
                <a:solidFill>
                  <a:srgbClr val="FF0000"/>
                </a:solidFill>
              </a:rPr>
              <a:t>Microsoft SQL Server 2012 Internals </a:t>
            </a: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2</a:t>
            </a:fld>
            <a:endParaRPr lang="en-US" noProof="0" dirty="0"/>
          </a:p>
        </p:txBody>
      </p:sp>
    </p:spTree>
    <p:extLst>
      <p:ext uri="{BB962C8B-B14F-4D97-AF65-F5344CB8AC3E}">
        <p14:creationId xmlns:p14="http://schemas.microsoft.com/office/powerpoint/2010/main" val="31224439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SQL Server divides each physical log file internally into a number of virtual log files (VLFs) containing log records. VLFs have no fixed size, and there is no fixed number of virtual log files for a physical log file. The size of the virtual log files is determined dynamically by SQL Server when creating or extending the physical log files. SQL Server tries to maintain a small number of VLFs for the best performance. The size or number of virtual log files cannot be configured or set by system administrators, but it can be influenced by the initial creation of the transaction log file and the subsequent growth of that file.</a:t>
            </a:r>
          </a:p>
          <a:p>
            <a:endParaRPr lang="en-US" dirty="0"/>
          </a:p>
          <a:p>
            <a:r>
              <a:rPr lang="en-US" dirty="0"/>
              <a:t>When creating or growing a transaction log file, the size and number of the VLFs is determined by the size of the piece being added to the file as follows:</a:t>
            </a:r>
          </a:p>
          <a:p>
            <a:pPr marL="628650" lvl="1" indent="-171450">
              <a:buFont typeface="Arial" pitchFamily="34" charset="0"/>
              <a:buChar char="•"/>
            </a:pPr>
            <a:r>
              <a:rPr lang="en-US" dirty="0"/>
              <a:t>Less than 64 MB = 4 VLFs </a:t>
            </a:r>
          </a:p>
          <a:p>
            <a:pPr marL="628650" lvl="1" indent="-171450">
              <a:buFont typeface="Arial" pitchFamily="34" charset="0"/>
              <a:buChar char="•"/>
            </a:pPr>
            <a:r>
              <a:rPr lang="en-US" dirty="0"/>
              <a:t>Greater than 64 MB and less than 1 GB = 8 VLFs </a:t>
            </a:r>
          </a:p>
          <a:p>
            <a:pPr marL="628650" lvl="1" indent="-171450">
              <a:buFont typeface="Arial" pitchFamily="34" charset="0"/>
              <a:buChar char="•"/>
            </a:pPr>
            <a:r>
              <a:rPr lang="en-US" dirty="0"/>
              <a:t>Greater than or equal to 1 GB = 16 VLFs</a:t>
            </a:r>
          </a:p>
          <a:p>
            <a:endParaRPr lang="en-US" dirty="0"/>
          </a:p>
          <a:p>
            <a:r>
              <a:rPr lang="en-US" dirty="0"/>
              <a:t>For example, if you initially create a 1 GB transaction log file, it will be divided into 16 64 MB VLFs. With the default auto-growth setting of 10%, the first auto-grow would add 102.4 MB of space in the form of eight 12.8 MB VLFs and so on.</a:t>
            </a:r>
          </a:p>
          <a:p>
            <a:endParaRPr lang="en-US" dirty="0"/>
          </a:p>
          <a:p>
            <a:r>
              <a:rPr lang="en-US" dirty="0">
                <a:hlinkClick r:id="rId3"/>
              </a:rPr>
              <a:t>http://www.sqlskills.com/BLOGS/KIMBERLY/post/Transaction-Log-VLFs-too-many-or-too-few.aspx</a:t>
            </a:r>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3</a:t>
            </a:fld>
            <a:endParaRPr lang="en-US" noProof="0" dirty="0"/>
          </a:p>
        </p:txBody>
      </p:sp>
    </p:spTree>
    <p:extLst>
      <p:ext uri="{BB962C8B-B14F-4D97-AF65-F5344CB8AC3E}">
        <p14:creationId xmlns:p14="http://schemas.microsoft.com/office/powerpoint/2010/main" val="10468458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kern="1200" dirty="0">
                <a:solidFill>
                  <a:schemeClr val="tx1"/>
                </a:solidFill>
                <a:effectLst/>
                <a:latin typeface="Segoe UI Light" pitchFamily="34" charset="0"/>
                <a:ea typeface="+mn-ea"/>
                <a:cs typeface="+mn-cs"/>
              </a:rPr>
              <a:t>The transaction log is a circular file. Consider a database that has one physical log file divided into four virtual log files internally. When the database is created, the logical log begins at the start of the physical log file with the first VLF. New records are added to the end of the logical log and fill the physical log file to the end. Log truncation frees up VLFs whose records have a Log Sequence Number before the minimum recovery log sequence number (MinLSN). The MinLSN is the log sequence number of the oldest log record that is required for a database-wide rollback. The section of the log from the MinLSN to the end of the logical log is called the active portion of the log. No part of the active portion can ever be truncated. When the end of the logical log reaches the end of the physical log file, the new log records wrap around to the beginning of the physical log file. This cycle repeats as long as the end of the logical log never reaches the beginning of the logical log – or the beginning of the VLF that holds the MinLSN. If old log records are truncated frequently enough for the size of the log created, the end of the log never reaches the beginning, and the log never fills up. </a:t>
            </a:r>
          </a:p>
          <a:p>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If the end of the logical log does reach the beginning, one of two things occur:</a:t>
            </a:r>
          </a:p>
          <a:p>
            <a:pPr marL="171450" lvl="0" indent="-171450">
              <a:buFont typeface="Arial" pitchFamily="34" charset="0"/>
              <a:buChar char="•"/>
            </a:pPr>
            <a:r>
              <a:rPr lang="en-US" sz="800" kern="1200" dirty="0">
                <a:solidFill>
                  <a:schemeClr val="tx1"/>
                </a:solidFill>
                <a:effectLst/>
                <a:latin typeface="Segoe UI Light" pitchFamily="34" charset="0"/>
                <a:ea typeface="+mn-ea"/>
                <a:cs typeface="+mn-cs"/>
              </a:rPr>
              <a:t>The file is extended by the amount specified in growth_increment and any new log records are added to the extension.</a:t>
            </a:r>
          </a:p>
          <a:p>
            <a:pPr marL="171450" lvl="0" indent="-171450">
              <a:buFont typeface="Arial" pitchFamily="34" charset="0"/>
              <a:buChar char="•"/>
            </a:pPr>
            <a:r>
              <a:rPr lang="en-US" sz="800" kern="1200" dirty="0">
                <a:solidFill>
                  <a:schemeClr val="tx1"/>
                </a:solidFill>
                <a:effectLst/>
                <a:latin typeface="Segoe UI Light" pitchFamily="34" charset="0"/>
                <a:ea typeface="+mn-ea"/>
                <a:cs typeface="+mn-cs"/>
              </a:rPr>
              <a:t>Auto-grow is not enabled or there is not enough free disk space to grow the log by the amount specified in the growth_increment and an error 9002 is returned.</a:t>
            </a: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4</a:t>
            </a:fld>
            <a:endParaRPr lang="en-US" noProof="0" dirty="0"/>
          </a:p>
        </p:txBody>
      </p:sp>
    </p:spTree>
    <p:extLst>
      <p:ext uri="{BB962C8B-B14F-4D97-AF65-F5344CB8AC3E}">
        <p14:creationId xmlns:p14="http://schemas.microsoft.com/office/powerpoint/2010/main" val="26747532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Additionally, avoid having too big\ too few VLFs. </a:t>
            </a: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a:p>
            <a:pPr marL="0" marR="0" indent="0" algn="l" defTabSz="457200" rtl="0" eaLnBrk="1" fontAlgn="auto" latinLnBrk="0" hangingPunct="1">
              <a:lnSpc>
                <a:spcPct val="100000"/>
              </a:lnSpc>
              <a:spcBef>
                <a:spcPts val="0"/>
              </a:spcBef>
              <a:spcAft>
                <a:spcPts val="0"/>
              </a:spcAft>
              <a:buClrTx/>
              <a:buSzTx/>
              <a:buFontTx/>
              <a:buNone/>
              <a:tabLst/>
              <a:defRPr/>
            </a:pPr>
            <a:r>
              <a:rPr lang="en-US" dirty="0"/>
              <a:t>Checking the SQL Server Error Log - </a:t>
            </a:r>
            <a:r>
              <a:rPr lang="en-US" sz="800" kern="1200" dirty="0">
                <a:solidFill>
                  <a:schemeClr val="tx1"/>
                </a:solidFill>
                <a:latin typeface="Segoe UI Light"/>
                <a:ea typeface="+mn-ea"/>
                <a:cs typeface="+mn-cs"/>
              </a:rPr>
              <a:t>xp_readerrorlog 0,1,N'VLF'</a:t>
            </a:r>
            <a:endParaRPr lang="en-US" dirty="0"/>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a:p>
            <a:pPr marL="0" marR="0" indent="0" algn="l" defTabSz="457200" rtl="0" eaLnBrk="1" fontAlgn="auto" latinLnBrk="0" hangingPunct="1">
              <a:lnSpc>
                <a:spcPct val="100000"/>
              </a:lnSpc>
              <a:spcBef>
                <a:spcPts val="0"/>
              </a:spcBef>
              <a:spcAft>
                <a:spcPts val="0"/>
              </a:spcAft>
              <a:buClrTx/>
              <a:buSzTx/>
              <a:buFontTx/>
              <a:buNone/>
              <a:tabLst/>
              <a:defRPr/>
            </a:pPr>
            <a:r>
              <a:rPr lang="en-US" dirty="0"/>
              <a:t>Reference:</a:t>
            </a:r>
            <a:r>
              <a:rPr lang="en-US" baseline="0" dirty="0"/>
              <a:t> </a:t>
            </a:r>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a:p>
          <a:p>
            <a:r>
              <a:rPr lang="en-US" sz="882" kern="1200" baseline="0" dirty="0">
                <a:solidFill>
                  <a:schemeClr val="tx1"/>
                </a:solidFill>
                <a:effectLst/>
                <a:latin typeface="+mn-lt"/>
                <a:ea typeface="+mn-ea"/>
                <a:cs typeface="+mn-cs"/>
              </a:rPr>
              <a:t>Transaction Log Physical Architectur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sql-server-transaction-log-architecture-and-management-guide?view=sql-server-ver15#physical_arch</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5</a:t>
            </a:fld>
            <a:endParaRPr lang="en-US" noProof="0" dirty="0"/>
          </a:p>
        </p:txBody>
      </p:sp>
    </p:spTree>
    <p:extLst>
      <p:ext uri="{BB962C8B-B14F-4D97-AF65-F5344CB8AC3E}">
        <p14:creationId xmlns:p14="http://schemas.microsoft.com/office/powerpoint/2010/main" val="37313689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For SQL Server 2014</a:t>
            </a:r>
            <a:r>
              <a:rPr lang="en-US" dirty="0"/>
              <a:t>, the algorithm is now:</a:t>
            </a:r>
          </a:p>
          <a:p>
            <a:r>
              <a:rPr lang="en-US" dirty="0"/>
              <a:t>Is the growth size less than 1/8 the size of the current log size?</a:t>
            </a:r>
          </a:p>
          <a:p>
            <a:r>
              <a:rPr lang="en-US" dirty="0"/>
              <a:t>Yes: create 1 new VLF equal to the growth size</a:t>
            </a:r>
          </a:p>
          <a:p>
            <a:r>
              <a:rPr lang="en-US" dirty="0"/>
              <a:t>No: use the previous formula</a:t>
            </a:r>
          </a:p>
          <a:p>
            <a:endParaRPr lang="en-US" dirty="0"/>
          </a:p>
          <a:p>
            <a:r>
              <a:rPr lang="en-US" dirty="0"/>
              <a:t>Reference:</a:t>
            </a:r>
          </a:p>
          <a:p>
            <a:r>
              <a:rPr lang="en-US" dirty="0"/>
              <a:t>http://www.sqlskills.com/blogs/paul/important-change-vlf-creation-algorithm-sql-server-2014/</a:t>
            </a:r>
          </a:p>
          <a:p>
            <a:pPr marL="0" indent="0">
              <a:buNone/>
            </a:pPr>
            <a:endParaRPr lang="en-US" b="1" dirty="0"/>
          </a:p>
          <a:p>
            <a:pPr marL="0" indent="0">
              <a:buNone/>
            </a:pPr>
            <a:r>
              <a:rPr lang="en-US" b="1" dirty="0"/>
              <a:t>Key Points:</a:t>
            </a:r>
            <a:endParaRPr lang="en-US" dirty="0"/>
          </a:p>
          <a:p>
            <a:r>
              <a:rPr lang="en-US" dirty="0"/>
              <a:t>Fixing involves getting your t-log to a minimum size (and thus VLF number) and growing in pre-determined growth iterations until you reach the desired state, with VLFs no larger than 512 MB. </a:t>
            </a:r>
          </a:p>
          <a:p>
            <a:r>
              <a:rPr lang="en-US" dirty="0"/>
              <a:t>As a less conventional solution, but one that works, create a database snapshot and then revert to it. This deletes the t-log and creates a small log with two small VLFs. This is a bug that has been active since the Microsoft SQL Server 2005 product, but be aware it breaks your log backup chain.</a:t>
            </a:r>
          </a:p>
          <a:p>
            <a:endParaRPr lang="en-US" dirty="0"/>
          </a:p>
          <a:p>
            <a:pPr marL="0" indent="0">
              <a:buNone/>
            </a:pPr>
            <a:r>
              <a:rPr lang="en-US" b="1" dirty="0"/>
              <a:t>Additional Reading:</a:t>
            </a:r>
            <a:endParaRPr lang="en-US" dirty="0"/>
          </a:p>
          <a:p>
            <a:r>
              <a:rPr lang="en-US" b="1" dirty="0"/>
              <a:t>For more information</a:t>
            </a:r>
            <a:r>
              <a:rPr lang="en-US" dirty="0"/>
              <a:t>, see: </a:t>
            </a:r>
            <a:r>
              <a:rPr lang="en-US" b="1" dirty="0"/>
              <a:t>VLF Posts</a:t>
            </a:r>
            <a:r>
              <a:rPr lang="en-US" dirty="0"/>
              <a:t> - </a:t>
            </a:r>
            <a:r>
              <a:rPr lang="en-US" u="sng" dirty="0">
                <a:hlinkClick r:id="rId3"/>
              </a:rPr>
              <a:t>http://blogs.msdn.com/b/blogdoezequiel/archive/tags/vlf</a:t>
            </a:r>
            <a:endParaRPr lang="en-US" dirty="0"/>
          </a:p>
          <a:p>
            <a:r>
              <a:rPr lang="en-US" b="1" dirty="0"/>
              <a:t>For more information</a:t>
            </a:r>
            <a:r>
              <a:rPr lang="en-US" dirty="0"/>
              <a:t>, see: </a:t>
            </a:r>
            <a:r>
              <a:rPr lang="en-US" b="1" dirty="0"/>
              <a:t>Can log files growth affect DML? Post-CU Update</a:t>
            </a:r>
            <a:r>
              <a:rPr lang="en-US" dirty="0"/>
              <a:t> -</a:t>
            </a:r>
            <a:r>
              <a:rPr lang="en-US" u="sng" dirty="0">
                <a:hlinkClick r:id="rId4"/>
              </a:rPr>
              <a:t>http://blogs.msdn.com/b/blogdoezequiel/archive/2011/04/26/can-log-files-growth-affect-dml-post-cu6-update.aspx</a:t>
            </a:r>
            <a:endParaRPr lang="en-US" dirty="0"/>
          </a:p>
          <a:p>
            <a:r>
              <a:rPr lang="en-US" b="1" dirty="0"/>
              <a:t>For more information</a:t>
            </a:r>
            <a:r>
              <a:rPr lang="en-US" dirty="0"/>
              <a:t>, see: </a:t>
            </a:r>
            <a:r>
              <a:rPr lang="en-US" b="1" dirty="0"/>
              <a:t>Fixing VLFs</a:t>
            </a:r>
            <a:r>
              <a:rPr lang="en-US" dirty="0"/>
              <a:t> - </a:t>
            </a:r>
            <a:r>
              <a:rPr lang="en-US" u="sng" dirty="0">
                <a:hlinkClick r:id="rId5"/>
              </a:rPr>
              <a:t>http://blogs.msdn.com/b/blogdoezequiel/archive/2011/05/24/sql-swiss-army-knife-9-vlfs-revisited.aspx</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6</a:t>
            </a:fld>
            <a:endParaRPr lang="en-US" noProof="0" dirty="0"/>
          </a:p>
        </p:txBody>
      </p:sp>
    </p:spTree>
    <p:extLst>
      <p:ext uri="{BB962C8B-B14F-4D97-AF65-F5344CB8AC3E}">
        <p14:creationId xmlns:p14="http://schemas.microsoft.com/office/powerpoint/2010/main" val="41616613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Additionally, avoid having too big\ too few VLFs. </a:t>
            </a: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a:p>
            <a:pPr marL="0" marR="0" indent="0" algn="l" defTabSz="457200" rtl="0" eaLnBrk="1" fontAlgn="auto" latinLnBrk="0" hangingPunct="1">
              <a:lnSpc>
                <a:spcPct val="100000"/>
              </a:lnSpc>
              <a:spcBef>
                <a:spcPts val="0"/>
              </a:spcBef>
              <a:spcAft>
                <a:spcPts val="0"/>
              </a:spcAft>
              <a:buClrTx/>
              <a:buSzTx/>
              <a:buFontTx/>
              <a:buNone/>
              <a:tabLst/>
              <a:defRPr/>
            </a:pPr>
            <a:r>
              <a:rPr lang="en-US" dirty="0"/>
              <a:t>Checking the SQL Server Error Log - </a:t>
            </a:r>
            <a:r>
              <a:rPr lang="en-US" sz="800" kern="1200" dirty="0">
                <a:solidFill>
                  <a:schemeClr val="tx1"/>
                </a:solidFill>
                <a:latin typeface="Segoe UI Light"/>
                <a:ea typeface="+mn-ea"/>
                <a:cs typeface="+mn-cs"/>
              </a:rPr>
              <a:t>xp_readerrorlog 0,1,N'VLF'</a:t>
            </a:r>
            <a:endParaRPr lang="en-US" dirty="0"/>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a:p>
            <a:pPr marL="0" marR="0" indent="0" algn="l" defTabSz="457200" rtl="0" eaLnBrk="1" fontAlgn="auto" latinLnBrk="0" hangingPunct="1">
              <a:lnSpc>
                <a:spcPct val="100000"/>
              </a:lnSpc>
              <a:spcBef>
                <a:spcPts val="0"/>
              </a:spcBef>
              <a:spcAft>
                <a:spcPts val="0"/>
              </a:spcAft>
              <a:buClrTx/>
              <a:buSzTx/>
              <a:buFontTx/>
              <a:buNone/>
              <a:tabLst/>
              <a:defRPr/>
            </a:pPr>
            <a:r>
              <a:rPr lang="en-US" dirty="0"/>
              <a:t>Reference:</a:t>
            </a:r>
            <a:r>
              <a:rPr lang="en-US" baseline="0" dirty="0"/>
              <a:t> </a:t>
            </a:r>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a:p>
          <a:p>
            <a:r>
              <a:rPr lang="en-US" sz="882" kern="1200" baseline="0" dirty="0">
                <a:solidFill>
                  <a:schemeClr val="tx1"/>
                </a:solidFill>
                <a:effectLst/>
                <a:latin typeface="+mn-lt"/>
                <a:ea typeface="+mn-ea"/>
                <a:cs typeface="+mn-cs"/>
              </a:rPr>
              <a:t>Transaction Log Physical Architectur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sql-server-transaction-log-architecture-and-management-guide?view=sql-server-ver15#physical_arch</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7</a:t>
            </a:fld>
            <a:endParaRPr lang="en-US" noProof="0" dirty="0"/>
          </a:p>
        </p:txBody>
      </p:sp>
    </p:spTree>
    <p:extLst>
      <p:ext uri="{BB962C8B-B14F-4D97-AF65-F5344CB8AC3E}">
        <p14:creationId xmlns:p14="http://schemas.microsoft.com/office/powerpoint/2010/main" val="27576031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It is possible to have more than one log file per database, but it is not recommended. </a:t>
            </a:r>
            <a:br>
              <a:rPr lang="en-US" dirty="0"/>
            </a:br>
            <a:r>
              <a:rPr lang="en-US" dirty="0"/>
              <a:t>As Log files are accessed sequentially (for both read and write operations), multiple log files will not provide any performance benefit.</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dirty="0"/>
          </a:p>
        </p:txBody>
      </p:sp>
    </p:spTree>
    <p:extLst>
      <p:ext uri="{BB962C8B-B14F-4D97-AF65-F5344CB8AC3E}">
        <p14:creationId xmlns:p14="http://schemas.microsoft.com/office/powerpoint/2010/main" val="7901614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indent="-123471"/>
            <a:r>
              <a:rPr lang="en-US" altLang="ja-JP" sz="900" dirty="0"/>
              <a:t>M02L06Demo01</a:t>
            </a:r>
          </a:p>
          <a:p>
            <a:pPr indent="-123471"/>
            <a:endParaRPr lang="en-US" altLang="ja-JP" sz="900" dirty="0"/>
          </a:p>
          <a:p>
            <a:pPr indent="-123471"/>
            <a:r>
              <a:rPr lang="en-US" altLang="ja-JP" sz="900" dirty="0"/>
              <a:t>Review components in SQL Server that can give insight on log space and transaction log use</a:t>
            </a:r>
          </a:p>
          <a:p>
            <a:pPr indent="-123471"/>
            <a:r>
              <a:rPr lang="en-US" altLang="ja-JP" sz="900" dirty="0"/>
              <a:t>Review VLF in the transaction log by using the DBCC LOGINFO command</a:t>
            </a:r>
          </a:p>
          <a:p>
            <a:endParaRPr lang="en-US" sz="1000" dirty="0">
              <a:solidFill>
                <a:schemeClr val="tx1"/>
              </a:solidFill>
            </a:endParaRPr>
          </a:p>
          <a:p>
            <a:r>
              <a:rPr lang="en-US" sz="1000" i="1" dirty="0">
                <a:solidFill>
                  <a:schemeClr val="tx1"/>
                </a:solidFill>
              </a:rPr>
              <a:t>E:\Demos\</a:t>
            </a:r>
            <a:r>
              <a:rPr lang="en-US" altLang="ja-JP" sz="1000" i="1" dirty="0"/>
              <a:t>M02L06Demo01</a:t>
            </a:r>
            <a:r>
              <a:rPr lang="en-US" sz="1000" i="1" dirty="0">
                <a:solidFill>
                  <a:schemeClr val="tx1"/>
                </a:solidFill>
              </a:rPr>
              <a:t>\M02L06_01_TransactionalLog.sql</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90102487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r>
              <a:rPr lang="en-US" dirty="0"/>
              <a:t>Fully durable transaction commits are synchronous and report a COMMIT as successful and return control to the client only after the log records for the transaction are written to disk. Delayed durable transaction commits are asynchronous and report a COMMIT as successful before the log records for the transaction are written to disk. Hardening transaction log entries to disk is required for a transaction to be durable. Delayed durable transactions become durable when the transaction log entries are flushed to disk.</a:t>
            </a:r>
          </a:p>
          <a:p>
            <a:endParaRPr lang="en-US" dirty="0"/>
          </a:p>
          <a:p>
            <a:r>
              <a:rPr lang="en-US" dirty="0"/>
              <a:t>After a durable transaction commit succeeds, the changes made by the transaction are visible to the other transactions in the system. Durability is guaranteed on commit. Corresponding log records are persisted to disk before the transaction commit succeeds and returns control to the client. </a:t>
            </a:r>
          </a:p>
          <a:p>
            <a:endParaRPr lang="en-US" dirty="0"/>
          </a:p>
          <a:p>
            <a:r>
              <a:rPr lang="en-US" dirty="0"/>
              <a:t>Delayed transaction durability is accomplished using asynchronous log writes to disk. Transaction log records are kept in a buffer and hardened to disk when the buffer fills or a buffer flushing event takes place. </a:t>
            </a:r>
          </a:p>
          <a:p>
            <a:endParaRPr lang="en-US" dirty="0"/>
          </a:p>
          <a:p>
            <a:r>
              <a:rPr lang="en-US" dirty="0"/>
              <a:t>Delayed transaction durability reduces both latency and contention within the system because:</a:t>
            </a:r>
          </a:p>
          <a:p>
            <a:pPr marL="171450" indent="-171450">
              <a:buFont typeface="Arial" panose="020B0604020202020204" pitchFamily="34" charset="0"/>
              <a:buChar char="•"/>
            </a:pPr>
            <a:r>
              <a:rPr lang="en-US" dirty="0"/>
              <a:t>The transaction commit processing does not wait for log I/O to finish and return control to the client.</a:t>
            </a:r>
          </a:p>
          <a:p>
            <a:pPr marL="171450" indent="-171450">
              <a:buFont typeface="Arial" panose="020B0604020202020204" pitchFamily="34" charset="0"/>
              <a:buChar char="•"/>
            </a:pPr>
            <a:r>
              <a:rPr lang="en-US" dirty="0"/>
              <a:t>Concurrent transactions are less likely to contend for log I/O; instead, the log buffer can be flushed to disk in larger chunks, reducing contention, and increasing throughput.</a:t>
            </a:r>
          </a:p>
          <a:p>
            <a:endParaRPr lang="en-US" dirty="0"/>
          </a:p>
          <a:p>
            <a:r>
              <a:rPr lang="en-US" sz="882" kern="1200" baseline="0" dirty="0">
                <a:solidFill>
                  <a:schemeClr val="tx1"/>
                </a:solidFill>
                <a:effectLst/>
                <a:latin typeface="+mn-lt"/>
                <a:ea typeface="+mn-ea"/>
                <a:cs typeface="+mn-cs"/>
              </a:rPr>
              <a:t>Delayed transaction durability</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logs/control-transaction-durability?view=sql-server-ver15#delayed-transaction-durability</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9</a:t>
            </a:fld>
            <a:endParaRPr lang="en-US" noProof="0" dirty="0"/>
          </a:p>
        </p:txBody>
      </p:sp>
    </p:spTree>
    <p:extLst>
      <p:ext uri="{BB962C8B-B14F-4D97-AF65-F5344CB8AC3E}">
        <p14:creationId xmlns:p14="http://schemas.microsoft.com/office/powerpoint/2010/main" val="100294110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Some of the cases in which you could benefit from using delayed transaction durability are:</a:t>
            </a:r>
          </a:p>
          <a:p>
            <a:r>
              <a:rPr lang="en-US" sz="882" b="1" i="0" kern="1200" baseline="0" dirty="0">
                <a:solidFill>
                  <a:schemeClr val="tx1"/>
                </a:solidFill>
                <a:effectLst/>
                <a:latin typeface="+mn-lt"/>
                <a:ea typeface="+mn-ea"/>
                <a:cs typeface="+mn-cs"/>
              </a:rPr>
              <a:t>You can tolerate some data loss.</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If you can tolerate some data loss, for example, where individual records are not critical as long as you have most of the data, then delayed durability may be worth considering. If you cannot tolerate any data loss, do not use delayed transaction durability.</a:t>
            </a:r>
          </a:p>
          <a:p>
            <a:r>
              <a:rPr lang="en-US" sz="882" b="1" i="0" kern="1200" baseline="0" dirty="0">
                <a:solidFill>
                  <a:schemeClr val="tx1"/>
                </a:solidFill>
                <a:effectLst/>
                <a:latin typeface="+mn-lt"/>
                <a:ea typeface="+mn-ea"/>
                <a:cs typeface="+mn-cs"/>
              </a:rPr>
              <a:t>You are experiencing a bottleneck on transaction log writes.</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If your performance issues are due to latency in transaction log writes, your application will likely benefit from using delayed transaction durability.</a:t>
            </a:r>
          </a:p>
          <a:p>
            <a:r>
              <a:rPr lang="en-US" sz="882" b="1" i="0" kern="1200" baseline="0" dirty="0">
                <a:solidFill>
                  <a:schemeClr val="tx1"/>
                </a:solidFill>
                <a:effectLst/>
                <a:latin typeface="+mn-lt"/>
                <a:ea typeface="+mn-ea"/>
                <a:cs typeface="+mn-cs"/>
              </a:rPr>
              <a:t>Your workloads have a high contention rate.</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If your system has workloads with a high contention level much time is lost waiting for locks to be released. Delayed transaction durability reduces commit time and thus releases locks faster which results in higher throughput.</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0</a:t>
            </a:fld>
            <a:endParaRPr lang="en-US" noProof="0" dirty="0"/>
          </a:p>
        </p:txBody>
      </p:sp>
    </p:spTree>
    <p:extLst>
      <p:ext uri="{BB962C8B-B14F-4D97-AF65-F5344CB8AC3E}">
        <p14:creationId xmlns:p14="http://schemas.microsoft.com/office/powerpoint/2010/main" val="90461384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baseline="0" dirty="0">
                <a:solidFill>
                  <a:schemeClr val="tx1"/>
                </a:solidFill>
                <a:effectLst/>
                <a:latin typeface="+mn-lt"/>
                <a:ea typeface="+mn-ea"/>
                <a:cs typeface="+mn-cs"/>
              </a:rPr>
              <a:t>Delayed transaction durability</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logs/control-transaction-durability?view=sql-server-ver15#delayed-transaction-durability</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1</a:t>
            </a:fld>
            <a:endParaRPr lang="en-US" noProof="0" dirty="0"/>
          </a:p>
        </p:txBody>
      </p:sp>
    </p:spTree>
    <p:extLst>
      <p:ext uri="{BB962C8B-B14F-4D97-AF65-F5344CB8AC3E}">
        <p14:creationId xmlns:p14="http://schemas.microsoft.com/office/powerpoint/2010/main" val="285306879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Data loss possibility:</a:t>
            </a:r>
            <a:br>
              <a:rPr lang="en-US" dirty="0"/>
            </a:br>
            <a:r>
              <a:rPr lang="en-US" dirty="0"/>
              <a:t>if the server goes down between the time a transaction is committed and its log record if flushed</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2</a:t>
            </a:fld>
            <a:endParaRPr lang="en-US" noProof="0" dirty="0"/>
          </a:p>
        </p:txBody>
      </p:sp>
    </p:spTree>
    <p:extLst>
      <p:ext uri="{BB962C8B-B14F-4D97-AF65-F5344CB8AC3E}">
        <p14:creationId xmlns:p14="http://schemas.microsoft.com/office/powerpoint/2010/main" val="152990371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sider a scenario where an Insert/Update/Delete operation is being performed on a Microsoft SQL Server table. How does SQL Server log this information in the transaction logs and later use it for recovery purposes? In this slide, we talk about the high-level overview of the operations (logging-related), which happen when a record is inserted/deleted/updated in a table.</a:t>
            </a:r>
          </a:p>
          <a:p>
            <a:pPr lvl="1"/>
            <a:r>
              <a:rPr lang="en-US" dirty="0"/>
              <a:t>Mark the begin of the transaction in the Log Buffer (60 KB).</a:t>
            </a:r>
          </a:p>
          <a:p>
            <a:pPr lvl="1"/>
            <a:r>
              <a:rPr lang="en-US" dirty="0"/>
              <a:t>Log details about the nature of the transaction in the Log Buffer.</a:t>
            </a:r>
          </a:p>
          <a:p>
            <a:pPr lvl="1"/>
            <a:r>
              <a:rPr lang="en-US" dirty="0"/>
              <a:t>Read the Page from the Disk, where the operation needs to be performed (Page Latch/Locking).</a:t>
            </a:r>
          </a:p>
          <a:p>
            <a:pPr lvl="1"/>
            <a:r>
              <a:rPr lang="en-US" dirty="0"/>
              <a:t>Perform the modification (Page marked Dirty**/Latching/Locking).</a:t>
            </a:r>
          </a:p>
          <a:p>
            <a:pPr lvl="1"/>
            <a:r>
              <a:rPr lang="en-US" dirty="0"/>
              <a:t>Commit the transaction and report the acknowledgement to the user.</a:t>
            </a:r>
          </a:p>
          <a:p>
            <a:pPr lvl="1"/>
            <a:r>
              <a:rPr lang="en-US" dirty="0"/>
              <a:t>After commit, flush the log buffer to the LDF file (Log buffer could also be flushed if it is full, without having to wait for the commit) as an Asynchronous process. </a:t>
            </a:r>
          </a:p>
          <a:p>
            <a:r>
              <a:rPr lang="en-US" dirty="0"/>
              <a:t>There are chances of data loss in case the database goes down before a checkpoint has been fired.</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3</a:t>
            </a:fld>
            <a:endParaRPr lang="en-US" noProof="0" dirty="0"/>
          </a:p>
        </p:txBody>
      </p:sp>
    </p:spTree>
    <p:extLst>
      <p:ext uri="{BB962C8B-B14F-4D97-AF65-F5344CB8AC3E}">
        <p14:creationId xmlns:p14="http://schemas.microsoft.com/office/powerpoint/2010/main" val="427869079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71192888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What is a VLF?</a:t>
            </a:r>
          </a:p>
          <a:p>
            <a:r>
              <a:rPr lang="en-US" sz="882" b="0" i="0" kern="1200" baseline="0" dirty="0">
                <a:solidFill>
                  <a:schemeClr val="tx1"/>
                </a:solidFill>
                <a:effectLst/>
                <a:latin typeface="+mn-lt"/>
                <a:ea typeface="+mn-ea"/>
                <a:cs typeface="+mn-cs"/>
              </a:rPr>
              <a:t>The SQL Server Database Engine divides each physical log file internally into a number of virtual log files (VLFs). Virtual log files have no fixed size, and there is no fixed number of virtual log files for a physical log file. The Database Engine chooses the size of the virtual log files dynamically while it is creating or extending log files.</a:t>
            </a:r>
          </a:p>
          <a:p>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What can be done to avoid having too many VLFs in the transaction log?</a:t>
            </a:r>
          </a:p>
          <a:p>
            <a:r>
              <a:rPr lang="en-US" dirty="0"/>
              <a:t>To avoid VLF fragmentation:</a:t>
            </a:r>
          </a:p>
          <a:p>
            <a:pPr lvl="1"/>
            <a:r>
              <a:rPr lang="en-US" dirty="0"/>
              <a:t>Pre-size log files to avoid unplanned file growth.</a:t>
            </a:r>
          </a:p>
          <a:p>
            <a:pPr lvl="1"/>
            <a:r>
              <a:rPr lang="en-US" dirty="0"/>
              <a:t>Set autogrowth to an appropriate fixed size.</a:t>
            </a:r>
          </a:p>
          <a:p>
            <a:pPr lvl="0"/>
            <a:endParaRPr lang="en-US" dirty="0"/>
          </a:p>
          <a:p>
            <a:pPr lvl="0"/>
            <a:r>
              <a:rPr lang="en-US" dirty="0"/>
              <a:t>When to use delayed durability?</a:t>
            </a:r>
          </a:p>
          <a:p>
            <a:pPr lvl="1"/>
            <a:r>
              <a:rPr lang="en-US" baseline="0" dirty="0"/>
              <a:t>You can tolerate some data loss.</a:t>
            </a:r>
            <a:endParaRPr lang="en-US" dirty="0"/>
          </a:p>
          <a:p>
            <a:pPr lvl="1"/>
            <a:r>
              <a:rPr lang="en-US" baseline="0" dirty="0"/>
              <a:t>You are experiencing a bottleneck on transaction log writes.</a:t>
            </a:r>
            <a:endParaRPr lang="en-US" dirty="0"/>
          </a:p>
          <a:p>
            <a:pPr lvl="1"/>
            <a:r>
              <a:rPr lang="en-US" baseline="0" dirty="0"/>
              <a:t>Your workloads have a high contention rate.</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5</a:t>
            </a:fld>
            <a:endParaRPr lang="en-US" noProof="0" dirty="0"/>
          </a:p>
        </p:txBody>
      </p:sp>
    </p:spTree>
    <p:extLst>
      <p:ext uri="{BB962C8B-B14F-4D97-AF65-F5344CB8AC3E}">
        <p14:creationId xmlns:p14="http://schemas.microsoft.com/office/powerpoint/2010/main" val="397581199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21518047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baseline="0" dirty="0">
                <a:solidFill>
                  <a:schemeClr val="tx1"/>
                </a:solidFill>
                <a:effectLst/>
                <a:latin typeface="+mn-lt"/>
                <a:ea typeface="+mn-ea"/>
                <a:cs typeface="+mn-cs"/>
              </a:rPr>
              <a:t>Operations withi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are minimally logged so that transactions can be rolled back.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is re-created every time SQL Server is started so that the system always starts with a clean copy of the database. Temporary tables and stored procedures are dropped automatically on disconnect, and no connections are active when the system is shut down. Therefore, there is never anything i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to be saved from one session of SQL Server to another. Backup and restore operations are not allowed o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a:t>
            </a:r>
          </a:p>
          <a:p>
            <a:endParaRPr lang="en-US" sz="882" b="0" i="0" u="none" strike="noStrike" kern="1200" baseline="0" dirty="0">
              <a:solidFill>
                <a:schemeClr val="tx1"/>
              </a:solidFill>
              <a:effectLst/>
              <a:latin typeface="+mn-lt"/>
              <a:ea typeface="+mn-ea"/>
              <a:cs typeface="+mn-cs"/>
            </a:endParaRPr>
          </a:p>
          <a:p>
            <a:endParaRPr lang="en-US" sz="882" b="0" i="0" u="none" strike="noStrike"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TempDB Databas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memory-optimized-tempdb-metadata</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8</a:t>
            </a:fld>
            <a:endParaRPr lang="en-US" noProof="0" dirty="0"/>
          </a:p>
        </p:txBody>
      </p:sp>
    </p:spTree>
    <p:extLst>
      <p:ext uri="{BB962C8B-B14F-4D97-AF65-F5344CB8AC3E}">
        <p14:creationId xmlns:p14="http://schemas.microsoft.com/office/powerpoint/2010/main" val="14427792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different types of filegroups:</a:t>
            </a:r>
          </a:p>
          <a:p>
            <a:pPr lvl="1"/>
            <a:r>
              <a:rPr lang="en-US" dirty="0"/>
              <a:t>Primary filegroup </a:t>
            </a:r>
          </a:p>
          <a:p>
            <a:pPr lvl="2"/>
            <a:r>
              <a:rPr lang="en-US" dirty="0"/>
              <a:t>Every database has a primary filegroup which contains the primary data file and any secondary files that are not put into other filegroups. </a:t>
            </a:r>
          </a:p>
          <a:p>
            <a:pPr lvl="1"/>
            <a:r>
              <a:rPr lang="en-US" dirty="0"/>
              <a:t>User-defined filegroup</a:t>
            </a:r>
          </a:p>
          <a:p>
            <a:pPr lvl="2"/>
            <a:r>
              <a:rPr lang="en-US" dirty="0"/>
              <a:t>Can be created to group data files together for administrative, data allocation, and placement purposes.</a:t>
            </a:r>
          </a:p>
          <a:p>
            <a:pPr lvl="1"/>
            <a:r>
              <a:rPr lang="en-US" dirty="0"/>
              <a:t>Memory optimized data filegroup</a:t>
            </a:r>
          </a:p>
          <a:p>
            <a:pPr lvl="2"/>
            <a:r>
              <a:rPr lang="en-US" dirty="0"/>
              <a:t>The memory-optimized filegroup is required to create memory-optimized tables.</a:t>
            </a:r>
          </a:p>
          <a:p>
            <a:pPr lvl="1"/>
            <a:r>
              <a:rPr lang="en-US" dirty="0"/>
              <a:t>FILESTREAM file group</a:t>
            </a:r>
          </a:p>
          <a:p>
            <a:pPr lvl="2"/>
            <a:r>
              <a:rPr lang="en-US" dirty="0"/>
              <a:t>FILESTREAM enables SQL Server-based applications to store unstructured data, such as documents and images, on the file system.</a:t>
            </a:r>
          </a:p>
          <a:p>
            <a:pPr lvl="2"/>
            <a:r>
              <a:rPr lang="en-US" dirty="0"/>
              <a:t>A FILESTREAM filegroup is a special filegroup that contains file system directories instead of the files themselves. These file system directories are called </a:t>
            </a:r>
            <a:r>
              <a:rPr lang="en-US" i="1" dirty="0"/>
              <a:t>data containers</a:t>
            </a:r>
            <a:r>
              <a:rPr lang="en-US" dirty="0"/>
              <a:t>. Data containers are the interface between Database Engine storage and file system storage.</a:t>
            </a:r>
          </a:p>
          <a:p>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Database Files and Filegroup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database-files-and-filegroup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dirty="0"/>
          </a:p>
        </p:txBody>
      </p:sp>
    </p:spTree>
    <p:extLst>
      <p:ext uri="{BB962C8B-B14F-4D97-AF65-F5344CB8AC3E}">
        <p14:creationId xmlns:p14="http://schemas.microsoft.com/office/powerpoint/2010/main" val="339052987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Temporary </a:t>
            </a:r>
            <a:r>
              <a:rPr lang="en-US" sz="882" b="1" i="0" kern="1200" baseline="0" dirty="0">
                <a:solidFill>
                  <a:schemeClr val="tx1"/>
                </a:solidFill>
                <a:effectLst/>
                <a:latin typeface="+mn-lt"/>
                <a:ea typeface="+mn-ea"/>
                <a:cs typeface="+mn-cs"/>
              </a:rPr>
              <a:t>user objects</a:t>
            </a:r>
            <a:r>
              <a:rPr lang="en-US" sz="882" b="0" i="0" kern="1200" baseline="0" dirty="0">
                <a:solidFill>
                  <a:schemeClr val="tx1"/>
                </a:solidFill>
                <a:effectLst/>
                <a:latin typeface="+mn-lt"/>
                <a:ea typeface="+mn-ea"/>
                <a:cs typeface="+mn-cs"/>
              </a:rPr>
              <a:t> that are explicitly created, such as: </a:t>
            </a:r>
          </a:p>
          <a:p>
            <a:pPr lvl="1"/>
            <a:r>
              <a:rPr lang="en-US" sz="882" b="0" i="0" kern="1200" baseline="0" dirty="0">
                <a:solidFill>
                  <a:schemeClr val="tx1"/>
                </a:solidFill>
                <a:effectLst/>
                <a:latin typeface="+mn-lt"/>
                <a:ea typeface="+mn-ea"/>
                <a:cs typeface="+mn-cs"/>
              </a:rPr>
              <a:t>Global or local temporary tables and indexes</a:t>
            </a:r>
          </a:p>
          <a:p>
            <a:pPr lvl="1"/>
            <a:r>
              <a:rPr lang="en-US" sz="882" b="0" i="0" kern="1200" baseline="0" dirty="0">
                <a:solidFill>
                  <a:schemeClr val="tx1"/>
                </a:solidFill>
                <a:effectLst/>
                <a:latin typeface="+mn-lt"/>
                <a:ea typeface="+mn-ea"/>
                <a:cs typeface="+mn-cs"/>
              </a:rPr>
              <a:t>Temporary stored procedures</a:t>
            </a:r>
          </a:p>
          <a:p>
            <a:pPr lvl="1"/>
            <a:r>
              <a:rPr lang="en-US" sz="882" b="0" i="0" kern="1200" baseline="0" dirty="0">
                <a:solidFill>
                  <a:schemeClr val="tx1"/>
                </a:solidFill>
                <a:effectLst/>
                <a:latin typeface="+mn-lt"/>
                <a:ea typeface="+mn-ea"/>
                <a:cs typeface="+mn-cs"/>
              </a:rPr>
              <a:t>Table variables</a:t>
            </a:r>
          </a:p>
          <a:p>
            <a:pPr lvl="1"/>
            <a:r>
              <a:rPr lang="en-US" sz="882" b="0" i="0" kern="1200" baseline="0" dirty="0">
                <a:solidFill>
                  <a:schemeClr val="tx1"/>
                </a:solidFill>
                <a:effectLst/>
                <a:latin typeface="+mn-lt"/>
                <a:ea typeface="+mn-ea"/>
                <a:cs typeface="+mn-cs"/>
              </a:rPr>
              <a:t>Tables returned in table-valued functions, or cursors</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Internal objects</a:t>
            </a:r>
            <a:r>
              <a:rPr lang="en-US" sz="882" b="0" i="0" kern="1200" baseline="0" dirty="0">
                <a:solidFill>
                  <a:schemeClr val="tx1"/>
                </a:solidFill>
                <a:effectLst/>
                <a:latin typeface="+mn-lt"/>
                <a:ea typeface="+mn-ea"/>
                <a:cs typeface="+mn-cs"/>
              </a:rPr>
              <a:t> that are created by the database engine. These include:</a:t>
            </a:r>
          </a:p>
          <a:p>
            <a:pPr lvl="1"/>
            <a:r>
              <a:rPr lang="en-US" sz="882" b="0" i="0" kern="1200" baseline="0" dirty="0">
                <a:solidFill>
                  <a:schemeClr val="tx1"/>
                </a:solidFill>
                <a:effectLst/>
                <a:latin typeface="+mn-lt"/>
                <a:ea typeface="+mn-ea"/>
                <a:cs typeface="+mn-cs"/>
              </a:rPr>
              <a:t>Work tables to store intermediate results for spools, cursors, sorts, and temporary large object (LOB) storage.</a:t>
            </a:r>
          </a:p>
          <a:p>
            <a:pPr lvl="1"/>
            <a:r>
              <a:rPr lang="en-US" sz="882" b="0" i="0" kern="1200" baseline="0" dirty="0">
                <a:solidFill>
                  <a:schemeClr val="tx1"/>
                </a:solidFill>
                <a:effectLst/>
                <a:latin typeface="+mn-lt"/>
                <a:ea typeface="+mn-ea"/>
                <a:cs typeface="+mn-cs"/>
              </a:rPr>
              <a:t>Work files for hash join or hash aggregate operations.</a:t>
            </a:r>
          </a:p>
          <a:p>
            <a:pPr lvl="1"/>
            <a:r>
              <a:rPr lang="en-US" sz="882" b="0" i="0" kern="1200" baseline="0" dirty="0">
                <a:solidFill>
                  <a:schemeClr val="tx1"/>
                </a:solidFill>
                <a:effectLst/>
                <a:latin typeface="+mn-lt"/>
                <a:ea typeface="+mn-ea"/>
                <a:cs typeface="+mn-cs"/>
              </a:rPr>
              <a:t>Intermediate sort results for operations such as creating or rebuilding indexes (if SORT_IN_TEMPDB is specified), or certain GROUP BY, ORDER BY, or UNION queries.</a:t>
            </a:r>
          </a:p>
          <a:p>
            <a:endParaRPr lang="en-US" dirty="0"/>
          </a:p>
          <a:p>
            <a:r>
              <a:rPr lang="en-US" sz="882" b="1" i="0" kern="1200" baseline="0" dirty="0">
                <a:solidFill>
                  <a:schemeClr val="tx1"/>
                </a:solidFill>
                <a:effectLst/>
                <a:latin typeface="+mn-lt"/>
                <a:ea typeface="+mn-ea"/>
                <a:cs typeface="+mn-cs"/>
              </a:rPr>
              <a:t>Version stores</a:t>
            </a:r>
            <a:r>
              <a:rPr lang="en-US" sz="882" b="0" i="0" kern="1200" baseline="0" dirty="0">
                <a:solidFill>
                  <a:schemeClr val="tx1"/>
                </a:solidFill>
                <a:effectLst/>
                <a:latin typeface="+mn-lt"/>
                <a:ea typeface="+mn-ea"/>
                <a:cs typeface="+mn-cs"/>
              </a:rPr>
              <a:t>, which are a collection of data pages that hold the data rows that are required to support the features that use row versioning. There are two version stores: a common version store and an online-index-build version store. The version stores contain:</a:t>
            </a:r>
          </a:p>
          <a:p>
            <a:pPr lvl="1"/>
            <a:r>
              <a:rPr lang="en-US" sz="882" b="0" i="0" kern="1200" baseline="0" dirty="0">
                <a:solidFill>
                  <a:schemeClr val="tx1"/>
                </a:solidFill>
                <a:effectLst/>
                <a:latin typeface="+mn-lt"/>
                <a:ea typeface="+mn-ea"/>
                <a:cs typeface="+mn-cs"/>
              </a:rPr>
              <a:t>Row versions that are generated by data modification transactions in a database that uses read-committed using row versioning isolation or snapshot isolation transactions.</a:t>
            </a:r>
          </a:p>
          <a:p>
            <a:pPr lvl="1"/>
            <a:r>
              <a:rPr lang="en-US" sz="882" b="0" i="0" kern="1200" baseline="0" dirty="0">
                <a:solidFill>
                  <a:schemeClr val="tx1"/>
                </a:solidFill>
                <a:effectLst/>
                <a:latin typeface="+mn-lt"/>
                <a:ea typeface="+mn-ea"/>
                <a:cs typeface="+mn-cs"/>
              </a:rPr>
              <a:t>Row versions that are generated by data modification transactions for features, such as: online index operations, Multiple Active Result Sets (MARS), and AFTER triggers.</a:t>
            </a:r>
          </a:p>
          <a:p>
            <a:pPr marL="171450" indent="-171450">
              <a:buFontTx/>
              <a:buChar char="-"/>
            </a:pPr>
            <a:endParaRPr lang="en-US" sz="882" b="0" i="0"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How (and When) To: Memory Optimized TempDB Metadata</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channel9.msdn.com/Shows/Data-Exposed/How-and-When-To-Memory-Optimized-TempDB-Metadata?term=tempdb&amp;lang-en=true</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It Just Runs Faster: SQL Server 2019 TempDB Improvement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channel9.msdn.com/Shows/Data-Exposed/It-Just-Runs-Faster-SQL-Server-2019-TempDB-Improvements</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pPr marL="171450" indent="-171450">
              <a:buFontTx/>
              <a:buChar char="-"/>
            </a:pP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9</a:t>
            </a:fld>
            <a:endParaRPr lang="en-US" noProof="0" dirty="0"/>
          </a:p>
        </p:txBody>
      </p:sp>
    </p:spTree>
    <p:extLst>
      <p:ext uri="{BB962C8B-B14F-4D97-AF65-F5344CB8AC3E}">
        <p14:creationId xmlns:p14="http://schemas.microsoft.com/office/powerpoint/2010/main" val="49686652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 As a general rule:</a:t>
            </a:r>
          </a:p>
          <a:p>
            <a:pPr lvl="1"/>
            <a:r>
              <a:rPr lang="en-US" b="0" i="0" dirty="0"/>
              <a:t>If the number of logical processors is less than or equal to eight (8), use the same number of data files as logical processors. </a:t>
            </a:r>
          </a:p>
          <a:p>
            <a:pPr lvl="1"/>
            <a:r>
              <a:rPr lang="en-US" b="0" i="0" dirty="0"/>
              <a:t>If the number of logical processors is greater than eight (8), use eight data files. If contention continues, increase the number of data files by multiples of four (4) up to the number of logical processors until the contention is reduced to acceptable levels. </a:t>
            </a:r>
          </a:p>
          <a:p>
            <a:pPr lvl="1"/>
            <a:r>
              <a:rPr lang="en-US" b="0" i="0" dirty="0"/>
              <a:t>Alternatively, make changes to the workload or code.</a:t>
            </a:r>
            <a:endParaRPr lang="en-US" dirty="0"/>
          </a:p>
          <a:p>
            <a:endParaRPr lang="en-US" sz="882"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hysical Properties of TempDB in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hysical-properties-of-tempdb-in-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0</a:t>
            </a:fld>
            <a:endParaRPr lang="en-US" noProof="0" dirty="0"/>
          </a:p>
        </p:txBody>
      </p:sp>
    </p:spTree>
    <p:extLst>
      <p:ext uri="{BB962C8B-B14F-4D97-AF65-F5344CB8AC3E}">
        <p14:creationId xmlns:p14="http://schemas.microsoft.com/office/powerpoint/2010/main" val="161789182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possible, use database instant file initialization to improve the performance of data file grow operations.</a:t>
            </a:r>
          </a:p>
          <a:p>
            <a:pPr marL="171450" indent="-171450">
              <a:buFont typeface="Arial" panose="020B0604020202020204" pitchFamily="34" charset="0"/>
              <a:buChar char="•"/>
            </a:pPr>
            <a:r>
              <a:rPr lang="en-US" dirty="0"/>
              <a:t>Preallocate space for all TempDB files by setting the file size to a value large enough to accommodate the typical workload in the environment. </a:t>
            </a:r>
          </a:p>
          <a:p>
            <a:pPr marL="171450" indent="-171450">
              <a:buFont typeface="Arial" panose="020B0604020202020204" pitchFamily="34" charset="0"/>
              <a:buChar char="•"/>
            </a:pPr>
            <a:r>
              <a:rPr lang="en-US" dirty="0"/>
              <a:t>The TempDB database should be set to autogrow, but this should be used to increase disk space for unplanned exceptions.</a:t>
            </a:r>
          </a:p>
          <a:p>
            <a:pPr marL="171450" indent="-171450">
              <a:buFont typeface="Arial" panose="020B0604020202020204" pitchFamily="34" charset="0"/>
              <a:buChar char="•"/>
            </a:pPr>
            <a:r>
              <a:rPr lang="en-US" dirty="0"/>
              <a:t>Data files should be of equal size within each filegroup, as SQL Server uses a proportional-fill algorithm that favors allocations in files with more free space. </a:t>
            </a:r>
          </a:p>
          <a:p>
            <a:pPr marL="171450" indent="-171450">
              <a:buFont typeface="Arial" panose="020B0604020202020204" pitchFamily="34" charset="0"/>
              <a:buChar char="•"/>
            </a:pPr>
            <a:r>
              <a:rPr lang="en-US" dirty="0"/>
              <a:t>Dividing TempDB into multiple data files of equal size provides a high degree of parallel efficiency in operations that use TempDB.</a:t>
            </a:r>
          </a:p>
          <a:p>
            <a:pPr marL="171450" indent="-171450">
              <a:buFont typeface="Arial" panose="020B0604020202020204" pitchFamily="34" charset="0"/>
              <a:buChar char="•"/>
            </a:pPr>
            <a:r>
              <a:rPr lang="en-US" dirty="0"/>
              <a:t>Put the TempDB database on a fast I/O subsystem. Use disk striping if there are many directly attached disks. Individual or groups of TempDB data files do not necessarily need to be on different disks or spindles unless you are also encountering I/O bottlenecks.</a:t>
            </a:r>
          </a:p>
          <a:p>
            <a:pPr marL="171450" indent="-171450">
              <a:buFont typeface="Arial" panose="020B0604020202020204" pitchFamily="34" charset="0"/>
              <a:buChar char="•"/>
            </a:pPr>
            <a:r>
              <a:rPr lang="en-US" dirty="0"/>
              <a:t>Put the TempDB database on disks that differ from those that are used by user databases.</a:t>
            </a:r>
          </a:p>
          <a:p>
            <a:endParaRPr lang="en-US" dirty="0"/>
          </a:p>
          <a:p>
            <a:r>
              <a:rPr lang="en-US" sz="882" kern="1200" baseline="0" dirty="0">
                <a:solidFill>
                  <a:schemeClr val="tx1"/>
                </a:solidFill>
                <a:effectLst/>
                <a:latin typeface="+mn-lt"/>
                <a:ea typeface="+mn-ea"/>
                <a:cs typeface="+mn-cs"/>
              </a:rPr>
              <a:t>Performance improvements in TempDB for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erformance-improvements-in-tempdb-for-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1</a:t>
            </a:fld>
            <a:endParaRPr lang="en-US" noProof="0" dirty="0"/>
          </a:p>
        </p:txBody>
      </p:sp>
    </p:spTree>
    <p:extLst>
      <p:ext uri="{BB962C8B-B14F-4D97-AF65-F5344CB8AC3E}">
        <p14:creationId xmlns:p14="http://schemas.microsoft.com/office/powerpoint/2010/main" val="126512162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Temporary tables and table variables are cached. Caching allows operations that drop and create the temporary objects to execute very quickly and reduces page allocation contention.</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Allocation page latching protocol is improved to reduce the number of UP (update) latches that are used.</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Logging overhead for </a:t>
            </a:r>
            <a:r>
              <a:rPr lang="en-US" sz="882" b="1" i="0" kern="1200" baseline="0" dirty="0">
                <a:solidFill>
                  <a:schemeClr val="tx1"/>
                </a:solidFill>
                <a:effectLst/>
                <a:latin typeface="+mn-lt"/>
                <a:ea typeface="+mn-ea"/>
                <a:cs typeface="+mn-cs"/>
              </a:rPr>
              <a:t>TempDB</a:t>
            </a:r>
            <a:r>
              <a:rPr lang="en-US" sz="882" b="0" i="0" kern="1200" baseline="0" dirty="0">
                <a:solidFill>
                  <a:schemeClr val="tx1"/>
                </a:solidFill>
                <a:effectLst/>
                <a:latin typeface="+mn-lt"/>
                <a:ea typeface="+mn-ea"/>
                <a:cs typeface="+mn-cs"/>
              </a:rPr>
              <a:t> is reduced to reduce disk I/O bandwidth consumption on the </a:t>
            </a:r>
            <a:r>
              <a:rPr lang="en-US" sz="882" b="1" i="0" kern="1200" baseline="0" dirty="0">
                <a:solidFill>
                  <a:schemeClr val="tx1"/>
                </a:solidFill>
                <a:effectLst/>
                <a:latin typeface="+mn-lt"/>
                <a:ea typeface="+mn-ea"/>
                <a:cs typeface="+mn-cs"/>
              </a:rPr>
              <a:t>TempDB</a:t>
            </a:r>
            <a:r>
              <a:rPr lang="en-US" sz="882" b="0" i="0" kern="1200" baseline="0" dirty="0">
                <a:solidFill>
                  <a:schemeClr val="tx1"/>
                </a:solidFill>
                <a:effectLst/>
                <a:latin typeface="+mn-lt"/>
                <a:ea typeface="+mn-ea"/>
                <a:cs typeface="+mn-cs"/>
              </a:rPr>
              <a:t> log file.</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Setup adds multiple TempDB data files during a new instance installation. This task can be accomplished with the new UI input control on the </a:t>
            </a:r>
            <a:r>
              <a:rPr lang="en-US" sz="882" b="1" i="0" kern="1200" baseline="0" dirty="0">
                <a:solidFill>
                  <a:schemeClr val="tx1"/>
                </a:solidFill>
                <a:effectLst/>
                <a:latin typeface="+mn-lt"/>
                <a:ea typeface="+mn-ea"/>
                <a:cs typeface="+mn-cs"/>
              </a:rPr>
              <a:t>Database Engine Configuration</a:t>
            </a:r>
            <a:r>
              <a:rPr lang="en-US" sz="882" b="0" i="0" kern="1200" baseline="0" dirty="0">
                <a:solidFill>
                  <a:schemeClr val="tx1"/>
                </a:solidFill>
                <a:effectLst/>
                <a:latin typeface="+mn-lt"/>
                <a:ea typeface="+mn-ea"/>
                <a:cs typeface="+mn-cs"/>
              </a:rPr>
              <a:t> section and a command-line parameter /SQLTEMPDBFILECOUNT. By default, setup adds as many TempDB data files as the logical processor count or eight, whichever is lower.</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When there are multiple </a:t>
            </a:r>
            <a:r>
              <a:rPr lang="en-US" sz="882" b="1" i="0" kern="1200" baseline="0" dirty="0">
                <a:solidFill>
                  <a:schemeClr val="tx1"/>
                </a:solidFill>
                <a:effectLst/>
                <a:latin typeface="+mn-lt"/>
                <a:ea typeface="+mn-ea"/>
                <a:cs typeface="+mn-cs"/>
              </a:rPr>
              <a:t>TempDB</a:t>
            </a:r>
            <a:r>
              <a:rPr lang="en-US" sz="882" b="0" i="0" kern="1200" baseline="0" dirty="0">
                <a:solidFill>
                  <a:schemeClr val="tx1"/>
                </a:solidFill>
                <a:effectLst/>
                <a:latin typeface="+mn-lt"/>
                <a:ea typeface="+mn-ea"/>
                <a:cs typeface="+mn-cs"/>
              </a:rPr>
              <a:t> data files, all files autogrow at same time and by the same amount depending on growth settings. </a:t>
            </a:r>
            <a:r>
              <a:rPr lang="en-US" sz="882" b="0" i="0" u="none" strike="noStrike" kern="1200" baseline="0" dirty="0">
                <a:solidFill>
                  <a:schemeClr val="tx1"/>
                </a:solidFill>
                <a:effectLst/>
                <a:latin typeface="+mn-lt"/>
                <a:ea typeface="+mn-ea"/>
                <a:cs typeface="+mn-cs"/>
                <a:hlinkClick r:id="rId3"/>
              </a:rPr>
              <a:t>Trace flag 1117</a:t>
            </a:r>
            <a:r>
              <a:rPr lang="en-US" sz="882" b="0" i="0" kern="1200" baseline="0" dirty="0">
                <a:solidFill>
                  <a:schemeClr val="tx1"/>
                </a:solidFill>
                <a:effectLst/>
                <a:latin typeface="+mn-lt"/>
                <a:ea typeface="+mn-ea"/>
                <a:cs typeface="+mn-cs"/>
              </a:rPr>
              <a:t> is no longer required.</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All allocations in </a:t>
            </a:r>
            <a:r>
              <a:rPr lang="en-US" sz="882" b="1" i="0" kern="1200" baseline="0" dirty="0">
                <a:solidFill>
                  <a:schemeClr val="tx1"/>
                </a:solidFill>
                <a:effectLst/>
                <a:latin typeface="+mn-lt"/>
                <a:ea typeface="+mn-ea"/>
                <a:cs typeface="+mn-cs"/>
              </a:rPr>
              <a:t>TempDB</a:t>
            </a:r>
            <a:r>
              <a:rPr lang="en-US" sz="882" b="0" i="0" kern="1200" baseline="0" dirty="0">
                <a:solidFill>
                  <a:schemeClr val="tx1"/>
                </a:solidFill>
                <a:effectLst/>
                <a:latin typeface="+mn-lt"/>
                <a:ea typeface="+mn-ea"/>
                <a:cs typeface="+mn-cs"/>
              </a:rPr>
              <a:t> use uniform extents. </a:t>
            </a:r>
            <a:r>
              <a:rPr lang="en-US" sz="882" b="0" i="0" u="none" strike="noStrike" kern="1200" baseline="0" dirty="0">
                <a:solidFill>
                  <a:schemeClr val="tx1"/>
                </a:solidFill>
                <a:effectLst/>
                <a:latin typeface="+mn-lt"/>
                <a:ea typeface="+mn-ea"/>
                <a:cs typeface="+mn-cs"/>
                <a:hlinkClick r:id="rId3"/>
              </a:rPr>
              <a:t>Trace flag 1118</a:t>
            </a:r>
            <a:r>
              <a:rPr lang="en-US" sz="882" b="0" i="0" kern="1200" baseline="0" dirty="0">
                <a:solidFill>
                  <a:schemeClr val="tx1"/>
                </a:solidFill>
                <a:effectLst/>
                <a:latin typeface="+mn-lt"/>
                <a:ea typeface="+mn-ea"/>
                <a:cs typeface="+mn-cs"/>
              </a:rPr>
              <a:t> is no longer required.</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For the primary filegroup, the AUTOGROW_ALL_FILES property is turned on and the property cannot be modified.</a:t>
            </a:r>
          </a:p>
          <a:p>
            <a:pPr marL="171450" indent="-171450">
              <a:buFont typeface="Arial" panose="020B0604020202020204" pitchFamily="34" charset="0"/>
              <a:buChar char="•"/>
            </a:pPr>
            <a:endParaRPr lang="en-US" sz="882" b="0" i="0"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TempDB Databas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docs.microsoft.com/en-us/sql/relational-databases/databases/tempdb-database?view=sql-server-ver15#memory-optimized-tempdb-metadata</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pPr marL="0" indent="0">
              <a:buFont typeface="Arial" panose="020B0604020202020204" pitchFamily="34" charset="0"/>
              <a:buNone/>
            </a:pPr>
            <a:endParaRPr lang="en-US" sz="882" b="0" i="0"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2</a:t>
            </a:fld>
            <a:endParaRPr lang="en-US" noProof="0" dirty="0"/>
          </a:p>
        </p:txBody>
      </p:sp>
    </p:spTree>
    <p:extLst>
      <p:ext uri="{BB962C8B-B14F-4D97-AF65-F5344CB8AC3E}">
        <p14:creationId xmlns:p14="http://schemas.microsoft.com/office/powerpoint/2010/main" val="85950912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baseline="0" dirty="0">
                <a:solidFill>
                  <a:schemeClr val="tx1"/>
                </a:solidFill>
                <a:effectLst/>
                <a:latin typeface="+mn-lt"/>
                <a:ea typeface="+mn-ea"/>
                <a:cs typeface="+mn-cs"/>
              </a:rPr>
              <a:t>SQL 2016 - It Just Runs Faster: Automatic TEMPDB Configuration</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archive/blogs/bobsql/sql-2016-it-just-runs-faster-automatic-tempdb-configuration</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3</a:t>
            </a:fld>
            <a:endParaRPr lang="en-US" noProof="0" dirty="0"/>
          </a:p>
        </p:txBody>
      </p:sp>
    </p:spTree>
    <p:extLst>
      <p:ext uri="{BB962C8B-B14F-4D97-AF65-F5344CB8AC3E}">
        <p14:creationId xmlns:p14="http://schemas.microsoft.com/office/powerpoint/2010/main" val="258938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hare this link: </a:t>
            </a:r>
            <a:r>
              <a:rPr lang="en-US" sz="882" i="1" kern="1200" baseline="0" dirty="0">
                <a:solidFill>
                  <a:schemeClr val="tx1"/>
                </a:solidFill>
                <a:effectLst/>
                <a:latin typeface="+mn-lt"/>
                <a:ea typeface="+mn-ea"/>
                <a:cs typeface="+mn-cs"/>
              </a:rPr>
              <a:t>https://techcommunity.microsoft.com/t5/sql-server/tempdb-files-and-trace-flags-and-updates-oh-my/ba-p/385937</a:t>
            </a:r>
          </a:p>
          <a:p>
            <a:r>
              <a:rPr lang="en-US" sz="882" b="1" i="0" kern="1200" baseline="0" dirty="0">
                <a:solidFill>
                  <a:schemeClr val="tx1"/>
                </a:solidFill>
                <a:effectLst/>
                <a:latin typeface="+mn-lt"/>
                <a:ea typeface="+mn-ea"/>
                <a:cs typeface="+mn-cs"/>
              </a:rPr>
              <a:t>Share this video</a:t>
            </a:r>
            <a:r>
              <a:rPr lang="en-US" sz="882" i="1" kern="1200" baseline="0" dirty="0">
                <a:solidFill>
                  <a:schemeClr val="tx1"/>
                </a:solidFill>
                <a:effectLst/>
                <a:latin typeface="+mn-lt"/>
                <a:ea typeface="+mn-ea"/>
                <a:cs typeface="+mn-cs"/>
              </a:rPr>
              <a:t>: </a:t>
            </a:r>
            <a:r>
              <a:rPr lang="en-US" dirty="0"/>
              <a:t>https://www.youtube.com/watch?v=g4aemv5O9as&amp;t=1s</a:t>
            </a:r>
          </a:p>
          <a:p>
            <a:endParaRPr lang="en-US" dirty="0"/>
          </a:p>
          <a:p>
            <a:r>
              <a:rPr lang="en-US" dirty="0"/>
              <a:t>Memory-Optimized TempDB Metadata</a:t>
            </a:r>
          </a:p>
          <a:p>
            <a:pPr lvl="1"/>
            <a:r>
              <a:rPr lang="en-US" dirty="0"/>
              <a:t>System tables involved in managing temporary table metadata can be moved into latch-free non-durable memory-optimized tables.</a:t>
            </a:r>
          </a:p>
          <a:p>
            <a:endParaRPr lang="en-US" dirty="0"/>
          </a:p>
          <a:p>
            <a:r>
              <a:rPr lang="en-US" dirty="0"/>
              <a:t>Considerations</a:t>
            </a:r>
          </a:p>
          <a:p>
            <a:pPr marL="768096" lvl="1" indent="-457200">
              <a:buFont typeface="+mj-lt"/>
              <a:buAutoNum type="arabicPeriod"/>
            </a:pPr>
            <a:r>
              <a:rPr lang="en-US" dirty="0"/>
              <a:t>This configuration change requires a restart of the service to take effect.</a:t>
            </a:r>
          </a:p>
          <a:p>
            <a:pPr marL="768096" lvl="1" indent="-457200">
              <a:buFont typeface="+mj-lt"/>
              <a:buAutoNum type="arabicPeriod"/>
            </a:pPr>
            <a:r>
              <a:rPr lang="en-US" dirty="0"/>
              <a:t>A single transaction may not access memory-optimized tables in more than one database. This means that any transactions that involve a memory-optimized table in a user database will not be able to access TempDB system views in the same transaction. </a:t>
            </a:r>
          </a:p>
          <a:p>
            <a:pPr marL="768096" lvl="1" indent="-457200">
              <a:buFont typeface="+mj-lt"/>
              <a:buAutoNum type="arabicPeriod"/>
            </a:pPr>
            <a:r>
              <a:rPr lang="en-US" dirty="0"/>
              <a:t>Queries against memory-optimized tables do not support locking and isolation hints, so queries against memory-optimized TempDB catalog views will not honor locking and isolation hints.</a:t>
            </a:r>
          </a:p>
          <a:p>
            <a:pPr marL="768096" lvl="1" indent="-457200">
              <a:buFont typeface="+mj-lt"/>
              <a:buAutoNum type="arabicPeriod"/>
            </a:pPr>
            <a:r>
              <a:rPr lang="en-US" dirty="0"/>
              <a:t>Columnstore indexes cannot be created on temporary tables when Memory-Optimized TempDB Metadata is enabled.</a:t>
            </a:r>
          </a:p>
          <a:p>
            <a:pPr marL="768096" lvl="1" indent="-457200">
              <a:buFont typeface="+mj-lt"/>
              <a:buAutoNum type="arabicPeriod"/>
            </a:pPr>
            <a:r>
              <a:rPr lang="en-US" dirty="0"/>
              <a:t>Due to the limitation on columnstore indexes, use of the sp_estimate_data_compression_savings system stored procedure with the COLUMNSTORE or COLUMNSTORE_ARCHIVE data compression parameter is not supported when Memory-Optimized TempDB Metadata is enabled.</a:t>
            </a:r>
          </a:p>
          <a:p>
            <a:pPr marL="768096" lvl="1" indent="-457200">
              <a:buFont typeface="+mj-lt"/>
              <a:buAutoNum type="arabicPeriod"/>
            </a:pPr>
            <a:endParaRPr lang="en-US" dirty="0"/>
          </a:p>
          <a:p>
            <a:pPr marL="768096" lvl="1" indent="-457200">
              <a:buFont typeface="+mj-lt"/>
              <a:buAutoNum type="arabicPeriod"/>
            </a:pPr>
            <a:endParaRPr lang="en-US" dirty="0"/>
          </a:p>
          <a:p>
            <a:r>
              <a:rPr lang="en-US" sz="900" kern="1200" baseline="0" dirty="0">
                <a:solidFill>
                  <a:schemeClr val="tx1"/>
                </a:solidFill>
                <a:effectLst/>
                <a:latin typeface="+mn-lt"/>
                <a:ea typeface="+mn-ea"/>
                <a:cs typeface="+mn-cs"/>
              </a:rPr>
              <a:t>How (and When) To: Memory Optimized TempDB Metadata</a:t>
            </a:r>
          </a:p>
          <a:p>
            <a:r>
              <a:rPr lang="en-US" sz="800" i="1" kern="1200" baseline="0" dirty="0">
                <a:solidFill>
                  <a:schemeClr val="tx1"/>
                </a:solidFill>
                <a:effectLst/>
                <a:latin typeface="+mn-lt"/>
                <a:ea typeface="+mn-ea"/>
                <a:cs typeface="+mn-cs"/>
              </a:rPr>
              <a:t>From &lt;</a:t>
            </a:r>
            <a:r>
              <a:rPr lang="en-US" sz="800" i="1" kern="1200" baseline="0" dirty="0">
                <a:solidFill>
                  <a:schemeClr val="tx1"/>
                </a:solidFill>
                <a:effectLst/>
                <a:latin typeface="+mn-lt"/>
                <a:ea typeface="+mn-ea"/>
                <a:cs typeface="+mn-cs"/>
                <a:hlinkClick r:id="rId3"/>
              </a:rPr>
              <a:t>https://channel9.msdn.com/Shows/Data-Exposed/How-and-When-To-Memory-Optimized-TempDB-Metadata?term=tempdb&amp;lang-en=true</a:t>
            </a:r>
            <a:r>
              <a:rPr lang="en-US" sz="800" i="1" kern="1200" baseline="0" dirty="0">
                <a:solidFill>
                  <a:schemeClr val="tx1"/>
                </a:solidFill>
                <a:effectLst/>
                <a:latin typeface="+mn-lt"/>
                <a:ea typeface="+mn-ea"/>
                <a:cs typeface="+mn-cs"/>
              </a:rPr>
              <a:t>&gt; </a:t>
            </a:r>
            <a:endParaRPr lang="en-US" sz="900" kern="1200" baseline="0" dirty="0">
              <a:solidFill>
                <a:schemeClr val="tx1"/>
              </a:solidFill>
              <a:effectLst/>
              <a:latin typeface="+mn-lt"/>
              <a:ea typeface="+mn-ea"/>
              <a:cs typeface="+mn-cs"/>
            </a:endParaRPr>
          </a:p>
          <a:p>
            <a:pPr marL="310896" lvl="1" indent="0">
              <a:buFont typeface="+mj-lt"/>
              <a:buNone/>
            </a:pP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4</a:t>
            </a:fld>
            <a:endParaRPr lang="en-US" noProof="0" dirty="0"/>
          </a:p>
        </p:txBody>
      </p:sp>
    </p:spTree>
    <p:extLst>
      <p:ext uri="{BB962C8B-B14F-4D97-AF65-F5344CB8AC3E}">
        <p14:creationId xmlns:p14="http://schemas.microsoft.com/office/powerpoint/2010/main" val="143063678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There are some cases where having multiple files alone does not completely address PFS contention. For these cases, we have implemented a fix where we not only round robin between the files, we also round robin between the PFS pages within the files, allowing us to spread the object allocations across all the files and within the files themselves.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r>
              <a:rPr lang="en-US" sz="882" kern="1200" baseline="0" dirty="0">
                <a:solidFill>
                  <a:schemeClr val="tx1"/>
                </a:solidFill>
                <a:effectLst/>
                <a:latin typeface="+mn-lt"/>
                <a:ea typeface="+mn-ea"/>
                <a:cs typeface="+mn-cs"/>
              </a:rPr>
              <a:t>TEMPDB – Files and Trace Flags and Updates, Oh My!</a:t>
            </a:r>
          </a:p>
          <a:p>
            <a:r>
              <a:rPr lang="en-US" sz="882" i="1" kern="1200" baseline="0" dirty="0">
                <a:solidFill>
                  <a:schemeClr val="tx1"/>
                </a:solidFill>
                <a:effectLst/>
                <a:latin typeface="+mn-lt"/>
                <a:ea typeface="+mn-ea"/>
                <a:cs typeface="+mn-cs"/>
              </a:rPr>
              <a:t>From &lt;https://techcommunity.microsoft.com/t5/sql-server/tempdb-files-and-trace-flags-and-updates-oh-my/ba-p/385937&gt;</a:t>
            </a:r>
            <a:endParaRPr lang="en-US" sz="882"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5</a:t>
            </a:fld>
            <a:endParaRPr lang="en-US" noProof="0" dirty="0"/>
          </a:p>
        </p:txBody>
      </p:sp>
    </p:spTree>
    <p:extLst>
      <p:ext uri="{BB962C8B-B14F-4D97-AF65-F5344CB8AC3E}">
        <p14:creationId xmlns:p14="http://schemas.microsoft.com/office/powerpoint/2010/main" val="344938923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882" kern="1200" baseline="0" dirty="0">
                <a:solidFill>
                  <a:schemeClr val="tx1"/>
                </a:solidFill>
                <a:effectLst/>
                <a:latin typeface="+mn-lt"/>
                <a:ea typeface="+mn-ea"/>
                <a:cs typeface="+mn-cs"/>
              </a:rPr>
              <a:t>M02L07Demo01</a:t>
            </a: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Advanced: Tempdb Just Runs Fast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github.com/microsoft/sqlworkshops/blob/master/sql2019workshop/sql2019wks/02_IntelligentPerformance.md#-----22-advanced-tempdb-just-runs-fast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pPr lvl="0" defTabSz="914460">
              <a:lnSpc>
                <a:spcPct val="90000"/>
              </a:lnSpc>
              <a:spcAft>
                <a:spcPts val="333"/>
              </a:spcAft>
              <a:defRPr/>
            </a:pPr>
            <a:endParaRPr lang="en-US" sz="882" b="1" noProof="1">
              <a:solidFill>
                <a:prstClr val="black"/>
              </a:solidFill>
              <a:latin typeface="Segoe UI Light" pitchFamily="34" charset="0"/>
            </a:endParaRPr>
          </a:p>
          <a:p>
            <a:r>
              <a:rPr lang="en-US" sz="882" kern="1200" baseline="0" dirty="0">
                <a:solidFill>
                  <a:schemeClr val="tx1"/>
                </a:solidFill>
                <a:effectLst/>
                <a:latin typeface="+mn-lt"/>
                <a:ea typeface="+mn-ea"/>
                <a:cs typeface="+mn-cs"/>
              </a:rPr>
              <a:t>How (and When) To: Memory Optimized TempDB Metadata</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channel9.msdn.com/Shows/Data-Exposed/How-and-When-To-Memory-Optimized-TempDB-Metadata?term=tempdb&amp;lang-en=true</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pPr lvl="0" defTabSz="914460">
              <a:lnSpc>
                <a:spcPct val="90000"/>
              </a:lnSpc>
              <a:spcAft>
                <a:spcPts val="333"/>
              </a:spcAft>
              <a:defRPr/>
            </a:pPr>
            <a:endParaRPr lang="en-US" sz="882" b="1" noProof="1">
              <a:solidFill>
                <a:prstClr val="black"/>
              </a:solidFill>
              <a:latin typeface="Segoe UI Light" pitchFamily="34" charset="0"/>
            </a:endParaRPr>
          </a:p>
          <a:p>
            <a:pPr lvl="0" defTabSz="914460">
              <a:lnSpc>
                <a:spcPct val="90000"/>
              </a:lnSpc>
              <a:spcAft>
                <a:spcPts val="333"/>
              </a:spcAft>
              <a:defRPr/>
            </a:pPr>
            <a:endParaRPr lang="en-US" sz="882" b="1" noProof="1">
              <a:solidFill>
                <a:prstClr val="black"/>
              </a:solidFill>
              <a:latin typeface="Segoe UI Light" pitchFamily="34" charset="0"/>
            </a:endParaRPr>
          </a:p>
          <a:p>
            <a:pPr lvl="0" defTabSz="914460">
              <a:lnSpc>
                <a:spcPct val="90000"/>
              </a:lnSpc>
              <a:spcAft>
                <a:spcPts val="333"/>
              </a:spcAft>
              <a:defRPr/>
            </a:pPr>
            <a:r>
              <a:rPr lang="en-US" sz="882" b="1" noProof="1">
                <a:solidFill>
                  <a:prstClr val="black"/>
                </a:solidFill>
                <a:latin typeface="Segoe UI Light" pitchFamily="34" charset="0"/>
              </a:rPr>
              <a:t>STEP 1: Open Windows Performance Monitor</a:t>
            </a:r>
          </a:p>
          <a:p>
            <a:pPr lvl="0" defTabSz="914460">
              <a:lnSpc>
                <a:spcPct val="90000"/>
              </a:lnSpc>
              <a:spcAft>
                <a:spcPts val="333"/>
              </a:spcAft>
              <a:defRPr/>
            </a:pPr>
            <a:r>
              <a:rPr lang="en-US" sz="882" i="1" noProof="1">
                <a:solidFill>
                  <a:prstClr val="black"/>
                </a:solidFill>
                <a:latin typeface="Segoe UI Light" pitchFamily="34" charset="0"/>
              </a:rPr>
              <a:t>E:\Demos\</a:t>
            </a:r>
            <a:r>
              <a:rPr lang="en-US" sz="882" i="1" kern="1200" baseline="0" dirty="0">
                <a:solidFill>
                  <a:schemeClr val="tx1"/>
                </a:solidFill>
                <a:effectLst/>
                <a:latin typeface="+mn-lt"/>
                <a:ea typeface="+mn-ea"/>
                <a:cs typeface="+mn-cs"/>
              </a:rPr>
              <a:t>M02L07Demo01</a:t>
            </a:r>
            <a:r>
              <a:rPr lang="en-US" sz="882" i="1" noProof="1">
                <a:solidFill>
                  <a:prstClr val="black"/>
                </a:solidFill>
                <a:latin typeface="Segoe UI Light" pitchFamily="34" charset="0"/>
              </a:rPr>
              <a:t>\M0L07_PerfCounters.PerfmonCfg</a:t>
            </a:r>
          </a:p>
          <a:p>
            <a:pPr lvl="0" defTabSz="914460">
              <a:lnSpc>
                <a:spcPct val="90000"/>
              </a:lnSpc>
              <a:spcAft>
                <a:spcPts val="333"/>
              </a:spcAft>
              <a:defRPr/>
            </a:pPr>
            <a:endParaRPr lang="en-US" sz="882" noProof="1">
              <a:solidFill>
                <a:prstClr val="black"/>
              </a:solidFill>
              <a:latin typeface="Segoe UI Light" pitchFamily="34" charset="0"/>
            </a:endParaRPr>
          </a:p>
          <a:p>
            <a:pPr lvl="0" defTabSz="914460">
              <a:lnSpc>
                <a:spcPct val="90000"/>
              </a:lnSpc>
              <a:spcAft>
                <a:spcPts val="333"/>
              </a:spcAft>
              <a:defRPr/>
            </a:pPr>
            <a:r>
              <a:rPr lang="en-US" sz="882" b="1" noProof="1">
                <a:solidFill>
                  <a:prstClr val="black"/>
                </a:solidFill>
                <a:latin typeface="Segoe UI Light" pitchFamily="34" charset="0"/>
              </a:rPr>
              <a:t>STEP 2: Create a procedure for the tempdb workload</a:t>
            </a:r>
          </a:p>
          <a:p>
            <a:pPr lvl="0" defTabSz="914460">
              <a:lnSpc>
                <a:spcPct val="90000"/>
              </a:lnSpc>
              <a:spcAft>
                <a:spcPts val="333"/>
              </a:spcAft>
              <a:defRPr/>
            </a:pPr>
            <a:r>
              <a:rPr lang="en-US" sz="882" i="1" noProof="1">
                <a:solidFill>
                  <a:prstClr val="black"/>
                </a:solidFill>
                <a:latin typeface="Segoe UI Light" pitchFamily="34" charset="0"/>
              </a:rPr>
              <a:t>E:\Demos\</a:t>
            </a:r>
            <a:r>
              <a:rPr lang="en-US" sz="882" i="1" kern="1200" baseline="0" dirty="0">
                <a:solidFill>
                  <a:schemeClr val="tx1"/>
                </a:solidFill>
                <a:effectLst/>
                <a:latin typeface="+mn-lt"/>
                <a:ea typeface="+mn-ea"/>
                <a:cs typeface="+mn-cs"/>
              </a:rPr>
              <a:t>M02L07Demo01</a:t>
            </a:r>
            <a:r>
              <a:rPr lang="en-US" sz="882" i="1" noProof="1">
                <a:solidFill>
                  <a:prstClr val="black"/>
                </a:solidFill>
                <a:latin typeface="Segoe UI Light" pitchFamily="34" charset="0"/>
              </a:rPr>
              <a:t>\tempdb\01_setup_repro.cmd</a:t>
            </a:r>
          </a:p>
          <a:p>
            <a:pPr lvl="0" defTabSz="914460">
              <a:lnSpc>
                <a:spcPct val="90000"/>
              </a:lnSpc>
              <a:spcAft>
                <a:spcPts val="333"/>
              </a:spcAft>
              <a:defRPr/>
            </a:pPr>
            <a:endParaRPr lang="en-US" sz="882" noProof="1">
              <a:solidFill>
                <a:prstClr val="black"/>
              </a:solidFill>
              <a:latin typeface="Segoe UI Light" pitchFamily="34" charset="0"/>
            </a:endParaRPr>
          </a:p>
          <a:p>
            <a:pPr lvl="0" defTabSz="914460">
              <a:lnSpc>
                <a:spcPct val="90000"/>
              </a:lnSpc>
              <a:spcAft>
                <a:spcPts val="333"/>
              </a:spcAft>
              <a:defRPr/>
            </a:pPr>
            <a:r>
              <a:rPr lang="en-US" sz="882" b="1" noProof="1">
                <a:solidFill>
                  <a:prstClr val="black"/>
                </a:solidFill>
                <a:latin typeface="Segoe UI Light" pitchFamily="34" charset="0"/>
              </a:rPr>
              <a:t>STEP 3: Run a tempdb workload</a:t>
            </a:r>
          </a:p>
          <a:p>
            <a:pPr lvl="0" defTabSz="914460">
              <a:lnSpc>
                <a:spcPct val="90000"/>
              </a:lnSpc>
              <a:spcAft>
                <a:spcPts val="333"/>
              </a:spcAft>
              <a:defRPr/>
            </a:pPr>
            <a:r>
              <a:rPr lang="en-US" sz="882" i="1" noProof="1">
                <a:solidFill>
                  <a:prstClr val="black"/>
                </a:solidFill>
                <a:latin typeface="Segoe UI Light" pitchFamily="34" charset="0"/>
              </a:rPr>
              <a:t>E:\Demos\</a:t>
            </a:r>
            <a:r>
              <a:rPr lang="en-US" sz="882" i="1" kern="1200" baseline="0" dirty="0">
                <a:solidFill>
                  <a:schemeClr val="tx1"/>
                </a:solidFill>
                <a:effectLst/>
                <a:latin typeface="+mn-lt"/>
                <a:ea typeface="+mn-ea"/>
                <a:cs typeface="+mn-cs"/>
              </a:rPr>
              <a:t>M02L07Demo01</a:t>
            </a:r>
            <a:r>
              <a:rPr lang="en-US" sz="882" i="1" noProof="1">
                <a:solidFill>
                  <a:prstClr val="black"/>
                </a:solidFill>
                <a:latin typeface="Segoe UI Light" pitchFamily="34" charset="0"/>
              </a:rPr>
              <a:t>\tempdb\02_tempstress.cmd</a:t>
            </a:r>
          </a:p>
          <a:p>
            <a:pPr lvl="0" defTabSz="914460">
              <a:lnSpc>
                <a:spcPct val="90000"/>
              </a:lnSpc>
              <a:spcAft>
                <a:spcPts val="333"/>
              </a:spcAft>
              <a:defRPr/>
            </a:pPr>
            <a:endParaRPr lang="en-US" sz="882" noProof="1">
              <a:solidFill>
                <a:prstClr val="black"/>
              </a:solidFill>
              <a:latin typeface="Segoe UI Light" pitchFamily="34" charset="0"/>
            </a:endParaRPr>
          </a:p>
          <a:p>
            <a:pPr lvl="0" defTabSz="914460">
              <a:lnSpc>
                <a:spcPct val="90000"/>
              </a:lnSpc>
              <a:spcAft>
                <a:spcPts val="333"/>
              </a:spcAft>
              <a:defRPr/>
            </a:pPr>
            <a:r>
              <a:rPr lang="en-US" sz="882" b="1" noProof="1">
                <a:solidFill>
                  <a:prstClr val="black"/>
                </a:solidFill>
                <a:latin typeface="Segoe UI Light" pitchFamily="34" charset="0"/>
              </a:rPr>
              <a:t>STEP 4: Observe performance monitor counters</a:t>
            </a:r>
          </a:p>
          <a:p>
            <a:pPr lvl="0" defTabSz="914460">
              <a:lnSpc>
                <a:spcPct val="90000"/>
              </a:lnSpc>
              <a:spcAft>
                <a:spcPts val="333"/>
              </a:spcAft>
              <a:defRPr/>
            </a:pPr>
            <a:endParaRPr lang="en-US" sz="882" noProof="1">
              <a:solidFill>
                <a:prstClr val="black"/>
              </a:solidFill>
              <a:latin typeface="Segoe UI Light" pitchFamily="34" charset="0"/>
            </a:endParaRPr>
          </a:p>
          <a:p>
            <a:pPr lvl="0" defTabSz="914460">
              <a:lnSpc>
                <a:spcPct val="90000"/>
              </a:lnSpc>
              <a:spcAft>
                <a:spcPts val="333"/>
              </a:spcAft>
              <a:defRPr/>
            </a:pPr>
            <a:r>
              <a:rPr lang="en-US" sz="882" b="1" noProof="1">
                <a:solidFill>
                  <a:prstClr val="black"/>
                </a:solidFill>
                <a:latin typeface="Segoe UI Light" pitchFamily="34" charset="0"/>
              </a:rPr>
              <a:t>STEP 5: Use T-SQL find out what object belongs to the page latch waits</a:t>
            </a:r>
          </a:p>
          <a:p>
            <a:pPr lvl="0" defTabSz="914460">
              <a:lnSpc>
                <a:spcPct val="90000"/>
              </a:lnSpc>
              <a:spcAft>
                <a:spcPts val="333"/>
              </a:spcAft>
              <a:defRPr/>
            </a:pPr>
            <a:r>
              <a:rPr lang="en-US" sz="882" i="1" noProof="1">
                <a:solidFill>
                  <a:prstClr val="black"/>
                </a:solidFill>
                <a:latin typeface="Segoe UI Light" pitchFamily="34" charset="0"/>
              </a:rPr>
              <a:t>E:\Demos\</a:t>
            </a:r>
            <a:r>
              <a:rPr lang="en-US" sz="882" i="1" kern="1200" baseline="0" dirty="0">
                <a:solidFill>
                  <a:schemeClr val="tx1"/>
                </a:solidFill>
                <a:effectLst/>
                <a:latin typeface="+mn-lt"/>
                <a:ea typeface="+mn-ea"/>
                <a:cs typeface="+mn-cs"/>
              </a:rPr>
              <a:t>M02L07Demo01</a:t>
            </a:r>
            <a:r>
              <a:rPr lang="en-US" sz="882" i="1" noProof="1">
                <a:solidFill>
                  <a:prstClr val="black"/>
                </a:solidFill>
                <a:latin typeface="Segoe UI Light" pitchFamily="34" charset="0"/>
              </a:rPr>
              <a:t>\tempdb\03_pageinfo.sql </a:t>
            </a:r>
          </a:p>
          <a:p>
            <a:pPr lvl="0" defTabSz="914460">
              <a:lnSpc>
                <a:spcPct val="90000"/>
              </a:lnSpc>
              <a:spcAft>
                <a:spcPts val="333"/>
              </a:spcAft>
              <a:defRPr/>
            </a:pPr>
            <a:endParaRPr lang="en-US" sz="882" noProof="1">
              <a:solidFill>
                <a:prstClr val="black"/>
              </a:solidFill>
              <a:latin typeface="Segoe UI Light" pitchFamily="34" charset="0"/>
            </a:endParaRPr>
          </a:p>
          <a:p>
            <a:pPr lvl="0" defTabSz="914460">
              <a:lnSpc>
                <a:spcPct val="90000"/>
              </a:lnSpc>
              <a:spcAft>
                <a:spcPts val="333"/>
              </a:spcAft>
              <a:defRPr/>
            </a:pPr>
            <a:r>
              <a:rPr lang="en-US" sz="882" b="1" noProof="1">
                <a:solidFill>
                  <a:prstClr val="black"/>
                </a:solidFill>
                <a:latin typeface="Segoe UI Light" pitchFamily="34" charset="0"/>
              </a:rPr>
              <a:t>STEP 6: Observe the total duration of the workload</a:t>
            </a:r>
          </a:p>
          <a:p>
            <a:pPr lvl="0" defTabSz="914460">
              <a:lnSpc>
                <a:spcPct val="90000"/>
              </a:lnSpc>
              <a:spcAft>
                <a:spcPts val="333"/>
              </a:spcAft>
              <a:defRPr/>
            </a:pPr>
            <a:r>
              <a:rPr lang="en-US" sz="882" noProof="1">
                <a:solidFill>
                  <a:prstClr val="black"/>
                </a:solidFill>
                <a:latin typeface="Segoe UI Light" pitchFamily="34" charset="0"/>
              </a:rPr>
              <a:t>OSTRESS exiting normally, elapsed time: hh:mm:ss.ms</a:t>
            </a:r>
          </a:p>
          <a:p>
            <a:pPr lvl="0" defTabSz="914460">
              <a:lnSpc>
                <a:spcPct val="90000"/>
              </a:lnSpc>
              <a:spcAft>
                <a:spcPts val="333"/>
              </a:spcAft>
              <a:defRPr/>
            </a:pPr>
            <a:endParaRPr lang="en-US" sz="882" noProof="1">
              <a:solidFill>
                <a:prstClr val="black"/>
              </a:solidFill>
              <a:latin typeface="Segoe UI Light" pitchFamily="34" charset="0"/>
            </a:endParaRPr>
          </a:p>
          <a:p>
            <a:pPr lvl="0" defTabSz="914460">
              <a:lnSpc>
                <a:spcPct val="90000"/>
              </a:lnSpc>
              <a:spcAft>
                <a:spcPts val="333"/>
              </a:spcAft>
              <a:defRPr/>
            </a:pPr>
            <a:r>
              <a:rPr lang="en-US" sz="882" b="1" noProof="1">
                <a:solidFill>
                  <a:prstClr val="black"/>
                </a:solidFill>
                <a:latin typeface="Segoe UI Light" pitchFamily="34" charset="0"/>
              </a:rPr>
              <a:t>STEP 7: Enable Optimize Tempdb Metadata</a:t>
            </a:r>
          </a:p>
          <a:p>
            <a:pPr lvl="0" defTabSz="914460">
              <a:lnSpc>
                <a:spcPct val="90000"/>
              </a:lnSpc>
              <a:spcAft>
                <a:spcPts val="333"/>
              </a:spcAft>
              <a:defRPr/>
            </a:pPr>
            <a:r>
              <a:rPr lang="en-US" sz="882" i="1" noProof="1">
                <a:solidFill>
                  <a:prstClr val="black"/>
                </a:solidFill>
                <a:latin typeface="Segoe UI Light" pitchFamily="34" charset="0"/>
              </a:rPr>
              <a:t>E:\Demos\</a:t>
            </a:r>
            <a:r>
              <a:rPr lang="en-US" sz="882" i="1" kern="1200" baseline="0" dirty="0">
                <a:solidFill>
                  <a:schemeClr val="tx1"/>
                </a:solidFill>
                <a:effectLst/>
                <a:latin typeface="+mn-lt"/>
                <a:ea typeface="+mn-ea"/>
                <a:cs typeface="+mn-cs"/>
              </a:rPr>
              <a:t>M02L07Demo01</a:t>
            </a:r>
            <a:r>
              <a:rPr lang="en-US" sz="882" i="1" noProof="1">
                <a:solidFill>
                  <a:prstClr val="black"/>
                </a:solidFill>
                <a:latin typeface="Segoe UI Light" pitchFamily="34" charset="0"/>
              </a:rPr>
              <a:t>\tempdb\04_optimizetempdb.cmd </a:t>
            </a:r>
          </a:p>
          <a:p>
            <a:pPr lvl="0" defTabSz="914460">
              <a:lnSpc>
                <a:spcPct val="90000"/>
              </a:lnSpc>
              <a:spcAft>
                <a:spcPts val="333"/>
              </a:spcAft>
              <a:defRPr/>
            </a:pPr>
            <a:endParaRPr lang="en-US" sz="882" noProof="1">
              <a:solidFill>
                <a:prstClr val="black"/>
              </a:solidFill>
              <a:latin typeface="Segoe UI Light" pitchFamily="34" charset="0"/>
            </a:endParaRPr>
          </a:p>
          <a:p>
            <a:pPr lvl="0" defTabSz="914460">
              <a:lnSpc>
                <a:spcPct val="90000"/>
              </a:lnSpc>
              <a:spcAft>
                <a:spcPts val="333"/>
              </a:spcAft>
              <a:defRPr/>
            </a:pPr>
            <a:r>
              <a:rPr lang="en-US" sz="882" b="1" noProof="1">
                <a:solidFill>
                  <a:prstClr val="black"/>
                </a:solidFill>
                <a:latin typeface="Segoe UI Light" pitchFamily="34" charset="0"/>
              </a:rPr>
              <a:t>STEP 8: Run the tempdb workload again</a:t>
            </a:r>
          </a:p>
          <a:p>
            <a:pPr lvl="0" defTabSz="914460">
              <a:lnSpc>
                <a:spcPct val="90000"/>
              </a:lnSpc>
              <a:spcAft>
                <a:spcPts val="333"/>
              </a:spcAft>
              <a:defRPr/>
            </a:pPr>
            <a:r>
              <a:rPr lang="en-US" sz="882" i="1" noProof="1">
                <a:solidFill>
                  <a:prstClr val="black"/>
                </a:solidFill>
                <a:latin typeface="Segoe UI Light" pitchFamily="34" charset="0"/>
              </a:rPr>
              <a:t>E:\Demos\</a:t>
            </a:r>
            <a:r>
              <a:rPr lang="en-US" sz="882" i="1" kern="1200" baseline="0" dirty="0">
                <a:solidFill>
                  <a:schemeClr val="tx1"/>
                </a:solidFill>
                <a:effectLst/>
                <a:latin typeface="+mn-lt"/>
                <a:ea typeface="+mn-ea"/>
                <a:cs typeface="+mn-cs"/>
              </a:rPr>
              <a:t>M02L07Demo01</a:t>
            </a:r>
            <a:r>
              <a:rPr lang="en-US" sz="882" i="1" noProof="1">
                <a:solidFill>
                  <a:prstClr val="black"/>
                </a:solidFill>
                <a:latin typeface="Segoe UI Light" pitchFamily="34" charset="0"/>
              </a:rPr>
              <a:t>\tempdb\02_tempstress.cmd</a:t>
            </a:r>
          </a:p>
          <a:p>
            <a:pPr lvl="0" defTabSz="914460">
              <a:lnSpc>
                <a:spcPct val="90000"/>
              </a:lnSpc>
              <a:spcAft>
                <a:spcPts val="333"/>
              </a:spcAft>
              <a:defRPr/>
            </a:pPr>
            <a:endParaRPr lang="en-US" sz="882" noProof="1">
              <a:solidFill>
                <a:prstClr val="black"/>
              </a:solidFill>
              <a:latin typeface="Segoe UI Light" pitchFamily="34" charset="0"/>
            </a:endParaRPr>
          </a:p>
          <a:p>
            <a:pPr lvl="0" defTabSz="914460">
              <a:lnSpc>
                <a:spcPct val="90000"/>
              </a:lnSpc>
              <a:spcAft>
                <a:spcPts val="333"/>
              </a:spcAft>
              <a:defRPr/>
            </a:pPr>
            <a:r>
              <a:rPr lang="en-US" sz="882" b="1" noProof="1">
                <a:solidFill>
                  <a:prstClr val="black"/>
                </a:solidFill>
                <a:latin typeface="Segoe UI Light" pitchFamily="34" charset="0"/>
              </a:rPr>
              <a:t>STEP 9: Observe performance counters again</a:t>
            </a:r>
          </a:p>
          <a:p>
            <a:pPr lvl="0" defTabSz="914460">
              <a:lnSpc>
                <a:spcPct val="90000"/>
              </a:lnSpc>
              <a:spcAft>
                <a:spcPts val="333"/>
              </a:spcAft>
              <a:defRPr/>
            </a:pPr>
            <a:endParaRPr lang="en-US" sz="882" b="1" noProof="1">
              <a:solidFill>
                <a:prstClr val="black"/>
              </a:solidFill>
              <a:latin typeface="Segoe UI Light" pitchFamily="34" charset="0"/>
            </a:endParaRPr>
          </a:p>
          <a:p>
            <a:pPr lvl="0" defTabSz="914460">
              <a:lnSpc>
                <a:spcPct val="90000"/>
              </a:lnSpc>
              <a:spcAft>
                <a:spcPts val="333"/>
              </a:spcAft>
              <a:defRPr/>
            </a:pPr>
            <a:r>
              <a:rPr lang="en-US" sz="882" b="1" noProof="1">
                <a:solidFill>
                  <a:prstClr val="black"/>
                </a:solidFill>
                <a:latin typeface="Segoe UI Light" pitchFamily="34" charset="0"/>
              </a:rPr>
              <a:t>STEP 10: Use T-SQL and look for page latch waits</a:t>
            </a:r>
          </a:p>
          <a:p>
            <a:pPr lvl="0" defTabSz="914460">
              <a:lnSpc>
                <a:spcPct val="90000"/>
              </a:lnSpc>
              <a:spcAft>
                <a:spcPts val="333"/>
              </a:spcAft>
              <a:defRPr/>
            </a:pPr>
            <a:r>
              <a:rPr lang="en-US" sz="882" i="1" noProof="1">
                <a:solidFill>
                  <a:prstClr val="black"/>
                </a:solidFill>
                <a:latin typeface="Segoe UI Light" pitchFamily="34" charset="0"/>
              </a:rPr>
              <a:t>E:\Demos\</a:t>
            </a:r>
            <a:r>
              <a:rPr lang="en-US" sz="882" i="1" kern="1200" baseline="0" dirty="0">
                <a:solidFill>
                  <a:schemeClr val="tx1"/>
                </a:solidFill>
                <a:effectLst/>
                <a:latin typeface="+mn-lt"/>
                <a:ea typeface="+mn-ea"/>
                <a:cs typeface="+mn-cs"/>
              </a:rPr>
              <a:t>M02L07Demo01</a:t>
            </a:r>
            <a:r>
              <a:rPr lang="en-US" sz="882" i="1" noProof="1">
                <a:solidFill>
                  <a:prstClr val="black"/>
                </a:solidFill>
                <a:latin typeface="Segoe UI Light" pitchFamily="34" charset="0"/>
              </a:rPr>
              <a:t>\tempdb\03_pageinfo.sql </a:t>
            </a:r>
          </a:p>
          <a:p>
            <a:pPr lvl="0" defTabSz="914460">
              <a:lnSpc>
                <a:spcPct val="90000"/>
              </a:lnSpc>
              <a:spcAft>
                <a:spcPts val="333"/>
              </a:spcAft>
              <a:defRPr/>
            </a:pPr>
            <a:r>
              <a:rPr lang="en-US" sz="882" i="1" noProof="1">
                <a:solidFill>
                  <a:prstClr val="black"/>
                </a:solidFill>
                <a:latin typeface="Segoe UI Light" pitchFamily="34" charset="0"/>
              </a:rPr>
              <a:t>E:\Demos\</a:t>
            </a:r>
            <a:r>
              <a:rPr lang="en-US" sz="882" i="1" kern="1200" baseline="0" dirty="0">
                <a:solidFill>
                  <a:schemeClr val="tx1"/>
                </a:solidFill>
                <a:effectLst/>
                <a:latin typeface="+mn-lt"/>
                <a:ea typeface="+mn-ea"/>
                <a:cs typeface="+mn-cs"/>
              </a:rPr>
              <a:t>M02L07Demo01</a:t>
            </a:r>
            <a:r>
              <a:rPr lang="en-US" sz="882" i="1" noProof="1">
                <a:solidFill>
                  <a:prstClr val="black"/>
                </a:solidFill>
                <a:latin typeface="Segoe UI Light" pitchFamily="34" charset="0"/>
              </a:rPr>
              <a:t>\tempdb\ 06_find_memoptimized_tables.sql </a:t>
            </a:r>
          </a:p>
          <a:p>
            <a:pPr lvl="0" defTabSz="914460">
              <a:lnSpc>
                <a:spcPct val="90000"/>
              </a:lnSpc>
              <a:spcAft>
                <a:spcPts val="333"/>
              </a:spcAft>
              <a:defRPr/>
            </a:pPr>
            <a:endParaRPr lang="en-US" sz="882" noProof="1">
              <a:solidFill>
                <a:prstClr val="black"/>
              </a:solidFill>
              <a:latin typeface="Segoe UI Light" pitchFamily="34" charset="0"/>
            </a:endParaRPr>
          </a:p>
          <a:p>
            <a:pPr lvl="0" defTabSz="914460">
              <a:lnSpc>
                <a:spcPct val="90000"/>
              </a:lnSpc>
              <a:spcAft>
                <a:spcPts val="333"/>
              </a:spcAft>
              <a:defRPr/>
            </a:pPr>
            <a:r>
              <a:rPr lang="en-US" sz="882" b="1" noProof="1">
                <a:solidFill>
                  <a:prstClr val="black"/>
                </a:solidFill>
                <a:latin typeface="Segoe UI Light" pitchFamily="34" charset="0"/>
              </a:rPr>
              <a:t>STEP 11: Observe the total duration of the workload</a:t>
            </a:r>
          </a:p>
          <a:p>
            <a:pPr lvl="0" defTabSz="914460">
              <a:lnSpc>
                <a:spcPct val="90000"/>
              </a:lnSpc>
              <a:spcAft>
                <a:spcPts val="333"/>
              </a:spcAft>
              <a:defRPr/>
            </a:pPr>
            <a:r>
              <a:rPr lang="en-US" sz="882" noProof="1">
                <a:solidFill>
                  <a:prstClr val="black"/>
                </a:solidFill>
                <a:latin typeface="Segoe UI Light" pitchFamily="34" charset="0"/>
              </a:rPr>
              <a:t>OSTRESS exiting normally, elapsed time: hh:mm:ss.ms</a:t>
            </a:r>
          </a:p>
          <a:p>
            <a:pPr lvl="0" defTabSz="914460">
              <a:lnSpc>
                <a:spcPct val="90000"/>
              </a:lnSpc>
              <a:spcAft>
                <a:spcPts val="333"/>
              </a:spcAft>
              <a:defRPr/>
            </a:pPr>
            <a:endParaRPr lang="en-US" sz="882" noProof="1">
              <a:solidFill>
                <a:prstClr val="black"/>
              </a:solidFill>
              <a:latin typeface="Segoe UI Light" pitchFamily="34" charset="0"/>
            </a:endParaRPr>
          </a:p>
          <a:p>
            <a:pPr lvl="0" defTabSz="914460">
              <a:lnSpc>
                <a:spcPct val="90000"/>
              </a:lnSpc>
              <a:spcAft>
                <a:spcPts val="333"/>
              </a:spcAft>
              <a:defRPr/>
            </a:pPr>
            <a:r>
              <a:rPr lang="en-US" sz="882" b="1" noProof="1">
                <a:solidFill>
                  <a:prstClr val="black"/>
                </a:solidFill>
                <a:latin typeface="Segoe UI Light" pitchFamily="34" charset="0"/>
              </a:rPr>
              <a:t>STEP 12: Restore the environment</a:t>
            </a:r>
          </a:p>
          <a:p>
            <a:pPr lvl="0" defTabSz="914460">
              <a:lnSpc>
                <a:spcPct val="90000"/>
              </a:lnSpc>
              <a:spcAft>
                <a:spcPts val="333"/>
              </a:spcAft>
              <a:defRPr/>
            </a:pPr>
            <a:r>
              <a:rPr lang="en-US" sz="882" i="1" noProof="1">
                <a:solidFill>
                  <a:prstClr val="black"/>
                </a:solidFill>
                <a:latin typeface="Segoe UI Light" pitchFamily="34" charset="0"/>
              </a:rPr>
              <a:t>E:\Demos\</a:t>
            </a:r>
            <a:r>
              <a:rPr lang="en-US" sz="882" i="1" kern="1200" baseline="0" dirty="0">
                <a:solidFill>
                  <a:schemeClr val="tx1"/>
                </a:solidFill>
                <a:effectLst/>
                <a:latin typeface="+mn-lt"/>
                <a:ea typeface="+mn-ea"/>
                <a:cs typeface="+mn-cs"/>
              </a:rPr>
              <a:t>M02L07Demo01</a:t>
            </a:r>
            <a:r>
              <a:rPr lang="en-US" sz="882" i="1" noProof="1">
                <a:solidFill>
                  <a:prstClr val="black"/>
                </a:solidFill>
                <a:latin typeface="Segoe UI Light" pitchFamily="34" charset="0"/>
              </a:rPr>
              <a:t>\tempdb\ 05_disableopttempdb.cmd</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70820430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63783137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1) What is stored in TempDB?</a:t>
            </a:r>
          </a:p>
          <a:p>
            <a:pPr lvl="0"/>
            <a:r>
              <a:rPr lang="en-US" baseline="0" dirty="0"/>
              <a:t>A1) Temporary user objects, like:</a:t>
            </a:r>
            <a:endParaRPr lang="en-US" dirty="0"/>
          </a:p>
          <a:p>
            <a:pPr lvl="1"/>
            <a:r>
              <a:rPr lang="en-US" baseline="0" dirty="0"/>
              <a:t>Global or local temporary tables and indexes</a:t>
            </a:r>
            <a:endParaRPr lang="en-US" dirty="0"/>
          </a:p>
          <a:p>
            <a:pPr lvl="1"/>
            <a:r>
              <a:rPr lang="en-US" baseline="0" dirty="0"/>
              <a:t>Temporary stored procedures</a:t>
            </a:r>
            <a:endParaRPr lang="en-US" dirty="0"/>
          </a:p>
          <a:p>
            <a:pPr lvl="1"/>
            <a:r>
              <a:rPr lang="en-US" baseline="0" dirty="0"/>
              <a:t>Table variables</a:t>
            </a:r>
            <a:endParaRPr lang="en-US" dirty="0"/>
          </a:p>
          <a:p>
            <a:pPr lvl="1"/>
            <a:r>
              <a:rPr lang="en-US" baseline="0" dirty="0"/>
              <a:t>Tables returned in table-valued functions, or cursors</a:t>
            </a:r>
            <a:endParaRPr lang="en-US" dirty="0"/>
          </a:p>
          <a:p>
            <a:pPr lvl="0"/>
            <a:r>
              <a:rPr lang="en-US" baseline="0" dirty="0"/>
              <a:t>Internal objects </a:t>
            </a:r>
            <a:endParaRPr lang="en-US" dirty="0"/>
          </a:p>
          <a:p>
            <a:pPr lvl="1"/>
            <a:r>
              <a:rPr lang="en-US" baseline="0" dirty="0"/>
              <a:t>Worktables to store intermediate results for spools, cursors, sorts, and temporary LOB storage.</a:t>
            </a:r>
            <a:endParaRPr lang="en-US" dirty="0"/>
          </a:p>
          <a:p>
            <a:pPr lvl="1"/>
            <a:r>
              <a:rPr lang="en-US" baseline="0" dirty="0"/>
              <a:t>Work files for hash join or hash aggregate operations.</a:t>
            </a:r>
            <a:endParaRPr lang="en-US" dirty="0"/>
          </a:p>
          <a:p>
            <a:pPr lvl="1"/>
            <a:r>
              <a:rPr lang="en-US" baseline="0" dirty="0"/>
              <a:t>Intermediate sort results for operations such as creating or rebuilding indexes (if SORT_IN_TEMPDB is specified), or certain GROUP BY, ORDER BY, or UNION queries.</a:t>
            </a:r>
            <a:endParaRPr lang="en-US" dirty="0"/>
          </a:p>
          <a:p>
            <a:pPr lvl="0"/>
            <a:r>
              <a:rPr lang="en-US" baseline="0" dirty="0"/>
              <a:t>Version stores </a:t>
            </a:r>
            <a:endParaRPr lang="en-US" dirty="0"/>
          </a:p>
          <a:p>
            <a:pPr lvl="1"/>
            <a:r>
              <a:rPr lang="en-US" baseline="0" dirty="0"/>
              <a:t>Common version store.</a:t>
            </a:r>
            <a:endParaRPr lang="en-US" dirty="0"/>
          </a:p>
          <a:p>
            <a:pPr lvl="1"/>
            <a:r>
              <a:rPr lang="en-US" baseline="0" dirty="0"/>
              <a:t>Online-index-build version store. </a:t>
            </a:r>
            <a:endParaRPr lang="en-US" dirty="0"/>
          </a:p>
          <a:p>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2) How can you boost performance in TempDB?</a:t>
            </a:r>
          </a:p>
          <a:p>
            <a:r>
              <a:rPr lang="en-US" dirty="0"/>
              <a:t>A2) </a:t>
            </a:r>
            <a:r>
              <a:rPr lang="en-US" sz="900" baseline="0" dirty="0"/>
              <a:t>Consider:</a:t>
            </a:r>
          </a:p>
          <a:p>
            <a:pPr lvl="1"/>
            <a:r>
              <a:rPr lang="en-US" sz="900" baseline="0" dirty="0"/>
              <a:t>Instant file initialization</a:t>
            </a:r>
            <a:endParaRPr lang="en-US" sz="900" dirty="0"/>
          </a:p>
          <a:p>
            <a:pPr lvl="1"/>
            <a:r>
              <a:rPr lang="en-US" sz="900" baseline="0" dirty="0"/>
              <a:t>Pre-allocate space for all TempDB files</a:t>
            </a:r>
            <a:endParaRPr lang="en-US" sz="900" dirty="0"/>
          </a:p>
          <a:p>
            <a:pPr lvl="1"/>
            <a:r>
              <a:rPr lang="en-US" sz="900" baseline="0" dirty="0"/>
              <a:t>Divide TempDB into multiple data files of equal size</a:t>
            </a:r>
            <a:endParaRPr lang="en-US" sz="900" dirty="0"/>
          </a:p>
          <a:p>
            <a:pPr lvl="1"/>
            <a:r>
              <a:rPr lang="en-US" sz="900" baseline="0" dirty="0"/>
              <a:t>Put the TempDB database on a fast I/O subsystem</a:t>
            </a:r>
            <a:endParaRPr lang="en-US" sz="900" dirty="0"/>
          </a:p>
          <a:p>
            <a:pPr lvl="1"/>
            <a:r>
              <a:rPr lang="en-US" sz="900" baseline="0" dirty="0"/>
              <a:t>Use disk striping if there are many directly attached disks</a:t>
            </a:r>
            <a:endParaRPr lang="en-US" sz="900" dirty="0"/>
          </a:p>
          <a:p>
            <a:pPr lvl="1"/>
            <a:r>
              <a:rPr lang="en-US" sz="900" baseline="0" dirty="0"/>
              <a:t>Put the TempDB database on separate disks from user databases</a:t>
            </a:r>
            <a:endParaRPr lang="en-US" sz="900"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8</a:t>
            </a:fld>
            <a:endParaRPr lang="en-US" noProof="0" dirty="0"/>
          </a:p>
        </p:txBody>
      </p:sp>
    </p:spTree>
    <p:extLst>
      <p:ext uri="{BB962C8B-B14F-4D97-AF65-F5344CB8AC3E}">
        <p14:creationId xmlns:p14="http://schemas.microsoft.com/office/powerpoint/2010/main" val="10795403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ection describes the role of the </a:t>
            </a:r>
            <a:r>
              <a:rPr lang="en-US" b="1" dirty="0"/>
              <a:t>write-ahead transaction log </a:t>
            </a:r>
            <a:r>
              <a:rPr lang="en-US" dirty="0"/>
              <a:t>in recording data modifications to disk. SQL Server uses a write-ahead logging (WAL) algorithm, </a:t>
            </a:r>
            <a:r>
              <a:rPr lang="en-US" b="1" dirty="0"/>
              <a:t>which guarantees that no data modifications are written to disk before the associated log record is written to disk</a:t>
            </a:r>
            <a:r>
              <a:rPr lang="en-US" dirty="0"/>
              <a:t>. </a:t>
            </a:r>
            <a:r>
              <a:rPr lang="en-US" b="1" dirty="0"/>
              <a:t>This maintains the ACID properties for a transaction</a:t>
            </a:r>
            <a:r>
              <a:rPr lang="en-US" dirty="0"/>
              <a:t>.</a:t>
            </a:r>
          </a:p>
          <a:p>
            <a:endParaRPr lang="en-US" dirty="0"/>
          </a:p>
          <a:p>
            <a:r>
              <a:rPr lang="en-US" dirty="0"/>
              <a:t>To understand how the write-ahead log works, it is important for you to know how modified data is written to disk. SQL Server maintains a buffer cache into which it reads data pages when data must be retrieved. When a page is modified in the buffer cache, it is not immediately written back to disk; instead, the page is marked as dirty. A data page can have more than one logical write made before it is physically written to disk. For each logical write, a transaction log record is inserted in the log cache that records the modification. The log records must be written to disk before the associated dirty page is removed from the buffer cache and written to disk. The checkpoint process periodically scans the buffer cache for buffers with pages from a specified database and writes all dirty pages to disk. Checkpoints save time during a later recovery by creating a point at which all dirty pages are guaranteed to have been written to disk.</a:t>
            </a:r>
          </a:p>
          <a:p>
            <a:endParaRPr lang="en-US" dirty="0"/>
          </a:p>
          <a:p>
            <a:r>
              <a:rPr lang="en-US" dirty="0"/>
              <a:t>Writing a modified data page from the buffer cache to disk is called flushing the page. SQL Server has logic that prevents a dirty page from being flushed before the associated log record is written. Log records are written to disk when the log buffers are flushed. This happens whenever a transaction commits or the log buffers become full.</a:t>
            </a:r>
          </a:p>
          <a:p>
            <a:endParaRPr lang="en-US" dirty="0"/>
          </a:p>
          <a:p>
            <a:r>
              <a:rPr lang="en-US" b="1" dirty="0"/>
              <a:t>Key Points</a:t>
            </a:r>
            <a:r>
              <a:rPr lang="en-US" dirty="0"/>
              <a:t>:</a:t>
            </a:r>
          </a:p>
          <a:p>
            <a:pPr>
              <a:spcAft>
                <a:spcPts val="600"/>
              </a:spcAft>
            </a:pPr>
            <a:r>
              <a:rPr lang="en-US" dirty="0"/>
              <a:t>SQL Server uses the buffer pool to minimize the amount of disk I/O that must be done against the data file. When a page is required for a read or write operation, the buffer pool is checked first. If the page is already in the buffer pool, the operation can be satisfied from memory only.</a:t>
            </a:r>
          </a:p>
          <a:p>
            <a:pPr>
              <a:spcAft>
                <a:spcPts val="600"/>
              </a:spcAft>
            </a:pPr>
            <a:r>
              <a:rPr lang="en-US" dirty="0"/>
              <a:t>When a modification happens, the change is made to the data page in memory first, and then a log record is written to the transaction log file. The page will not be written out to disk until the CHECKPOINT process comes through and flushes changes out to the data file. If the SQL Server process is shut down unexpectedly and the memory space is lost, SQL Server uses the transaction log to bring the data file up to date with any changes that were committed before the crash but not persisted to disk. This is called recovery.</a:t>
            </a:r>
          </a:p>
          <a:p>
            <a:pPr>
              <a:spcAft>
                <a:spcPts val="600"/>
              </a:spcAft>
            </a:pPr>
            <a:r>
              <a:rPr lang="en-US" dirty="0"/>
              <a:t>To optimize the I/O, SQL Server will attempt to gather pages together so that larger chunks of a file can be read or written in a single operation. For reads, SQL Server has a read ahead mechanism that will read contiguous pages from an object in a single request if needed by a query. For writes, SQL Server will gather together a chunk of contiguous pages that have been modified so they can be written in a single request.</a:t>
            </a:r>
          </a:p>
          <a:p>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r>
              <a:rPr lang="en-US" dirty="0"/>
              <a:t>:</a:t>
            </a:r>
          </a:p>
          <a:p>
            <a:r>
              <a:rPr lang="en-US" sz="882" kern="1200" baseline="0" dirty="0">
                <a:solidFill>
                  <a:schemeClr val="tx1"/>
                </a:solidFill>
                <a:effectLst/>
                <a:latin typeface="+mn-lt"/>
                <a:ea typeface="+mn-ea"/>
                <a:cs typeface="+mn-cs"/>
              </a:rPr>
              <a:t>SQL Server Transaction Log Architecture and Management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sql-server-transaction-log-architecture-and-management-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ACID propertie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docs.microsoft.com/en-us/previous-versions/office/developer/server-technologies/aa480356(v=msdn.10)</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Write-Ahead Transaction Log</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5"/>
              </a:rPr>
              <a:t>https://docs.microsoft.com/en-us/sql/relational-databases/sql-server-transaction-log-architecture-and-management-guide?view=sql-server-ver15#WAL</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Writing Page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6"/>
              </a:rPr>
              <a:t>https://docs.microsoft.com/en-us/sql/relational-databases/writing-page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Analyzing I/O Characteristics and Sizing Storage Systems for SQL Server Database Applications </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7"/>
              </a:rPr>
              <a:t>https://docs.microsoft.com/en-us/previous-versions/sql/sql-server-2008/ee410782(v=sql.100)</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146258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a:spcAft>
                <a:spcPts val="600"/>
              </a:spcAft>
            </a:pPr>
            <a:r>
              <a:rPr lang="en-US" dirty="0"/>
              <a:t>The buffer pool generally represents the largest percentage of SQL Server memory. In NUMA systems, there will be a separate buffer pool node for each NUMA node. </a:t>
            </a:r>
          </a:p>
          <a:p>
            <a:pPr>
              <a:spcAft>
                <a:spcPts val="600"/>
              </a:spcAft>
            </a:pPr>
            <a:r>
              <a:rPr lang="en-US" dirty="0"/>
              <a:t>The buffer pool abstracts the physical location of data and provides caching functions. All data accessed by SQL Server goes through the buffer pool. Therefore, the buffer pool can determine the data that should be stored in the cache to boost performance for frequently used objects. </a:t>
            </a:r>
          </a:p>
          <a:p>
            <a:pPr>
              <a:spcAft>
                <a:spcPts val="600"/>
              </a:spcAft>
            </a:pPr>
            <a:r>
              <a:rPr lang="en-US" dirty="0"/>
              <a:t>There are two ways that the data is accessed from the buffer pool: </a:t>
            </a:r>
          </a:p>
          <a:p>
            <a:pPr marL="171450" indent="-171450">
              <a:spcAft>
                <a:spcPts val="600"/>
              </a:spcAft>
              <a:buFont typeface="Arial" pitchFamily="34" charset="0"/>
              <a:buChar char="•"/>
            </a:pPr>
            <a:r>
              <a:rPr lang="en-US" b="1" dirty="0"/>
              <a:t>Logical read</a:t>
            </a:r>
            <a:r>
              <a:rPr lang="en-US" dirty="0"/>
              <a:t>. Indicates that the data requested is already present in the cache. A logical read-only involves memory access, so the response time is optimum. </a:t>
            </a:r>
          </a:p>
          <a:p>
            <a:pPr marL="171450" indent="-171450">
              <a:spcAft>
                <a:spcPts val="600"/>
              </a:spcAft>
              <a:buFont typeface="Arial" pitchFamily="34" charset="0"/>
              <a:buChar char="•"/>
            </a:pPr>
            <a:r>
              <a:rPr lang="en-US" b="1" dirty="0"/>
              <a:t>Physical read</a:t>
            </a:r>
            <a:r>
              <a:rPr lang="en-US" dirty="0"/>
              <a:t>. Indicates that the data requested is not present in the cache, so the data must be found by using the database files. A physical read is a disk I/O operation, which is more expensive than memory access. When the I/O operation completes, the request is satisfied and the data is stored in the cache so that it can be accessed later. </a:t>
            </a:r>
          </a:p>
          <a:p>
            <a:pPr>
              <a:spcAft>
                <a:spcPts val="600"/>
              </a:spcAft>
            </a:pPr>
            <a:r>
              <a:rPr lang="en-US" dirty="0"/>
              <a:t>When a query runs, the database pages that contain the data required to return the query result may or may not be located in physical memory. The query does not have the notion of data locality; it simply requests the page from the buffer pool. </a:t>
            </a:r>
          </a:p>
          <a:p>
            <a:pPr>
              <a:spcAft>
                <a:spcPts val="600"/>
              </a:spcAft>
            </a:pPr>
            <a:r>
              <a:rPr lang="en-US" dirty="0"/>
              <a:t>If the pages are in memory, then there is a logical read of the page, which results in a </a:t>
            </a:r>
            <a:r>
              <a:rPr lang="en-US" i="1" dirty="0"/>
              <a:t>cache hit</a:t>
            </a:r>
            <a:r>
              <a:rPr lang="en-US" dirty="0"/>
              <a:t>. If the page is not in memory, then there needs to be a physical read of the page from the disk subsystem. This results in a </a:t>
            </a:r>
            <a:r>
              <a:rPr lang="en-US" i="1" dirty="0"/>
              <a:t>cache miss event</a:t>
            </a:r>
            <a:r>
              <a:rPr lang="en-US" dirty="0"/>
              <a:t>. </a:t>
            </a:r>
          </a:p>
          <a:p>
            <a:endParaRPr lang="en-US" b="1" dirty="0"/>
          </a:p>
          <a:p>
            <a:r>
              <a:rPr lang="en-US" b="1" dirty="0"/>
              <a:t>Additional Reading:</a:t>
            </a:r>
          </a:p>
          <a:p>
            <a:r>
              <a:rPr lang="en-US" i="1" dirty="0"/>
              <a:t>Buffer Management</a:t>
            </a:r>
          </a:p>
          <a:p>
            <a:r>
              <a:rPr lang="en-US" dirty="0">
                <a:hlinkClick r:id="rId4"/>
              </a:rPr>
              <a:t>https://docs.microsoft.com/en-us/previous-versions/sql/sql-server-2008-r2/aa337525(v=sql.105)</a:t>
            </a:r>
            <a:endParaRPr lang="en-US" i="1" dirty="0"/>
          </a:p>
          <a:p>
            <a:r>
              <a:rPr lang="en-US" i="1" dirty="0"/>
              <a:t>Growing and Shrinking the Buffer Pool Under NUMA</a:t>
            </a:r>
          </a:p>
          <a:p>
            <a:r>
              <a:rPr lang="en-US" dirty="0">
                <a:hlinkClick r:id="rId5"/>
              </a:rPr>
              <a:t>https://docs.microsoft.com/en-us/previous-versions/sql/sql-server-2008-r2/ms345403(v=sql.105)</a:t>
            </a:r>
            <a:endParaRPr lang="en-US" dirty="0"/>
          </a:p>
          <a:p>
            <a:endParaRPr lang="en-US" dirty="0"/>
          </a:p>
          <a:p>
            <a:endParaRPr lang="en-US" b="0" dirty="0"/>
          </a:p>
          <a:p>
            <a:endParaRPr lang="en-US" b="0" dirty="0"/>
          </a:p>
          <a:p>
            <a:endParaRPr lang="en-US" b="1" dirty="0"/>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 name="Slide Number Placeholder 8"/>
          <p:cNvSpPr>
            <a:spLocks noGrp="1"/>
          </p:cNvSpPr>
          <p:nvPr>
            <p:ph type="sldNum" sz="quarter" idx="10"/>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8418477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SET STATISTICS IO (Transact-SQL) - SQL Server | Microsoft Docs</a:t>
            </a:r>
            <a:endParaRPr lang="en-US" dirty="0"/>
          </a:p>
          <a:p>
            <a:r>
              <a:rPr lang="en-US" b="0" i="0" dirty="0">
                <a:solidFill>
                  <a:srgbClr val="E3E3E3"/>
                </a:solidFill>
                <a:effectLst/>
                <a:latin typeface="Segoe UI" panose="020B0502040204020203" pitchFamily="34" charset="0"/>
              </a:rPr>
              <a:t>Causes SQL Server to display information about the amount of disk activity generated by Transact-SQL statements.</a:t>
            </a:r>
            <a:endParaRPr lang="en-US" dirty="0"/>
          </a:p>
          <a:p>
            <a:endParaRPr lang="en-US" dirty="0"/>
          </a:p>
          <a:p>
            <a:endParaRPr lang="en-US" dirty="0"/>
          </a:p>
          <a:p>
            <a:r>
              <a:rPr lang="en-US" dirty="0">
                <a:hlinkClick r:id="rId4"/>
              </a:rPr>
              <a:t>SET STATISTICS TIME (Transact-SQL) - SQL Server | Microsoft Docs</a:t>
            </a:r>
            <a:endParaRPr lang="en-US" dirty="0"/>
          </a:p>
          <a:p>
            <a:r>
              <a:rPr lang="en-US" b="0" i="0" dirty="0">
                <a:solidFill>
                  <a:srgbClr val="E3E3E3"/>
                </a:solidFill>
                <a:effectLst/>
                <a:latin typeface="Segoe UI" panose="020B0502040204020203" pitchFamily="34" charset="0"/>
              </a:rPr>
              <a:t>Displays the number of milliseconds required to parse, compile, and execute each statement.</a:t>
            </a:r>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dirty="0"/>
          </a:p>
        </p:txBody>
      </p:sp>
    </p:spTree>
    <p:extLst>
      <p:ext uri="{BB962C8B-B14F-4D97-AF65-F5344CB8AC3E}">
        <p14:creationId xmlns:p14="http://schemas.microsoft.com/office/powerpoint/2010/main" val="33224067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6714309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14.emf"/></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3" Type="http://schemas.openxmlformats.org/officeDocument/2006/relationships/hyperlink" Target="http://www.microsoft.com/en-us/legal/intellectualproperty/Permissions/default.aspx" TargetMode="External"/><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hyperlink" Target="http://www.microsoft.com/en-us/legal/intellectualproperty/Permissions/default.aspx" TargetMode="External"/><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33630449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588565" y="6492876"/>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211433743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14" tIns="45706" rIns="91414" bIns="45706"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409244758"/>
      </p:ext>
    </p:extLst>
  </p:cSld>
  <p:clrMapOvr>
    <a:masterClrMapping/>
  </p:clrMapOvr>
  <p:hf sldNum="0" hdr="0" ftr="0" dt="0"/>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2009482310"/>
      </p:ext>
    </p:extLst>
  </p:cSld>
  <p:clrMapOvr>
    <a:masterClrMapping/>
  </p:clrMapOvr>
  <p:hf sldNum="0" hdr="0" ftr="0" dt="0"/>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9" y="1436689"/>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3931" indent="-164560">
              <a:spcBef>
                <a:spcPts val="330"/>
              </a:spcBef>
              <a:defRPr sz="1800" baseline="0"/>
            </a:lvl6pPr>
            <a:lvl7pPr marL="1023931" indent="-164560">
              <a:spcBef>
                <a:spcPts val="330"/>
              </a:spcBef>
              <a:defRPr sz="1800" baseline="0"/>
            </a:lvl7pPr>
            <a:lvl8pPr marL="1023931" indent="-164560">
              <a:spcBef>
                <a:spcPts val="330"/>
              </a:spcBef>
              <a:defRPr sz="1800" baseline="0"/>
            </a:lvl8pPr>
            <a:lvl9pPr marL="1023931" indent="-164560">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65034884"/>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720343"/>
          </a:xfrm>
        </p:spPr>
        <p:txBody>
          <a:bodyPr>
            <a:spAutoFit/>
          </a:bodyPr>
          <a:lstStyle>
            <a:lvl1pPr>
              <a:defRPr sz="352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240951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26665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092326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543050449"/>
      </p:ext>
    </p:extLst>
  </p:cSld>
  <p:clrMapOvr>
    <a:masterClrMapping/>
  </p:clrMapOvr>
  <p:hf sldNum="0" hdr="0" ftr="0" dt="0"/>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01162071"/>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3339538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93904663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588565" y="6492876"/>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313188982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6056467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387698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764471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67953045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42399760-211E-4D3F-67F0-4C48A48CBE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222879564"/>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0931847B-239F-97CC-DB26-6470EF9630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099663397"/>
      </p:ext>
    </p:extLst>
  </p:cSld>
  <p:clrMapOvr>
    <a:masterClrMapping/>
  </p:clrMapOvr>
  <p:hf sldNum="0" hdr="0" ftr="0" dt="0"/>
  <p:extLst>
    <p:ext uri="{DCECCB84-F9BA-43D5-87BE-67443E8EF086}">
      <p15:sldGuideLst xmlns:p15="http://schemas.microsoft.com/office/powerpoint/2012/main">
        <p15:guide id="15" orient="horz" pos="2160" userDrawn="1">
          <p15:clr>
            <a:srgbClr val="FFFFFF"/>
          </p15:clr>
        </p15:guide>
        <p15:guide id="16" pos="413" userDrawn="1">
          <p15:clr>
            <a:srgbClr val="FFFFFF"/>
          </p15:clr>
        </p15:guide>
        <p15:guide id="17" pos="3168" userDrawn="1">
          <p15:clr>
            <a:srgbClr val="FFFFFF"/>
          </p15:clr>
        </p15:guide>
        <p15:guide id="18" orient="horz" pos="1572" userDrawn="1">
          <p15:clr>
            <a:srgbClr val="FFFFFF"/>
          </p15:clr>
        </p15:guide>
        <p15:guide id="19" orient="horz" pos="2258" userDrawn="1">
          <p15:clr>
            <a:srgbClr val="FFFFFF"/>
          </p15:clr>
        </p15:guide>
        <p15:guide id="20" orient="horz" pos="2454" userDrawn="1">
          <p15:clr>
            <a:srgbClr val="FFFFFF"/>
          </p15:clr>
        </p15:guide>
        <p15:guide id="21" orient="horz" pos="2650" userDrawn="1">
          <p15:clr>
            <a:srgbClr val="FFFFF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CDEE51F0-78CA-6910-93E1-AB3943F2AF8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78196929"/>
      </p:ext>
    </p:extLst>
  </p:cSld>
  <p:clrMapOvr>
    <a:masterClrMapping/>
  </p:clrMapOvr>
  <p:hf sldNum="0" hdr="0" ftr="0" dt="0"/>
  <p:extLst>
    <p:ext uri="{DCECCB84-F9BA-43D5-87BE-67443E8EF086}">
      <p15:sldGuideLst xmlns:p15="http://schemas.microsoft.com/office/powerpoint/2012/main">
        <p15:guide id="16" orient="horz" pos="2160" userDrawn="1">
          <p15:clr>
            <a:srgbClr val="547EBF"/>
          </p15:clr>
        </p15:guide>
        <p15:guide id="17" orient="horz" pos="1572" userDrawn="1">
          <p15:clr>
            <a:srgbClr val="547EBF"/>
          </p15:clr>
        </p15:guide>
        <p15:guide id="18" orient="horz" pos="2258" userDrawn="1">
          <p15:clr>
            <a:srgbClr val="547EBF"/>
          </p15:clr>
        </p15:guide>
        <p15:guide id="19" orient="horz" pos="2454" userDrawn="1">
          <p15:clr>
            <a:srgbClr val="547EBF"/>
          </p15:clr>
        </p15:guide>
        <p15:guide id="20" orient="horz" pos="2650" userDrawn="1">
          <p15:clr>
            <a:srgbClr val="547EBF"/>
          </p15:clr>
        </p15:guide>
        <p15:guide id="21" pos="3155" userDrawn="1">
          <p15:clr>
            <a:srgbClr val="547EBF"/>
          </p15:clr>
        </p15:guide>
        <p15:guide id="22" pos="413" userDrawn="1">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8E871D65-E358-62D3-E797-B9362F5C9F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88861174"/>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110B2D99-5540-2A37-0FF4-675C61BE38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38659424"/>
      </p:ext>
    </p:extLst>
  </p:cSld>
  <p:clrMapOvr>
    <a:masterClrMapping/>
  </p:clrMapOvr>
  <p:hf sldNum="0" hdr="0" ftr="0" dt="0"/>
  <p:extLst>
    <p:ext uri="{DCECCB84-F9BA-43D5-87BE-67443E8EF086}">
      <p15:sldGuideLst xmlns:p15="http://schemas.microsoft.com/office/powerpoint/2012/main">
        <p15:guide id="16" orient="horz" pos="2160" userDrawn="1">
          <p15:clr>
            <a:srgbClr val="A4A3A4"/>
          </p15:clr>
        </p15:guide>
        <p15:guide id="17" orient="horz" pos="2258" userDrawn="1">
          <p15:clr>
            <a:srgbClr val="547EBF"/>
          </p15:clr>
        </p15:guide>
        <p15:guide id="18" orient="horz" pos="1866" userDrawn="1">
          <p15:clr>
            <a:srgbClr val="547EBF"/>
          </p15:clr>
        </p15:guide>
        <p15:guide id="19" orient="horz" pos="2650" userDrawn="1">
          <p15:clr>
            <a:srgbClr val="547EBF"/>
          </p15:clr>
        </p15:guide>
        <p15:guide id="20" orient="horz" pos="2454" userDrawn="1">
          <p15:clr>
            <a:srgbClr val="547EBF"/>
          </p15:clr>
        </p15:guide>
        <p15:guide id="21" pos="413" userDrawn="1">
          <p15:clr>
            <a:srgbClr val="547EBF"/>
          </p15:clr>
        </p15:guide>
        <p15:guide id="22" pos="6092" userDrawn="1">
          <p15:clr>
            <a:srgbClr val="547EB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02994059"/>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777157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65652318"/>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userDrawn="1">
          <p15:clr>
            <a:srgbClr val="547EBF"/>
          </p15:clr>
        </p15:guide>
        <p15:guide id="9" pos="384" userDrawn="1">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14709728"/>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00657682"/>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6743787"/>
      </p:ext>
    </p:extLst>
  </p:cSld>
  <p:clrMapOvr>
    <a:masterClrMapping/>
  </p:clrMapOvr>
  <p:hf sldNum="0" hdr="0" ftr="0" dt="0"/>
  <p:extLst>
    <p:ext uri="{DCECCB84-F9BA-43D5-87BE-67443E8EF086}">
      <p15:sldGuideLst xmlns:p15="http://schemas.microsoft.com/office/powerpoint/2012/main">
        <p15:guide id="19" pos="413" userDrawn="1">
          <p15:clr>
            <a:srgbClr val="547EBF"/>
          </p15:clr>
        </p15:guide>
        <p15:guide id="20" orient="horz" pos="789" userDrawn="1">
          <p15:clr>
            <a:srgbClr val="547EBF"/>
          </p15:clr>
        </p15:guide>
        <p15:guide id="21" orient="horz" pos="887" userDrawn="1">
          <p15:clr>
            <a:srgbClr val="547EBF"/>
          </p15:clr>
        </p15:guide>
        <p15:guide id="22" pos="3742" userDrawn="1">
          <p15:clr>
            <a:srgbClr val="547EBF"/>
          </p15:clr>
        </p15:guide>
        <p15:guide id="23" pos="3938" userDrawn="1">
          <p15:clr>
            <a:srgbClr val="547EBF"/>
          </p15:clr>
        </p15:guide>
        <p15:guide id="24" pos="7267" userDrawn="1">
          <p15:clr>
            <a:srgbClr val="547EBF"/>
          </p15:clr>
        </p15:guide>
        <p15:guide id="25" orient="horz" pos="495" userDrawn="1">
          <p15:clr>
            <a:srgbClr val="547EBF"/>
          </p15:clr>
        </p15:guide>
        <p15:guide id="26" orient="horz" pos="202" userDrawn="1">
          <p15:clr>
            <a:srgbClr val="547EBF"/>
          </p15:clr>
        </p15:guide>
        <p15:guide id="27" orient="horz" pos="3923" userDrawn="1">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0896508"/>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64817864"/>
      </p:ext>
    </p:extLst>
  </p:cSld>
  <p:clrMapOvr>
    <a:masterClrMapping/>
  </p:clrMapOvr>
  <p:hf sldNum="0" hdr="0" ftr="0" dt="0"/>
  <p:extLst>
    <p:ext uri="{DCECCB84-F9BA-43D5-87BE-67443E8EF086}">
      <p15:sldGuideLst xmlns:p15="http://schemas.microsoft.com/office/powerpoint/2012/main">
        <p15:guide id="59" pos="3742" userDrawn="1">
          <p15:clr>
            <a:srgbClr val="547EBF"/>
          </p15:clr>
        </p15:guide>
        <p15:guide id="60" orient="horz" pos="887" userDrawn="1">
          <p15:clr>
            <a:srgbClr val="547EBF"/>
          </p15:clr>
        </p15:guide>
        <p15:guide id="61" pos="3938" userDrawn="1">
          <p15:clr>
            <a:srgbClr val="547EBF"/>
          </p15:clr>
        </p15:guide>
        <p15:guide id="62" pos="3350" userDrawn="1">
          <p15:clr>
            <a:srgbClr val="A4A3A4"/>
          </p15:clr>
        </p15:guide>
        <p15:guide id="63" pos="3155" userDrawn="1">
          <p15:clr>
            <a:srgbClr val="A4A3A4"/>
          </p15:clr>
        </p15:guide>
        <p15:guide id="64" pos="2763" userDrawn="1">
          <p15:clr>
            <a:srgbClr val="A4A3A4"/>
          </p15:clr>
        </p15:guide>
        <p15:guide id="65" pos="2567" userDrawn="1">
          <p15:clr>
            <a:srgbClr val="A4A3A4"/>
          </p15:clr>
        </p15:guide>
        <p15:guide id="66" pos="2175" userDrawn="1">
          <p15:clr>
            <a:srgbClr val="A4A3A4"/>
          </p15:clr>
        </p15:guide>
        <p15:guide id="67" pos="1980" userDrawn="1">
          <p15:clr>
            <a:srgbClr val="A4A3A4"/>
          </p15:clr>
        </p15:guide>
        <p15:guide id="68" pos="1588" userDrawn="1">
          <p15:clr>
            <a:srgbClr val="A4A3A4"/>
          </p15:clr>
        </p15:guide>
        <p15:guide id="69" pos="1392" userDrawn="1">
          <p15:clr>
            <a:srgbClr val="A4A3A4"/>
          </p15:clr>
        </p15:guide>
        <p15:guide id="70" pos="1000" userDrawn="1">
          <p15:clr>
            <a:srgbClr val="A4A3A4"/>
          </p15:clr>
        </p15:guide>
        <p15:guide id="71" pos="804" userDrawn="1">
          <p15:clr>
            <a:srgbClr val="A4A3A4"/>
          </p15:clr>
        </p15:guide>
        <p15:guide id="72" pos="413" userDrawn="1">
          <p15:clr>
            <a:srgbClr val="547EBF"/>
          </p15:clr>
        </p15:guide>
        <p15:guide id="73" pos="4330" userDrawn="1">
          <p15:clr>
            <a:srgbClr val="A4A3A4"/>
          </p15:clr>
        </p15:guide>
        <p15:guide id="74" pos="4525" userDrawn="1">
          <p15:clr>
            <a:srgbClr val="A4A3A4"/>
          </p15:clr>
        </p15:guide>
        <p15:guide id="75" pos="5505" userDrawn="1">
          <p15:clr>
            <a:srgbClr val="A4A3A4"/>
          </p15:clr>
        </p15:guide>
        <p15:guide id="76" pos="5113" userDrawn="1">
          <p15:clr>
            <a:srgbClr val="A4A3A4"/>
          </p15:clr>
        </p15:guide>
        <p15:guide id="77" pos="4917" userDrawn="1">
          <p15:clr>
            <a:srgbClr val="A4A3A4"/>
          </p15:clr>
        </p15:guide>
        <p15:guide id="78" pos="5700" userDrawn="1">
          <p15:clr>
            <a:srgbClr val="A4A3A4"/>
          </p15:clr>
        </p15:guide>
        <p15:guide id="79" pos="6092" userDrawn="1">
          <p15:clr>
            <a:srgbClr val="A4A3A4"/>
          </p15:clr>
        </p15:guide>
        <p15:guide id="80" pos="6288" userDrawn="1">
          <p15:clr>
            <a:srgbClr val="A4A3A4"/>
          </p15:clr>
        </p15:guide>
        <p15:guide id="81" pos="6680" userDrawn="1">
          <p15:clr>
            <a:srgbClr val="A4A3A4"/>
          </p15:clr>
        </p15:guide>
        <p15:guide id="82" pos="6876" userDrawn="1">
          <p15:clr>
            <a:srgbClr val="A4A3A4"/>
          </p15:clr>
        </p15:guide>
        <p15:guide id="83" pos="7267" userDrawn="1">
          <p15:clr>
            <a:srgbClr val="547EBF"/>
          </p15:clr>
        </p15:guide>
        <p15:guide id="84" orient="horz" pos="3923" userDrawn="1">
          <p15:clr>
            <a:srgbClr val="547EBF"/>
          </p15:clr>
        </p15:guide>
        <p15:guide id="85" orient="horz" pos="789" userDrawn="1">
          <p15:clr>
            <a:srgbClr val="547EBF"/>
          </p15:clr>
        </p15:guide>
        <p15:guide id="86" orient="horz" pos="202" userDrawn="1">
          <p15:clr>
            <a:srgbClr val="547EBF"/>
          </p15:clr>
        </p15:guide>
        <p15:guide id="87" orient="horz" pos="495" userDrawn="1">
          <p15:clr>
            <a:srgbClr val="547EB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355911983"/>
      </p:ext>
    </p:extLst>
  </p:cSld>
  <p:clrMapOvr>
    <a:masterClrMapping/>
  </p:clrMapOvr>
  <p:hf sldNum="0" hdr="0" ftr="0" dt="0"/>
  <p:extLst>
    <p:ext uri="{DCECCB84-F9BA-43D5-87BE-67443E8EF086}">
      <p15:sldGuideLst xmlns:p15="http://schemas.microsoft.com/office/powerpoint/2012/main">
        <p15:guide id="59" pos="413" userDrawn="1">
          <p15:clr>
            <a:srgbClr val="547EBF"/>
          </p15:clr>
        </p15:guide>
        <p15:guide id="60" orient="horz" pos="887" userDrawn="1">
          <p15:clr>
            <a:srgbClr val="547EBF"/>
          </p15:clr>
        </p15:guide>
        <p15:guide id="61" orient="horz" pos="789" userDrawn="1">
          <p15:clr>
            <a:srgbClr val="547EBF"/>
          </p15:clr>
        </p15:guide>
        <p15:guide id="62" orient="horz" pos="495" userDrawn="1">
          <p15:clr>
            <a:srgbClr val="547EBF"/>
          </p15:clr>
        </p15:guide>
        <p15:guide id="63" orient="horz" pos="202" userDrawn="1">
          <p15:clr>
            <a:srgbClr val="547EBF"/>
          </p15:clr>
        </p15:guide>
        <p15:guide id="64" orient="horz" pos="3923" userDrawn="1">
          <p15:clr>
            <a:srgbClr val="547EBF"/>
          </p15:clr>
        </p15:guide>
        <p15:guide id="65" pos="804" userDrawn="1">
          <p15:clr>
            <a:srgbClr val="A4A3A4"/>
          </p15:clr>
        </p15:guide>
        <p15:guide id="66" pos="1000" userDrawn="1">
          <p15:clr>
            <a:srgbClr val="A4A3A4"/>
          </p15:clr>
        </p15:guide>
        <p15:guide id="67" pos="1392" userDrawn="1">
          <p15:clr>
            <a:srgbClr val="A4A3A4"/>
          </p15:clr>
        </p15:guide>
        <p15:guide id="68" pos="1588" userDrawn="1">
          <p15:clr>
            <a:srgbClr val="A4A3A4"/>
          </p15:clr>
        </p15:guide>
        <p15:guide id="69" pos="1980" userDrawn="1">
          <p15:clr>
            <a:srgbClr val="A4A3A4"/>
          </p15:clr>
        </p15:guide>
        <p15:guide id="70" pos="2175" userDrawn="1">
          <p15:clr>
            <a:srgbClr val="A4A3A4"/>
          </p15:clr>
        </p15:guide>
        <p15:guide id="71" pos="2567" userDrawn="1">
          <p15:clr>
            <a:srgbClr val="A4A3A4"/>
          </p15:clr>
        </p15:guide>
        <p15:guide id="72" pos="2763" userDrawn="1">
          <p15:clr>
            <a:srgbClr val="A4A3A4"/>
          </p15:clr>
        </p15:guide>
        <p15:guide id="73" pos="3155" userDrawn="1">
          <p15:clr>
            <a:srgbClr val="A4A3A4"/>
          </p15:clr>
        </p15:guide>
        <p15:guide id="74" pos="3350" userDrawn="1">
          <p15:clr>
            <a:srgbClr val="A4A3A4"/>
          </p15:clr>
        </p15:guide>
        <p15:guide id="75" pos="3742" userDrawn="1">
          <p15:clr>
            <a:srgbClr val="547EBF"/>
          </p15:clr>
        </p15:guide>
        <p15:guide id="76" pos="3938" userDrawn="1">
          <p15:clr>
            <a:srgbClr val="547EBF"/>
          </p15:clr>
        </p15:guide>
        <p15:guide id="77" pos="4330" userDrawn="1">
          <p15:clr>
            <a:srgbClr val="A4A3A4"/>
          </p15:clr>
        </p15:guide>
        <p15:guide id="78" pos="4525" userDrawn="1">
          <p15:clr>
            <a:srgbClr val="A4A3A4"/>
          </p15:clr>
        </p15:guide>
        <p15:guide id="79" pos="5113" userDrawn="1">
          <p15:clr>
            <a:srgbClr val="A4A3A4"/>
          </p15:clr>
        </p15:guide>
        <p15:guide id="80" pos="4917" userDrawn="1">
          <p15:clr>
            <a:srgbClr val="A4A3A4"/>
          </p15:clr>
        </p15:guide>
        <p15:guide id="81" pos="5505" userDrawn="1">
          <p15:clr>
            <a:srgbClr val="A4A3A4"/>
          </p15:clr>
        </p15:guide>
        <p15:guide id="82" pos="5700" userDrawn="1">
          <p15:clr>
            <a:srgbClr val="A4A3A4"/>
          </p15:clr>
        </p15:guide>
        <p15:guide id="83" pos="6092" userDrawn="1">
          <p15:clr>
            <a:srgbClr val="A4A3A4"/>
          </p15:clr>
        </p15:guide>
        <p15:guide id="84" pos="6288" userDrawn="1">
          <p15:clr>
            <a:srgbClr val="A4A3A4"/>
          </p15:clr>
        </p15:guide>
        <p15:guide id="85" pos="6680" userDrawn="1">
          <p15:clr>
            <a:srgbClr val="A4A3A4"/>
          </p15:clr>
        </p15:guide>
        <p15:guide id="86" pos="6876" userDrawn="1">
          <p15:clr>
            <a:srgbClr val="A4A3A4"/>
          </p15:clr>
        </p15:guide>
        <p15:guide id="87" pos="7267" userDrawn="1">
          <p15:clr>
            <a:srgbClr val="547EB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1980499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126934474"/>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956263598"/>
      </p:ext>
    </p:extLst>
  </p:cSld>
  <p:clrMapOvr>
    <a:masterClrMapping/>
  </p:clrMapOvr>
  <p:hf sldNum="0" hdr="0" ftr="0" dt="0"/>
  <p:extLst>
    <p:ext uri="{DCECCB84-F9BA-43D5-87BE-67443E8EF086}">
      <p15:sldGuideLst xmlns:p15="http://schemas.microsoft.com/office/powerpoint/2012/main">
        <p15:guide id="11" pos="413" userDrawn="1">
          <p15:clr>
            <a:srgbClr val="547EBF"/>
          </p15:clr>
        </p15:guide>
        <p15:guide id="12" pos="6092" userDrawn="1">
          <p15:clr>
            <a:srgbClr val="547EBF"/>
          </p15:clr>
        </p15:guide>
        <p15:guide id="13" orient="horz" pos="2160" userDrawn="1">
          <p15:clr>
            <a:srgbClr val="547EBF"/>
          </p15:clr>
        </p15:guide>
        <p15:guide id="14" orient="horz" pos="2258" userDrawn="1">
          <p15:clr>
            <a:srgbClr val="547EBF"/>
          </p15:clr>
        </p15:guide>
        <p15:guide id="15" orient="horz" pos="1866"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spTree>
    <p:extLst>
      <p:ext uri="{BB962C8B-B14F-4D97-AF65-F5344CB8AC3E}">
        <p14:creationId xmlns:p14="http://schemas.microsoft.com/office/powerpoint/2010/main" val="24027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2444822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0223457"/>
      </p:ext>
    </p:extLst>
  </p:cSld>
  <p:clrMapOvr>
    <a:masterClrMapping/>
  </p:clrMapOvr>
  <p:hf sldNum="0" hdr="0" ftr="0" dt="0"/>
  <p:extLst>
    <p:ext uri="{DCECCB84-F9BA-43D5-87BE-67443E8EF086}">
      <p15:sldGuideLst xmlns:p15="http://schemas.microsoft.com/office/powerpoint/2012/main">
        <p15:guide id="24" orient="horz" pos="1964" userDrawn="1">
          <p15:clr>
            <a:srgbClr val="547EBF"/>
          </p15:clr>
        </p15:guide>
        <p15:guide id="25" orient="horz" pos="2258" userDrawn="1">
          <p15:clr>
            <a:srgbClr val="547EBF"/>
          </p15:clr>
        </p15:guide>
        <p15:guide id="26" pos="3350" userDrawn="1">
          <p15:clr>
            <a:srgbClr val="547EBF"/>
          </p15:clr>
        </p15:guide>
        <p15:guide id="27" pos="3155" userDrawn="1">
          <p15:clr>
            <a:srgbClr val="547EBF"/>
          </p15:clr>
        </p15:guide>
        <p15:guide id="28" pos="413" userDrawn="1">
          <p15:clr>
            <a:srgbClr val="547EBF"/>
          </p15:clr>
        </p15:guide>
        <p15:guide id="29" orient="horz" pos="397" userDrawn="1">
          <p15:clr>
            <a:srgbClr val="547EBF"/>
          </p15:clr>
        </p15:guide>
        <p15:guide id="30" orient="horz" pos="3923" userDrawn="1">
          <p15:clr>
            <a:srgbClr val="547EB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68651155"/>
      </p:ext>
    </p:extLst>
  </p:cSld>
  <p:clrMapOvr>
    <a:masterClrMapping/>
  </p:clrMapOvr>
  <p:hf sldNum="0" hdr="0" ftr="0" dt="0"/>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userDrawn="1">
          <p15:clr>
            <a:srgbClr val="547EB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1391095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90160471"/>
      </p:ext>
    </p:extLst>
  </p:cSld>
  <p:clrMapOvr>
    <a:masterClrMapping/>
  </p:clrMapOvr>
  <p:hf sldNum="0" hdr="0" ftr="0" dt="0"/>
  <p:extLst>
    <p:ext uri="{DCECCB84-F9BA-43D5-87BE-67443E8EF086}">
      <p15:sldGuideLst xmlns:p15="http://schemas.microsoft.com/office/powerpoint/2012/main">
        <p15:guide id="15" orient="horz" pos="397" userDrawn="1">
          <p15:clr>
            <a:srgbClr val="547EBF"/>
          </p15:clr>
        </p15:guide>
        <p15:guide id="16" pos="3155" userDrawn="1">
          <p15:clr>
            <a:srgbClr val="547EBF"/>
          </p15:clr>
        </p15:guide>
        <p15:guide id="17" pos="3350" userDrawn="1">
          <p15:clr>
            <a:srgbClr val="547EBF"/>
          </p15:clr>
        </p15:guide>
        <p15:guide id="18" pos="413" userDrawn="1">
          <p15:clr>
            <a:srgbClr val="547EBF"/>
          </p15:clr>
        </p15:guide>
        <p15:guide id="19" orient="horz" pos="3923" userDrawn="1">
          <p15:clr>
            <a:srgbClr val="547EB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1336393"/>
      </p:ext>
    </p:extLst>
  </p:cSld>
  <p:clrMapOvr>
    <a:masterClrMapping/>
  </p:clrMapOvr>
  <p:hf sldNum="0" hdr="0" ftr="0" dt="0"/>
  <p:extLst>
    <p:ext uri="{DCECCB84-F9BA-43D5-87BE-67443E8EF086}">
      <p15:sldGuideLst xmlns:p15="http://schemas.microsoft.com/office/powerpoint/2012/main">
        <p15:guide id="13" orient="horz" pos="1877" userDrawn="1">
          <p15:clr>
            <a:srgbClr val="547EBF"/>
          </p15:clr>
        </p15:guide>
        <p15:guide id="14" orient="horz" pos="3923" userDrawn="1">
          <p15:clr>
            <a:srgbClr val="547EBF"/>
          </p15:clr>
        </p15:guide>
        <p15:guide id="15" pos="3350" userDrawn="1">
          <p15:clr>
            <a:srgbClr val="547EBF"/>
          </p15:clr>
        </p15:guide>
        <p15:guide id="16" pos="3155" userDrawn="1">
          <p15:clr>
            <a:srgbClr val="547EBF"/>
          </p15:clr>
        </p15:guide>
        <p15:guide id="17" pos="413" userDrawn="1">
          <p15:clr>
            <a:srgbClr val="547EBF"/>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64766728"/>
      </p:ext>
    </p:extLst>
  </p:cSld>
  <p:clrMapOvr>
    <a:masterClrMapping/>
  </p:clrMapOvr>
  <p:hf sldNum="0" hdr="0" ftr="0" dt="0"/>
  <p:extLst>
    <p:ext uri="{DCECCB84-F9BA-43D5-87BE-67443E8EF086}">
      <p15:sldGuideLst xmlns:p15="http://schemas.microsoft.com/office/powerpoint/2012/main">
        <p15:guide id="15" orient="horz" pos="2943" userDrawn="1">
          <p15:clr>
            <a:srgbClr val="547EBF"/>
          </p15:clr>
        </p15:guide>
        <p15:guide id="16" orient="horz" pos="3923" userDrawn="1">
          <p15:clr>
            <a:srgbClr val="547EBF"/>
          </p15:clr>
        </p15:guide>
        <p15:guide id="17" orient="horz" pos="3139"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33158543"/>
      </p:ext>
    </p:extLst>
  </p:cSld>
  <p:clrMapOvr>
    <a:masterClrMapping/>
  </p:clrMapOvr>
  <p:hf sldNum="0" hdr="0" ftr="0" dt="0"/>
  <p:extLst>
    <p:ext uri="{DCECCB84-F9BA-43D5-87BE-67443E8EF086}">
      <p15:sldGuideLst xmlns:p15="http://schemas.microsoft.com/office/powerpoint/2012/main">
        <p15:guide id="15" orient="horz" pos="1279" userDrawn="1">
          <p15:clr>
            <a:srgbClr val="547EBF"/>
          </p15:clr>
        </p15:guide>
        <p15:guide id="16" orient="horz" pos="397" userDrawn="1">
          <p15:clr>
            <a:srgbClr val="547EBF"/>
          </p15:clr>
        </p15:guide>
        <p15:guide id="17" orient="horz" pos="1181"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4254613"/>
      </p:ext>
    </p:extLst>
  </p:cSld>
  <p:clrMapOvr>
    <a:masterClrMapping/>
  </p:clrMapOvr>
  <p:hf sldNum="0" hdr="0" ftr="0" dt="0"/>
  <p:extLst>
    <p:ext uri="{DCECCB84-F9BA-43D5-87BE-67443E8EF086}">
      <p15:sldGuideLst xmlns:p15="http://schemas.microsoft.com/office/powerpoint/2012/main">
        <p15:guide id="26" orient="horz" pos="3433" userDrawn="1">
          <p15:clr>
            <a:srgbClr val="547EBF"/>
          </p15:clr>
        </p15:guide>
        <p15:guide id="27" orient="horz" pos="1276" userDrawn="1">
          <p15:clr>
            <a:srgbClr val="547EBF"/>
          </p15:clr>
        </p15:guide>
        <p15:guide id="28" pos="3749" userDrawn="1">
          <p15:clr>
            <a:srgbClr val="547EBF"/>
          </p15:clr>
        </p15:guide>
        <p15:guide id="29" pos="3931" userDrawn="1">
          <p15:clr>
            <a:srgbClr val="547EBF"/>
          </p15:clr>
        </p15:guide>
        <p15:guide id="30" orient="horz" pos="3531" userDrawn="1">
          <p15:clr>
            <a:srgbClr val="547EBF"/>
          </p15:clr>
        </p15:guide>
        <p15:guide id="31" orient="horz" pos="3923" userDrawn="1">
          <p15:clr>
            <a:srgbClr val="547EBF"/>
          </p15:clr>
        </p15:guide>
        <p15:guide id="32" pos="413" userDrawn="1">
          <p15:clr>
            <a:srgbClr val="547EBF"/>
          </p15:clr>
        </p15:guide>
        <p15:guide id="33" pos="7267" userDrawn="1">
          <p15:clr>
            <a:srgbClr val="547EBF"/>
          </p15:clr>
        </p15:guide>
        <p15:guide id="34" orient="horz" pos="202" userDrawn="1">
          <p15:clr>
            <a:srgbClr val="547EBF"/>
          </p15:clr>
        </p15:guide>
        <p15:guide id="35" orient="horz" pos="495" userDrawn="1">
          <p15:clr>
            <a:srgbClr val="547EBF"/>
          </p15:clr>
        </p15:guide>
        <p15:guide id="36" orient="horz" pos="789" userDrawn="1">
          <p15:clr>
            <a:srgbClr val="547EB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07607379"/>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grpSp>
        <p:nvGrpSpPr>
          <p:cNvPr id="3" name="Group 4"/>
          <p:cNvGrpSpPr>
            <a:grpSpLocks noChangeAspect="1"/>
          </p:cNvGrpSpPr>
          <p:nvPr userDrawn="1"/>
        </p:nvGrpSpPr>
        <p:grpSpPr bwMode="auto">
          <a:xfrm>
            <a:off x="7291232" y="1367010"/>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2866088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72091781"/>
      </p:ext>
    </p:extLst>
  </p:cSld>
  <p:clrMapOvr>
    <a:masterClrMapping/>
  </p:clrMapOvr>
  <p:hf sldNum="0" hdr="0" ftr="0" dt="0"/>
  <p:extLst>
    <p:ext uri="{DCECCB84-F9BA-43D5-87BE-67443E8EF086}">
      <p15:sldGuideLst xmlns:p15="http://schemas.microsoft.com/office/powerpoint/2012/main">
        <p15:guide id="34" orient="horz" pos="3531" userDrawn="1">
          <p15:clr>
            <a:srgbClr val="547EBF"/>
          </p15:clr>
        </p15:guide>
        <p15:guide id="35" orient="horz" pos="1279" userDrawn="1">
          <p15:clr>
            <a:srgbClr val="547EBF"/>
          </p15:clr>
        </p15:guide>
        <p15:guide id="36" orient="horz" pos="3433"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orient="horz" pos="3923" userDrawn="1">
          <p15:clr>
            <a:srgbClr val="547EBF"/>
          </p15:clr>
        </p15:guide>
        <p15:guide id="43" pos="2567" userDrawn="1">
          <p15:clr>
            <a:srgbClr val="547EBF"/>
          </p15:clr>
        </p15:guide>
        <p15:guide id="44" pos="2763" userDrawn="1">
          <p15:clr>
            <a:srgbClr val="547EBF"/>
          </p15:clr>
        </p15:guide>
        <p15:guide id="45" pos="4917" userDrawn="1">
          <p15:clr>
            <a:srgbClr val="547EBF"/>
          </p15:clr>
        </p15:guide>
        <p15:guide id="46" pos="5113" userDrawn="1">
          <p15:clr>
            <a:srgbClr val="547EB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09018101"/>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22543104"/>
      </p:ext>
    </p:extLst>
  </p:cSld>
  <p:clrMapOvr>
    <a:masterClrMapping/>
  </p:clrMapOvr>
  <p:hf sldNum="0" hdr="0" ftr="0" dt="0"/>
  <p:extLst>
    <p:ext uri="{DCECCB84-F9BA-43D5-87BE-67443E8EF086}">
      <p15:sldGuideLst xmlns:p15="http://schemas.microsoft.com/office/powerpoint/2012/main">
        <p15:guide id="33" orient="horz" pos="2943" userDrawn="1">
          <p15:clr>
            <a:srgbClr val="547EBF"/>
          </p15:clr>
        </p15:guide>
        <p15:guide id="34" orient="horz" pos="1279" userDrawn="1">
          <p15:clr>
            <a:srgbClr val="547EBF"/>
          </p15:clr>
        </p15:guide>
        <p15:guide id="35" orient="horz" pos="2845" userDrawn="1">
          <p15:clr>
            <a:srgbClr val="547EBF"/>
          </p15:clr>
        </p15:guide>
        <p15:guide id="36" orient="horz" pos="3936"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pos="1980" userDrawn="1">
          <p15:clr>
            <a:srgbClr val="547EBF"/>
          </p15:clr>
        </p15:guide>
        <p15:guide id="43" pos="2175" userDrawn="1">
          <p15:clr>
            <a:srgbClr val="547EBF"/>
          </p15:clr>
        </p15:guide>
        <p15:guide id="44" pos="3742" userDrawn="1">
          <p15:clr>
            <a:srgbClr val="547EBF"/>
          </p15:clr>
        </p15:guide>
        <p15:guide id="45" pos="3938" userDrawn="1">
          <p15:clr>
            <a:srgbClr val="547EBF"/>
          </p15:clr>
        </p15:guide>
        <p15:guide id="46" pos="5700" userDrawn="1">
          <p15:clr>
            <a:srgbClr val="547EBF"/>
          </p15:clr>
        </p15:guide>
        <p15:guide id="47" pos="5505" userDrawn="1">
          <p15:clr>
            <a:srgbClr val="547EB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46956984"/>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64883546"/>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userDrawn="1">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2449127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78118417"/>
      </p:ext>
    </p:extLst>
  </p:cSld>
  <p:clrMapOvr>
    <a:masterClrMapping/>
  </p:clrMapOvr>
  <p:hf sldNum="0" hdr="0" ftr="0" dt="0"/>
  <p:extLst>
    <p:ext uri="{DCECCB84-F9BA-43D5-87BE-67443E8EF086}">
      <p15:sldGuideLst xmlns:p15="http://schemas.microsoft.com/office/powerpoint/2012/main">
        <p15:guide id="44" orient="horz" pos="3936" userDrawn="1">
          <p15:clr>
            <a:srgbClr val="547EBF"/>
          </p15:clr>
        </p15:guide>
        <p15:guide id="45" pos="2376" userDrawn="1">
          <p15:clr>
            <a:srgbClr val="FFFFFF"/>
          </p15:clr>
        </p15:guide>
        <p15:guide id="46" orient="horz" pos="880" userDrawn="1">
          <p15:clr>
            <a:srgbClr val="547EBF"/>
          </p15:clr>
        </p15:guide>
        <p15:guide id="47" pos="4656" userDrawn="1">
          <p15:clr>
            <a:srgbClr val="547EBF"/>
          </p15:clr>
        </p15:guide>
        <p15:guide id="48" pos="7267" userDrawn="1">
          <p15:clr>
            <a:srgbClr val="547EBF"/>
          </p15:clr>
        </p15:guide>
        <p15:guide id="49" pos="2763" userDrawn="1">
          <p15:clr>
            <a:srgbClr val="547EBF"/>
          </p15:clr>
        </p15:guide>
        <p15:guide id="50" pos="413" userDrawn="1">
          <p15:clr>
            <a:srgbClr val="FFFFFF"/>
          </p15:clr>
        </p15:guide>
        <p15:guide id="51" pos="4800" userDrawn="1">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05E3935E-6EE2-00A9-F774-48C75B8224A2}"/>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93960947"/>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381CF076-14BD-6674-57F6-D6DA0CFDEC92}"/>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2440316"/>
      </p:ext>
    </p:extLst>
  </p:cSld>
  <p:clrMapOvr>
    <a:masterClrMapping/>
  </p:clrMapOvr>
  <p:hf sldNum="0" hdr="0" ftr="0" dt="0"/>
  <p:extLst>
    <p:ext uri="{DCECCB84-F9BA-43D5-87BE-67443E8EF086}">
      <p15:sldGuideLst xmlns:p15="http://schemas.microsoft.com/office/powerpoint/2012/main">
        <p15:guide id="44" orient="horz" pos="397" userDrawn="1">
          <p15:clr>
            <a:srgbClr val="547EBF"/>
          </p15:clr>
        </p15:guide>
        <p15:guide id="45" orient="horz" pos="3923" userDrawn="1">
          <p15:clr>
            <a:srgbClr val="547EBF"/>
          </p15:clr>
        </p15:guide>
        <p15:guide id="46" pos="2763" userDrawn="1">
          <p15:clr>
            <a:srgbClr val="547EBF"/>
          </p15:clr>
        </p15:guide>
        <p15:guide id="47" pos="413" userDrawn="1">
          <p15:clr>
            <a:srgbClr val="547EBF"/>
          </p15:clr>
        </p15:guide>
        <p15:guide id="48" pos="2371" userDrawn="1">
          <p15:clr>
            <a:srgbClr val="547EBF"/>
          </p15:clr>
        </p15:guide>
        <p15:guide id="49" pos="3155" userDrawn="1">
          <p15:clr>
            <a:srgbClr val="547EBF"/>
          </p15:clr>
        </p15:guide>
        <p15:guide id="50" pos="7267" userDrawn="1">
          <p15:clr>
            <a:srgbClr val="547EB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9495526"/>
      </p:ext>
    </p:extLst>
  </p:cSld>
  <p:clrMapOvr>
    <a:masterClrMapping/>
  </p:clrMapOvr>
  <p:hf sldNum="0" hdr="0" ftr="0" dt="0"/>
  <p:extLst>
    <p:ext uri="{DCECCB84-F9BA-43D5-87BE-67443E8EF086}">
      <p15:sldGuideLst xmlns:p15="http://schemas.microsoft.com/office/powerpoint/2012/main">
        <p15:guide id="15" pos="413" userDrawn="1">
          <p15:clr>
            <a:srgbClr val="547EBF"/>
          </p15:clr>
        </p15:guide>
        <p15:guide id="16" orient="horz" pos="495" userDrawn="1">
          <p15:clr>
            <a:srgbClr val="547EBF"/>
          </p15:clr>
        </p15:guide>
        <p15:guide id="17" pos="7267" userDrawn="1">
          <p15:clr>
            <a:srgbClr val="547EBF"/>
          </p15:clr>
        </p15:guide>
        <p15:guide id="18" orient="horz" pos="202" userDrawn="1">
          <p15:clr>
            <a:srgbClr val="547EBF"/>
          </p15:clr>
        </p15:guide>
        <p15:guide id="19" orient="horz" pos="789" userDrawn="1">
          <p15:clr>
            <a:srgbClr val="547EBF"/>
          </p15:clr>
        </p15:guide>
        <p15:guide id="20" orient="horz" pos="912" userDrawn="1">
          <p15:clr>
            <a:srgbClr val="547EBF"/>
          </p15:clr>
        </p15:guide>
        <p15:guide id="21" orient="horz" pos="3923" userDrawn="1">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8" name="Picture 237"/>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051736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6783788"/>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1329199"/>
      </p:ext>
    </p:extLst>
  </p:cSld>
  <p:clrMapOvr>
    <a:masterClrMapping/>
  </p:clrMapOvr>
  <p:hf sldNum="0" hdr="0" ftr="0" dt="0"/>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5020505"/>
      </p:ext>
    </p:extLst>
  </p:cSld>
  <p:clrMapOvr>
    <a:masterClrMapping/>
  </p:clrMapOvr>
  <p:hf sldNum="0" hdr="0" ftr="0" dt="0"/>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B1F7A16D-37B5-620C-A219-59BE4B0D383F}"/>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092602275"/>
      </p:ext>
    </p:extLst>
  </p:cSld>
  <p:clrMapOvr>
    <a:masterClrMapping/>
  </p:clrMapOvr>
  <p:hf sldNum="0" hdr="0" ftr="0" dt="0"/>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03EF4C8E-6D39-7D5B-BD2C-F912B2AFB9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42526894"/>
      </p:ext>
    </p:extLst>
  </p:cSld>
  <p:clrMapOvr>
    <a:masterClrMapping/>
  </p:clrMapOvr>
  <p:hf sldNum="0" hdr="0" ftr="0" dt="0"/>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19134200"/>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userDrawn="1">
          <p15:clr>
            <a:srgbClr val="FFFFFF"/>
          </p15:clr>
        </p15:guide>
        <p15:guide id="16" orient="horz" pos="495" userDrawn="1">
          <p15:clr>
            <a:srgbClr val="FFFFFF"/>
          </p15:clr>
        </p15:guide>
        <p15:guide id="17" orient="horz" pos="887" userDrawn="1">
          <p15:clr>
            <a:srgbClr val="FFFFFF"/>
          </p15:clr>
        </p15:guide>
        <p15:guide id="18" orient="horz" pos="3923" userDrawn="1">
          <p15:clr>
            <a:srgbClr val="FFFFFF"/>
          </p15:clr>
        </p15:guide>
        <p15:guide id="19" pos="413" userDrawn="1">
          <p15:clr>
            <a:srgbClr val="FFFFFF"/>
          </p15:clr>
        </p15:guide>
        <p15:guide id="20" pos="7267" userDrawn="1">
          <p15:clr>
            <a:srgbClr val="FFFFFF"/>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689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00301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122" name="Picture 121"/>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1898817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8333319"/>
      </p:ext>
    </p:extLst>
  </p:cSld>
  <p:clrMapOvr>
    <a:masterClrMapping/>
  </p:clrMapOvr>
  <p:extLst>
    <p:ext uri="{DCECCB84-F9BA-43D5-87BE-67443E8EF086}">
      <p15:sldGuideLst xmlns:p15="http://schemas.microsoft.com/office/powerpoint/2012/main">
        <p15:guide id="20" pos="4944" userDrawn="1">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843268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1035084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10759078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91727850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148194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76817399"/>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9" name="Picture 238"/>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88433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213597390"/>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2916207"/>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56524073"/>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98116161"/>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9650893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745140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53622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521008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273452586"/>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232805893"/>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6"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8"/>
            </a:lvl1pPr>
          </a:lstStyle>
          <a:p>
            <a:r>
              <a:rPr lang="en-US" b="1" dirty="0">
                <a:solidFill>
                  <a:schemeClr val="tx1"/>
                </a:solidFill>
              </a:rPr>
              <a:t>Demonstration:</a:t>
            </a:r>
            <a:r>
              <a:rPr lang="en-US" dirty="0">
                <a:solidFill>
                  <a:schemeClr val="tx1"/>
                </a:solidFill>
              </a:rPr>
              <a:t> </a:t>
            </a:r>
            <a:br>
              <a:rPr lang="en-US" dirty="0">
                <a:solidFill>
                  <a:schemeClr val="tx1"/>
                </a:solidFill>
              </a:rPr>
            </a:br>
            <a:r>
              <a:rPr lang="en-US" dirty="0">
                <a:solidFill>
                  <a:schemeClr val="tx1"/>
                </a:solidFill>
              </a:rPr>
              <a:t>Demo Title</a:t>
            </a:r>
          </a:p>
        </p:txBody>
      </p:sp>
    </p:spTree>
    <p:extLst>
      <p:ext uri="{BB962C8B-B14F-4D97-AF65-F5344CB8AC3E}">
        <p14:creationId xmlns:p14="http://schemas.microsoft.com/office/powerpoint/2010/main" val="34922266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04720324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98160906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853803606"/>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78736650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55976222"/>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560083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1413267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83618936"/>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42288150"/>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05198530"/>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5730731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04467084"/>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2426025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0963039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51346089"/>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49302931"/>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5932090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78365164"/>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7151097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3697055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43464404"/>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54090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095545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73931102"/>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48239877"/>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68714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594954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905740"/>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3224814"/>
      </p:ext>
    </p:extLst>
  </p:cSld>
  <p:clrMapOvr>
    <a:masterClrMapping/>
  </p:clrMapOvr>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2916264370"/>
      </p:ext>
    </p:extLst>
  </p:cSld>
  <p:clrMapOvr>
    <a:masterClrMapping/>
  </p:clrMapOvr>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38351988"/>
      </p:ext>
    </p:extLst>
  </p:cSld>
  <p:clrMapOvr>
    <a:masterClrMapping/>
  </p:clrMapOvr>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403712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8629722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424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807848763"/>
      </p:ext>
    </p:extLst>
  </p:cSld>
  <p:clrMapOvr>
    <a:masterClrMapping/>
  </p:clrMapOvr>
  <p:hf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56937237"/>
      </p:ext>
    </p:extLst>
  </p:cSld>
  <p:clrMapOvr>
    <a:masterClrMapping/>
  </p:clrMapOvr>
  <p:hf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920384460"/>
      </p:ext>
    </p:extLst>
  </p:cSld>
  <p:clrMapOvr>
    <a:masterClrMapping/>
  </p:clrMapOvr>
  <p:hf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31427486"/>
      </p:ext>
    </p:extLst>
  </p:cSld>
  <p:clrMapOvr>
    <a:masterClrMapping/>
  </p:clrMapOvr>
  <p:hf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736824119"/>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88828778"/>
      </p:ext>
    </p:extLst>
  </p:cSld>
  <p:clrMapOvr>
    <a:masterClrMapping/>
  </p:clrMapOvr>
  <p:hf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85539583"/>
      </p:ext>
    </p:extLst>
  </p:cSld>
  <p:clrMapOvr>
    <a:masterClrMapping/>
  </p:clrMapOvr>
  <p:hf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64423324"/>
      </p:ext>
    </p:extLst>
  </p:cSld>
  <p:clrMapOvr>
    <a:masterClrMapping/>
  </p:clrMapOvr>
  <p:hf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34442477"/>
      </p:ext>
    </p:extLst>
  </p:cSld>
  <p:clrMapOvr>
    <a:masterClrMapping/>
  </p:clrMapOvr>
  <p:hf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08477682"/>
      </p:ext>
    </p:extLst>
  </p:cSld>
  <p:clrMapOvr>
    <a:masterClrMapping/>
  </p:clrMapOvr>
  <p:hf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81909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0540544"/>
      </p:ext>
    </p:extLst>
  </p:cSld>
  <p:clrMapOvr>
    <a:masterClrMapping/>
  </p:clrMapOvr>
  <p:hf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3282960"/>
      </p:ext>
    </p:extLst>
  </p:cSld>
  <p:clrMapOvr>
    <a:masterClrMapping/>
  </p:clrMapOvr>
  <p:hf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993898910"/>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687304494"/>
      </p:ext>
    </p:extLst>
  </p:cSld>
  <p:clrMapOvr>
    <a:masterClrMapping/>
  </p:clrMapOvr>
  <p:hf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39230083"/>
      </p:ext>
    </p:extLst>
  </p:cSld>
  <p:clrMapOvr>
    <a:masterClrMapping/>
  </p:clrMapOvr>
  <p:hf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950054409"/>
      </p:ext>
    </p:extLst>
  </p:cSld>
  <p:clrMapOvr>
    <a:masterClrMapping/>
  </p:clrMapOvr>
  <p:hf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593007532"/>
      </p:ext>
    </p:extLst>
  </p:cSld>
  <p:clrMapOvr>
    <a:masterClrMapping/>
  </p:clrMapOvr>
  <p:hf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151207169"/>
      </p:ext>
    </p:extLst>
  </p:cSld>
  <p:clrMapOvr>
    <a:masterClrMapping/>
  </p:clrMapOvr>
  <p:hf hdr="0" ftr="0" dt="0"/>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53127986"/>
      </p:ext>
    </p:extLst>
  </p:cSld>
  <p:clrMapOvr>
    <a:masterClrMapping/>
  </p:clrMapOvr>
  <p:hf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1539170"/>
      </p:ext>
    </p:extLst>
  </p:cSld>
  <p:clrMapOvr>
    <a:masterClrMapping/>
  </p:clrMapOvr>
  <p:hf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61747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81661436"/>
      </p:ext>
    </p:extLst>
  </p:cSld>
  <p:clrMapOvr>
    <a:masterClrMapping/>
  </p:clrMapOvr>
  <p:hf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02864799"/>
      </p:ext>
    </p:extLst>
  </p:cSld>
  <p:clrMapOvr>
    <a:masterClrMapping/>
  </p:clrMapOvr>
  <p:hf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79101036"/>
      </p:ext>
    </p:extLst>
  </p:cSld>
  <p:clrMapOvr>
    <a:masterClrMapping/>
  </p:clrMapOvr>
  <p:hf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5427209"/>
      </p:ext>
    </p:extLst>
  </p:cSld>
  <p:clrMapOvr>
    <a:masterClrMapping/>
  </p:clrMapOvr>
  <p:hf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31560142"/>
      </p:ext>
    </p:extLst>
  </p:cSld>
  <p:clrMapOvr>
    <a:masterClrMapping/>
  </p:clrMapOvr>
  <p:hf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4755432"/>
      </p:ext>
    </p:extLst>
  </p:cSld>
  <p:clrMapOvr>
    <a:masterClrMapping/>
  </p:clrMapOvr>
  <p:hf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86835939"/>
      </p:ext>
    </p:extLst>
  </p:cSld>
  <p:clrMapOvr>
    <a:masterClrMapping/>
  </p:clrMapOvr>
  <p:hf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72805526"/>
      </p:ext>
    </p:extLst>
  </p:cSld>
  <p:clrMapOvr>
    <a:masterClrMapping/>
  </p:clrMapOvr>
  <p:hf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32669230"/>
      </p:ext>
    </p:extLst>
  </p:cSld>
  <p:clrMapOvr>
    <a:masterClrMapping/>
  </p:clrMapOvr>
  <p:hf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09736626"/>
      </p:ext>
    </p:extLst>
  </p:cSld>
  <p:clrMapOvr>
    <a:masterClrMapping/>
  </p:clrMapOvr>
  <p:hf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195469"/>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18838571"/>
      </p:ext>
    </p:extLst>
  </p:cSld>
  <p:clrMapOvr>
    <a:masterClrMapping/>
  </p:clrMapOvr>
  <p:hf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96324419"/>
      </p:ext>
    </p:extLst>
  </p:cSld>
  <p:clrMapOvr>
    <a:masterClrMapping/>
  </p:clrMapOvr>
  <p:hf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17634123"/>
      </p:ext>
    </p:extLst>
  </p:cSld>
  <p:clrMapOvr>
    <a:masterClrMapping/>
  </p:clrMapOvr>
  <p:hf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97637140"/>
      </p:ext>
    </p:extLst>
  </p:cSld>
  <p:clrMapOvr>
    <a:masterClrMapping/>
  </p:clrMapOvr>
  <p:hf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07333239"/>
      </p:ext>
    </p:extLst>
  </p:cSld>
  <p:clrMapOvr>
    <a:masterClrMapping/>
  </p:clrMapOvr>
  <p:hf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87571856"/>
      </p:ext>
    </p:extLst>
  </p:cSld>
  <p:clrMapOvr>
    <a:masterClrMapping/>
  </p:clrMapOvr>
  <p:hf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946555"/>
      </p:ext>
    </p:extLst>
  </p:cSld>
  <p:clrMapOvr>
    <a:masterClrMapping/>
  </p:clrMapOvr>
  <p:hf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2241645"/>
      </p:ext>
    </p:extLst>
  </p:cSld>
  <p:clrMapOvr>
    <a:masterClrMapping/>
  </p:clrMapOvr>
  <p:hf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654872"/>
      </p:ext>
    </p:extLst>
  </p:cSld>
  <p:clrMapOvr>
    <a:masterClrMapping/>
  </p:clrMapOvr>
  <p:hf hdr="0" ftr="0" dt="0"/>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2936516"/>
      </p:ext>
    </p:extLst>
  </p:cSld>
  <p:clrMapOvr>
    <a:masterClrMapping/>
  </p:clrMapOvr>
  <p:hf hdr="0" ftr="0" dt="0"/>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107C1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3059939"/>
          </a:xfrm>
        </p:spPr>
        <p:txBody>
          <a:bodyP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baseline="0">
                <a:solidFill>
                  <a:schemeClr val="bg1"/>
                </a:solidFill>
              </a:defRPr>
            </a:lvl1pPr>
          </a:lstStyle>
          <a:p>
            <a:pPr lvl="0"/>
            <a:r>
              <a:rPr lang="en-US" dirty="0"/>
              <a:t>Question 1</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2</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3</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4</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1092414957"/>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145700182"/>
      </p:ext>
    </p:extLst>
  </p:cSld>
  <p:clrMapOvr>
    <a:masterClrMapping/>
  </p:clrMapOvr>
  <p:hf hdr="0" ftr="0" dt="0"/>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a:extLst>
              <a:ext uri="{FF2B5EF4-FFF2-40B4-BE49-F238E27FC236}">
                <a16:creationId xmlns:a16="http://schemas.microsoft.com/office/drawing/2014/main" id="{FC13705E-D1CE-37FB-8064-B6855F6D98F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904897508"/>
      </p:ext>
    </p:extLst>
  </p:cSld>
  <p:clrMapOvr>
    <a:masterClrMapping/>
  </p:clrMapOvr>
  <p:transition>
    <p:fade/>
  </p:transition>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25604777"/>
      </p:ext>
    </p:extLst>
  </p:cSld>
  <p:clrMapOvr>
    <a:overrideClrMapping bg1="dk1" tx1="lt1" bg2="dk2" tx2="lt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2" name="TextBox 1">
            <a:extLst>
              <a:ext uri="{FF2B5EF4-FFF2-40B4-BE49-F238E27FC236}">
                <a16:creationId xmlns:a16="http://schemas.microsoft.com/office/drawing/2014/main" id="{2DA8CB0A-DAEE-D41A-A10B-440F56CE3342}"/>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2524626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91827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2558957"/>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09491387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170968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3_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1729449154"/>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8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414" y="1"/>
            <a:ext cx="12448814" cy="6989885"/>
          </a:xfrm>
          <a:prstGeom prst="rect">
            <a:avLst/>
          </a:prstGeom>
        </p:spPr>
      </p:pic>
      <p:sp>
        <p:nvSpPr>
          <p:cNvPr id="10" name="Rectangle 9"/>
          <p:cNvSpPr/>
          <p:nvPr userDrawn="1"/>
        </p:nvSpPr>
        <p:spPr bwMode="auto">
          <a:xfrm>
            <a:off x="-87922" y="4"/>
            <a:ext cx="9270023" cy="6854391"/>
          </a:xfrm>
          <a:prstGeom prst="rect">
            <a:avLst/>
          </a:prstGeom>
          <a:gradFill flip="none" rotWithShape="1">
            <a:gsLst>
              <a:gs pos="64000">
                <a:schemeClr val="tx1">
                  <a:tint val="66000"/>
                  <a:satMod val="160000"/>
                  <a:lumMod val="100000"/>
                  <a:alpha val="0"/>
                </a:schemeClr>
              </a:gs>
              <a:gs pos="100000">
                <a:schemeClr val="tx1">
                  <a:alpha val="47000"/>
                </a:schemeClr>
              </a:gs>
            </a:gsLst>
            <a:path path="circle">
              <a:fillToRect l="100000" t="100000"/>
            </a:path>
            <a:tileRect r="-100000" b="-10000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3" rIns="0" bIns="46613" numCol="1" rtlCol="0" anchor="ctr" anchorCtr="0" compatLnSpc="1">
            <a:prstTxWarp prst="textNoShape">
              <a:avLst/>
            </a:prstTxWarp>
          </a:bodyPr>
          <a:lstStyle/>
          <a:p>
            <a:pPr algn="ctr" defTabSz="913491"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6" name="Rectangle 15"/>
          <p:cNvSpPr/>
          <p:nvPr userDrawn="1"/>
        </p:nvSpPr>
        <p:spPr bwMode="auto">
          <a:xfrm>
            <a:off x="22353" y="1350387"/>
            <a:ext cx="12206593" cy="3642658"/>
          </a:xfrm>
          <a:prstGeom prst="rect">
            <a:avLst/>
          </a:prstGeom>
          <a:solidFill>
            <a:schemeClr val="accent2">
              <a:lumMod val="75000"/>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9"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269306" y="1404308"/>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269306" y="3199940"/>
            <a:ext cx="5042927" cy="1793105"/>
          </a:xfrm>
          <a:noFill/>
        </p:spPr>
        <p:txBody>
          <a:bodyPr lIns="149216" tIns="111912" rIns="149216" bIns="111912">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29478084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18656"/>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61015295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19216"/>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19216"/>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0399507"/>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185288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_Closing logo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06457664"/>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280736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54868485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8398097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56712272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9093758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67419909"/>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898954186"/>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944957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5767772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8247834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3932909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5531474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411788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318465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555148485"/>
      </p:ext>
    </p:extLst>
  </p:cSld>
  <p:clrMapOvr>
    <a:masterClrMapping/>
  </p:clrMapOvr>
  <p:transition>
    <p:fade/>
  </p:transition>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576490210"/>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82855004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17586264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dirty="0"/>
              <a:t>Click to edit Master title styl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
        <p:nvSpPr>
          <p:cNvPr id="7" name="Text Placeholder 6"/>
          <p:cNvSpPr>
            <a:spLocks noGrp="1"/>
          </p:cNvSpPr>
          <p:nvPr>
            <p:ph type="body" sz="quarter" idx="13"/>
          </p:nvPr>
        </p:nvSpPr>
        <p:spPr>
          <a:xfrm>
            <a:off x="402337" y="1143000"/>
            <a:ext cx="11173968" cy="1758120"/>
          </a:xfrm>
        </p:spPr>
        <p:txBody>
          <a:bodyPr/>
          <a:lstStyle>
            <a:lvl1pPr>
              <a:defRPr sz="1800"/>
            </a:lvl1pPr>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3"/>
          <p:cNvSpPr txBox="1">
            <a:spLocks/>
          </p:cNvSpPr>
          <p:nvPr userDrawn="1"/>
        </p:nvSpPr>
        <p:spPr>
          <a:xfrm>
            <a:off x="4673600" y="6355081"/>
            <a:ext cx="2844800" cy="365125"/>
          </a:xfrm>
          <a:prstGeom prst="rect">
            <a:avLst/>
          </a:prstGeom>
        </p:spPr>
        <p:txBody>
          <a:bodyPr vert="horz" lIns="182854" tIns="45713" rIns="182854" bIns="45713"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44578678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647020769"/>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913659360"/>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5775112"/>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6087018"/>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786580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19678478"/>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9312262"/>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16642709"/>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42216394"/>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6048048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1" name="TextBox 10"/>
          <p:cNvSpPr txBox="1"/>
          <p:nvPr userDrawn="1"/>
        </p:nvSpPr>
        <p:spPr>
          <a:xfrm>
            <a:off x="298808" y="3345828"/>
            <a:ext cx="11454317" cy="3004747"/>
          </a:xfrm>
          <a:prstGeom prst="rect">
            <a:avLst/>
          </a:prstGeom>
          <a:noFill/>
          <a:ln>
            <a:noFill/>
          </a:ln>
        </p:spPr>
        <p:txBody>
          <a:bodyPr vert="horz" wrap="square" lIns="238963" tIns="179222" rIns="119483" bIns="59740" rtlCol="0" anchor="t" anchorCtr="0">
            <a:noAutofit/>
          </a:bodyPr>
          <a:lstStyle/>
          <a:p>
            <a:pPr defTabSz="597351">
              <a:lnSpc>
                <a:spcPct val="90000"/>
              </a:lnSpc>
              <a:spcAft>
                <a:spcPts val="784"/>
              </a:spcAft>
              <a:defRPr/>
            </a:pPr>
            <a:r>
              <a:rPr lang="en-US" sz="1200" dirty="0">
                <a:solidFill>
                  <a:srgbClr val="000000">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597351">
              <a:lnSpc>
                <a:spcPct val="90000"/>
              </a:lnSpc>
              <a:spcAft>
                <a:spcPts val="784"/>
              </a:spcAft>
              <a:defRPr/>
            </a:pPr>
            <a:r>
              <a:rPr lang="en-US" sz="1200" dirty="0">
                <a:solidFill>
                  <a:srgbClr val="000000">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597351">
              <a:lnSpc>
                <a:spcPct val="90000"/>
              </a:lnSpc>
              <a:spcAft>
                <a:spcPts val="392"/>
              </a:spcAft>
              <a:defRPr/>
            </a:pPr>
            <a:r>
              <a:rPr lang="en-US" sz="1200" dirty="0">
                <a:solidFill>
                  <a:srgbClr val="000000">
                    <a:alpha val="87000"/>
                  </a:srgbClr>
                </a:solidFill>
                <a:cs typeface="Segoe UI" panose="020B0502040204020203" pitchFamily="34" charset="0"/>
              </a:rPr>
              <a:t>For more information, see Use of Microsoft Copyrighted Content at</a:t>
            </a:r>
          </a:p>
          <a:p>
            <a:pPr algn="ctr" defTabSz="597351">
              <a:lnSpc>
                <a:spcPct val="90000"/>
              </a:lnSpc>
              <a:spcAft>
                <a:spcPts val="784"/>
              </a:spcAft>
              <a:defRPr/>
            </a:pPr>
            <a:r>
              <a:rPr lang="en-US" sz="1200" u="sng" dirty="0">
                <a:solidFill>
                  <a:prstClr val="black"/>
                </a:solidFill>
                <a:cs typeface="Segoe UI" panose="020B0502040204020203" pitchFamily="34" charset="0"/>
                <a:hlinkClick r:id="rId3" tooltip="http://www.microsoft.com/en-us/legal/intellectualproperty/Permissions/default.aspx"/>
              </a:rPr>
              <a:t>http://www.microsoft.com/en-us/legal/intellectualproperty/Permissions/default.aspx</a:t>
            </a:r>
            <a:endParaRPr lang="en-US" sz="1200" dirty="0">
              <a:solidFill>
                <a:prstClr val="black"/>
              </a:solidFill>
              <a:cs typeface="Segoe UI" panose="020B0502040204020203" pitchFamily="34" charset="0"/>
            </a:endParaRPr>
          </a:p>
          <a:p>
            <a:pPr defTabSz="597351">
              <a:lnSpc>
                <a:spcPct val="90000"/>
              </a:lnSpc>
              <a:spcAft>
                <a:spcPts val="784"/>
              </a:spcAft>
              <a:defRPr/>
            </a:pPr>
            <a:r>
              <a:rPr lang="en-IN" sz="1200" dirty="0">
                <a:solidFill>
                  <a:srgbClr val="000000">
                    <a:alpha val="87000"/>
                  </a:srgbClr>
                </a:solidFill>
                <a:cs typeface="Segoe UI" panose="020B0502040204020203" pitchFamily="34" charset="0"/>
              </a:rPr>
              <a:t>DirectX, Hyper-V, Internet Explorer, Microsoft, Outlook, OneDrive, SQL Server, Windows, Microsoft Azure, Windows PowerShell, Windows Server, Windows Vista, and Zune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a:p>
            <a:pPr defTabSz="597351">
              <a:lnSpc>
                <a:spcPct val="90000"/>
              </a:lnSpc>
              <a:spcAft>
                <a:spcPts val="784"/>
              </a:spcAft>
              <a:defRPr/>
            </a:pPr>
            <a:endParaRPr lang="en-US" sz="1333" dirty="0">
              <a:solidFill>
                <a:srgbClr val="000000">
                  <a:alpha val="87000"/>
                </a:srgbClr>
              </a:solidFill>
              <a:cs typeface="Segoe UI" panose="020B0502040204020203" pitchFamily="34" charset="0"/>
            </a:endParaRPr>
          </a:p>
        </p:txBody>
      </p:sp>
      <p:sp>
        <p:nvSpPr>
          <p:cNvPr id="13" name="TextBox 12"/>
          <p:cNvSpPr txBox="1"/>
          <p:nvPr userDrawn="1"/>
        </p:nvSpPr>
        <p:spPr>
          <a:xfrm>
            <a:off x="304668" y="101955"/>
            <a:ext cx="3087685" cy="398468"/>
          </a:xfrm>
          <a:prstGeom prst="rect">
            <a:avLst/>
          </a:prstGeom>
          <a:noFill/>
          <a:ln>
            <a:noFill/>
          </a:ln>
        </p:spPr>
        <p:txBody>
          <a:bodyPr vert="horz" wrap="none" lIns="238963" tIns="179222" rIns="119483" bIns="59740" rtlCol="0" anchor="ctr" anchorCtr="0">
            <a:noAutofit/>
          </a:bodyPr>
          <a:lstStyle/>
          <a:p>
            <a:pPr defTabSz="597351">
              <a:defRPr/>
            </a:pPr>
            <a:r>
              <a:rPr lang="en-US" sz="1467" b="1" dirty="0">
                <a:solidFill>
                  <a:srgbClr val="000000"/>
                </a:solidFill>
                <a:cs typeface="Segoe UI" panose="020B0502040204020203" pitchFamily="34" charset="0"/>
              </a:rPr>
              <a:t>Conditions and Terms of Use</a:t>
            </a:r>
            <a:endParaRPr lang="en-US" sz="1467" dirty="0">
              <a:solidFill>
                <a:srgbClr val="000000"/>
              </a:solidFill>
              <a:cs typeface="Segoe UI" panose="020B0502040204020203" pitchFamily="34" charset="0"/>
            </a:endParaRPr>
          </a:p>
        </p:txBody>
      </p:sp>
      <p:sp>
        <p:nvSpPr>
          <p:cNvPr id="14" name="TextBox 13"/>
          <p:cNvSpPr txBox="1"/>
          <p:nvPr userDrawn="1"/>
        </p:nvSpPr>
        <p:spPr>
          <a:xfrm>
            <a:off x="301740" y="2812964"/>
            <a:ext cx="3087685" cy="363312"/>
          </a:xfrm>
          <a:prstGeom prst="rect">
            <a:avLst/>
          </a:prstGeom>
          <a:noFill/>
          <a:ln>
            <a:noFill/>
          </a:ln>
        </p:spPr>
        <p:txBody>
          <a:bodyPr vert="horz" wrap="none" lIns="238963" tIns="179222" rIns="119483" bIns="59740" rtlCol="0" anchor="ctr" anchorCtr="0">
            <a:noAutofit/>
          </a:bodyPr>
          <a:lstStyle/>
          <a:p>
            <a:pPr defTabSz="597351">
              <a:defRPr/>
            </a:pPr>
            <a:r>
              <a:rPr lang="en-US" sz="1467" b="1" dirty="0">
                <a:solidFill>
                  <a:srgbClr val="000000"/>
                </a:solidFill>
                <a:cs typeface="Segoe UI" panose="020B0502040204020203" pitchFamily="34" charset="0"/>
              </a:rPr>
              <a:t>Copyright and Trademarks</a:t>
            </a:r>
          </a:p>
        </p:txBody>
      </p:sp>
      <p:sp>
        <p:nvSpPr>
          <p:cNvPr id="15" name="TextBox 14"/>
          <p:cNvSpPr txBox="1"/>
          <p:nvPr userDrawn="1"/>
        </p:nvSpPr>
        <p:spPr>
          <a:xfrm>
            <a:off x="298809" y="371141"/>
            <a:ext cx="3087685" cy="398468"/>
          </a:xfrm>
          <a:prstGeom prst="rect">
            <a:avLst/>
          </a:prstGeom>
          <a:noFill/>
          <a:ln>
            <a:noFill/>
          </a:ln>
        </p:spPr>
        <p:txBody>
          <a:bodyPr vert="horz" wrap="none" lIns="238963" tIns="179222" rIns="119483" bIns="59740" rtlCol="0" anchor="ctr" anchorCtr="0">
            <a:noAutofit/>
          </a:bodyPr>
          <a:lstStyle/>
          <a:p>
            <a:pPr defTabSz="597351">
              <a:defRPr/>
            </a:pPr>
            <a:r>
              <a:rPr lang="en-US" sz="1067" dirty="0">
                <a:solidFill>
                  <a:srgbClr val="277EB5"/>
                </a:solidFill>
                <a:cs typeface="Segoe UI" panose="020B0502040204020203" pitchFamily="34" charset="0"/>
              </a:rPr>
              <a:t>Microsoft Confidential</a:t>
            </a:r>
          </a:p>
        </p:txBody>
      </p:sp>
      <p:sp>
        <p:nvSpPr>
          <p:cNvPr id="16" name="TextBox 15"/>
          <p:cNvSpPr txBox="1"/>
          <p:nvPr userDrawn="1"/>
        </p:nvSpPr>
        <p:spPr>
          <a:xfrm>
            <a:off x="298809" y="3053501"/>
            <a:ext cx="3087685" cy="398468"/>
          </a:xfrm>
          <a:prstGeom prst="rect">
            <a:avLst/>
          </a:prstGeom>
          <a:noFill/>
          <a:ln>
            <a:noFill/>
          </a:ln>
        </p:spPr>
        <p:txBody>
          <a:bodyPr vert="horz" wrap="none" lIns="238963" tIns="179222" rIns="119483" bIns="59740" rtlCol="0" anchor="ctr" anchorCtr="0">
            <a:noAutofit/>
          </a:bodyPr>
          <a:lstStyle/>
          <a:p>
            <a:pPr defTabSz="597351">
              <a:defRPr/>
            </a:pPr>
            <a:r>
              <a:rPr lang="en-US" sz="1067" dirty="0">
                <a:solidFill>
                  <a:srgbClr val="277EB5"/>
                </a:solidFill>
                <a:cs typeface="Segoe UI" panose="020B0502040204020203" pitchFamily="34" charset="0"/>
              </a:rPr>
              <a:t>© 2016 Microsoft Corporation. All rights reserved.</a:t>
            </a:r>
          </a:p>
        </p:txBody>
      </p:sp>
      <p:sp>
        <p:nvSpPr>
          <p:cNvPr id="17" name="TextBox 16"/>
          <p:cNvSpPr txBox="1"/>
          <p:nvPr userDrawn="1"/>
        </p:nvSpPr>
        <p:spPr>
          <a:xfrm>
            <a:off x="298808" y="601953"/>
            <a:ext cx="11454317" cy="2390805"/>
          </a:xfrm>
          <a:prstGeom prst="rect">
            <a:avLst/>
          </a:prstGeom>
          <a:noFill/>
          <a:ln>
            <a:noFill/>
          </a:ln>
        </p:spPr>
        <p:txBody>
          <a:bodyPr vert="horz" wrap="square" lIns="238963" tIns="179222" rIns="119483" bIns="59740" rtlCol="0" anchor="t" anchorCtr="0">
            <a:normAutofit/>
          </a:bodyPr>
          <a:lstStyle/>
          <a:p>
            <a:pPr defTabSz="597351">
              <a:spcAft>
                <a:spcPts val="784"/>
              </a:spcAft>
              <a:defRPr/>
            </a:pPr>
            <a:r>
              <a:rPr lang="en-US" sz="1200" dirty="0">
                <a:solidFill>
                  <a:srgbClr val="000000">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597351">
              <a:spcAft>
                <a:spcPts val="784"/>
              </a:spcAft>
              <a:defRPr/>
            </a:pPr>
            <a:r>
              <a:rPr lang="en-US" sz="1200" dirty="0">
                <a:solidFill>
                  <a:srgbClr val="000000">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597351">
              <a:spcAft>
                <a:spcPts val="784"/>
              </a:spcAft>
              <a:defRPr/>
            </a:pPr>
            <a:r>
              <a:rPr lang="en-US" sz="1200" dirty="0">
                <a:solidFill>
                  <a:srgbClr val="000000">
                    <a:alpha val="87000"/>
                  </a:srgbClr>
                </a:solidFill>
                <a:cs typeface="Segoe UI" panose="020B0502040204020203" pitchFamily="34" charset="0"/>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597351">
              <a:spcAft>
                <a:spcPts val="784"/>
              </a:spcAft>
              <a:defRPr/>
            </a:pPr>
            <a:endParaRPr lang="en-US" sz="1333" dirty="0">
              <a:solidFill>
                <a:srgbClr val="000000">
                  <a:alpha val="87000"/>
                </a:srgbClr>
              </a:solidFill>
              <a:cs typeface="Segoe UI" panose="020B0502040204020203" pitchFamily="34" charset="0"/>
            </a:endParaRPr>
          </a:p>
        </p:txBody>
      </p:sp>
    </p:spTree>
    <p:custDataLst>
      <p:tags r:id="rId1"/>
    </p:custDataLst>
    <p:extLst>
      <p:ext uri="{BB962C8B-B14F-4D97-AF65-F5344CB8AC3E}">
        <p14:creationId xmlns:p14="http://schemas.microsoft.com/office/powerpoint/2010/main" val="84368325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9998651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60874772"/>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7088014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60099521"/>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54318453"/>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2227434"/>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9465301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10126566"/>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0874619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59078350"/>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7"/>
            <a:ext cx="11653523" cy="3512592"/>
          </a:xfrm>
        </p:spPr>
        <p:txBody>
          <a:bodyPr>
            <a:spAutoFit/>
          </a:bodyPr>
          <a:lstStyle>
            <a:lvl1pPr>
              <a:defRPr sz="3921" baseline="0">
                <a:solidFill>
                  <a:schemeClr val="bg1"/>
                </a:solidFill>
                <a:latin typeface="+mj-lt"/>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In this Lesson you will learn the following:</a:t>
            </a:r>
          </a:p>
          <a:p>
            <a:pPr lvl="1"/>
            <a:r>
              <a:rPr lang="en-US" dirty="0"/>
              <a:t>Key Objective 1</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2</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3</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4</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5</a:t>
            </a:r>
          </a:p>
          <a:p>
            <a:pPr lvl="1"/>
            <a:endParaRPr lang="en-US" dirty="0"/>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Lesson Objectives</a:t>
            </a:r>
          </a:p>
        </p:txBody>
      </p:sp>
    </p:spTree>
    <p:extLst>
      <p:ext uri="{BB962C8B-B14F-4D97-AF65-F5344CB8AC3E}">
        <p14:creationId xmlns:p14="http://schemas.microsoft.com/office/powerpoint/2010/main" val="337916041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5" y="201450"/>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17291951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87349778-B44C-D397-29E2-217B07C2C6C4}"/>
              </a:ext>
            </a:extLst>
          </p:cNvPr>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24697900"/>
      </p:ext>
    </p:extLst>
  </p:cSld>
  <p:clrMapOvr>
    <a:masterClrMapping/>
  </p:clrMapOvr>
  <p:transition>
    <p:fade/>
  </p:transition>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913632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58408"/>
      </p:ext>
    </p:extLst>
  </p:cSld>
  <p:clrMapOvr>
    <a:masterClrMapping/>
  </p:clrMapOvr>
  <p:transition>
    <p:fade/>
  </p:transition>
  <p:extLst>
    <p:ext uri="{DCECCB84-F9BA-43D5-87BE-67443E8EF086}">
      <p15:sldGuideLst xmlns:p15="http://schemas.microsoft.com/office/powerpoint/2012/main"/>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5662754"/>
      </p:ext>
    </p:extLst>
  </p:cSld>
  <p:clrMapOvr>
    <a:masterClrMapping/>
  </p:clrMapOvr>
  <p:extLst>
    <p:ext uri="{DCECCB84-F9BA-43D5-87BE-67443E8EF086}">
      <p15:sldGuideLst xmlns:p15="http://schemas.microsoft.com/office/powerpoint/2012/main"/>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118407536"/>
      </p:ext>
    </p:extLst>
  </p:cSld>
  <p:clrMapOvr>
    <a:masterClrMapping/>
  </p:clrMapOvr>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2" name="Text Box 3">
            <a:extLst>
              <a:ext uri="{FF2B5EF4-FFF2-40B4-BE49-F238E27FC236}">
                <a16:creationId xmlns:a16="http://schemas.microsoft.com/office/drawing/2014/main" id="{1C29F94B-6577-9302-36AB-1D8FDA67B215}"/>
              </a:ext>
            </a:extLst>
          </p:cNvPr>
          <p:cNvSpPr txBox="1">
            <a:spLocks noChangeArrowheads="1"/>
          </p:cNvSpPr>
          <p:nvPr userDrawn="1"/>
        </p:nvSpPr>
        <p:spPr bwMode="blackWhite">
          <a:xfrm>
            <a:off x="269240" y="6118657"/>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a:extLst>
              <a:ext uri="{FF2B5EF4-FFF2-40B4-BE49-F238E27FC236}">
                <a16:creationId xmlns:a16="http://schemas.microsoft.com/office/drawing/2014/main" id="{A09018F6-0E14-18FA-9A7B-E601FB1AE60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12028894"/>
      </p:ext>
    </p:extLst>
  </p:cSld>
  <p:clrMapOvr>
    <a:masterClrMapping/>
  </p:clrMapOvr>
  <p:transition>
    <p:fade/>
  </p:transition>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274244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6449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40657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428962422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3810241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40" y="1189178"/>
            <a:ext cx="11653523" cy="3582391"/>
          </a:xfrm>
        </p:spPr>
        <p:txBody>
          <a:bodyPr>
            <a:spAutoFit/>
          </a:bodyPr>
          <a:lstStyle>
            <a:lvl1pPr>
              <a:defRPr sz="3920" baseline="0">
                <a:solidFill>
                  <a:schemeClr val="bg1"/>
                </a:solidFill>
                <a:latin typeface="+mj-lt"/>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In this Lesson you will learn the following:</a:t>
            </a:r>
          </a:p>
          <a:p>
            <a:pPr lvl="1"/>
            <a:r>
              <a:rPr lang="en-US" dirty="0"/>
              <a:t>Key Objective 1</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2</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3</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4</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5</a:t>
            </a:r>
          </a:p>
          <a:p>
            <a:pPr lvl="1"/>
            <a:endParaRPr lang="en-US" dirty="0"/>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Lesson Objectives</a:t>
            </a:r>
          </a:p>
        </p:txBody>
      </p:sp>
    </p:spTree>
    <p:extLst>
      <p:ext uri="{BB962C8B-B14F-4D97-AF65-F5344CB8AC3E}">
        <p14:creationId xmlns:p14="http://schemas.microsoft.com/office/powerpoint/2010/main" val="1197503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103284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44250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408514613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588565" y="6492877"/>
            <a:ext cx="2844800" cy="365125"/>
          </a:xfrm>
          <a:prstGeom prst="rect">
            <a:avLst/>
          </a:prstGeom>
        </p:spPr>
        <p:txBody>
          <a:bodyPr lIns="182828" rIns="182828"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90016791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530659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588418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588565" y="6492877"/>
            <a:ext cx="2844800" cy="365125"/>
          </a:xfrm>
          <a:prstGeom prst="rect">
            <a:avLst/>
          </a:prstGeom>
        </p:spPr>
        <p:txBody>
          <a:bodyPr lIns="182828" rIns="182828"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410424533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647378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588565" y="6492877"/>
            <a:ext cx="2844800" cy="365125"/>
          </a:xfrm>
          <a:prstGeom prst="rect">
            <a:avLst/>
          </a:prstGeom>
        </p:spPr>
        <p:txBody>
          <a:bodyPr lIns="182828" rIns="182828"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186441079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72219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spTree>
    <p:extLst>
      <p:ext uri="{BB962C8B-B14F-4D97-AF65-F5344CB8AC3E}">
        <p14:creationId xmlns:p14="http://schemas.microsoft.com/office/powerpoint/2010/main" val="851419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grpSp>
        <p:nvGrpSpPr>
          <p:cNvPr id="3" name="Group 4"/>
          <p:cNvGrpSpPr>
            <a:grpSpLocks noChangeAspect="1"/>
          </p:cNvGrpSpPr>
          <p:nvPr userDrawn="1"/>
        </p:nvGrpSpPr>
        <p:grpSpPr bwMode="auto">
          <a:xfrm>
            <a:off x="7291232" y="1367011"/>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1892320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8" name="Picture 237"/>
          <p:cNvPicPr>
            <a:picLocks noChangeAspect="1"/>
          </p:cNvPicPr>
          <p:nvPr userDrawn="1"/>
        </p:nvPicPr>
        <p:blipFill>
          <a:blip r:embed="rId2"/>
          <a:stretch>
            <a:fillRect/>
          </a:stretch>
        </p:blipFill>
        <p:spPr>
          <a:xfrm>
            <a:off x="7609946" y="4045998"/>
            <a:ext cx="4837424" cy="3228201"/>
          </a:xfrm>
          <a:prstGeom prst="rect">
            <a:avLst/>
          </a:prstGeom>
        </p:spPr>
      </p:pic>
    </p:spTree>
    <p:extLst>
      <p:ext uri="{BB962C8B-B14F-4D97-AF65-F5344CB8AC3E}">
        <p14:creationId xmlns:p14="http://schemas.microsoft.com/office/powerpoint/2010/main" val="25231528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122" name="Picture 121"/>
          <p:cNvPicPr>
            <a:picLocks noChangeAspect="1"/>
          </p:cNvPicPr>
          <p:nvPr userDrawn="1"/>
        </p:nvPicPr>
        <p:blipFill>
          <a:blip r:embed="rId2"/>
          <a:stretch>
            <a:fillRect/>
          </a:stretch>
        </p:blipFill>
        <p:spPr>
          <a:xfrm>
            <a:off x="7609946" y="4045998"/>
            <a:ext cx="4837424" cy="3228201"/>
          </a:xfrm>
          <a:prstGeom prst="rect">
            <a:avLst/>
          </a:prstGeom>
        </p:spPr>
      </p:pic>
    </p:spTree>
    <p:extLst>
      <p:ext uri="{BB962C8B-B14F-4D97-AF65-F5344CB8AC3E}">
        <p14:creationId xmlns:p14="http://schemas.microsoft.com/office/powerpoint/2010/main" val="28442408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9" name="Picture 238"/>
          <p:cNvPicPr>
            <a:picLocks noChangeAspect="1"/>
          </p:cNvPicPr>
          <p:nvPr userDrawn="1"/>
        </p:nvPicPr>
        <p:blipFill>
          <a:blip r:embed="rId2"/>
          <a:stretch>
            <a:fillRect/>
          </a:stretch>
        </p:blipFill>
        <p:spPr>
          <a:xfrm>
            <a:off x="7609946" y="4045998"/>
            <a:ext cx="4837424" cy="3228201"/>
          </a:xfrm>
          <a:prstGeom prst="rect">
            <a:avLst/>
          </a:prstGeom>
        </p:spPr>
      </p:pic>
    </p:spTree>
    <p:extLst>
      <p:ext uri="{BB962C8B-B14F-4D97-AF65-F5344CB8AC3E}">
        <p14:creationId xmlns:p14="http://schemas.microsoft.com/office/powerpoint/2010/main" val="16003156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7"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6"/>
            </a:lvl1pPr>
          </a:lstStyle>
          <a:p>
            <a:r>
              <a:rPr lang="en-US" b="1" dirty="0">
                <a:solidFill>
                  <a:schemeClr val="tx1"/>
                </a:solidFill>
              </a:rPr>
              <a:t>Demonstration:</a:t>
            </a:r>
            <a:r>
              <a:rPr lang="en-US" dirty="0">
                <a:solidFill>
                  <a:schemeClr val="tx1"/>
                </a:solidFill>
              </a:rPr>
              <a:t> </a:t>
            </a:r>
            <a:br>
              <a:rPr lang="en-US" dirty="0">
                <a:solidFill>
                  <a:schemeClr val="tx1"/>
                </a:solidFill>
              </a:rPr>
            </a:br>
            <a:r>
              <a:rPr lang="en-US" dirty="0">
                <a:solidFill>
                  <a:schemeClr val="tx1"/>
                </a:solidFill>
              </a:rPr>
              <a:t>Demo Title</a:t>
            </a:r>
          </a:p>
        </p:txBody>
      </p:sp>
    </p:spTree>
    <p:extLst>
      <p:ext uri="{BB962C8B-B14F-4D97-AF65-F5344CB8AC3E}">
        <p14:creationId xmlns:p14="http://schemas.microsoft.com/office/powerpoint/2010/main" val="13562656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12209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9234597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0823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8748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67197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93711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3278427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107C1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40" y="1189176"/>
            <a:ext cx="11653523" cy="3120213"/>
          </a:xfrm>
        </p:spPr>
        <p:txBody>
          <a:bodyPr>
            <a:spAutoFit/>
          </a:bodyPr>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528" baseline="0">
                <a:solidFill>
                  <a:schemeClr val="bg1"/>
                </a:solidFill>
              </a:defRPr>
            </a:lvl1pPr>
          </a:lstStyle>
          <a:p>
            <a:pPr lvl="0"/>
            <a:r>
              <a:rPr lang="en-US" dirty="0"/>
              <a:t>Question 1</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2</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3</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4</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95195262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18657"/>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60682314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0937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4"/>
            <a:ext cx="11274552" cy="685800"/>
          </a:xfrm>
        </p:spPr>
        <p:txBody>
          <a:bodyPr>
            <a:normAutofit/>
          </a:bodyPr>
          <a:lstStyle>
            <a:lvl1pPr>
              <a:defRPr sz="3200"/>
            </a:lvl1pPr>
          </a:lstStyle>
          <a:p>
            <a:r>
              <a:rPr lang="en-US" dirty="0"/>
              <a:t>Click to edit Master title style</a:t>
            </a:r>
          </a:p>
        </p:txBody>
      </p:sp>
      <p:sp>
        <p:nvSpPr>
          <p:cNvPr id="5" name="Slide Number Placeholder 4"/>
          <p:cNvSpPr>
            <a:spLocks noGrp="1"/>
          </p:cNvSpPr>
          <p:nvPr>
            <p:ph type="sldNum" sz="quarter" idx="12"/>
          </p:nvPr>
        </p:nvSpPr>
        <p:spPr>
          <a:xfrm>
            <a:off x="8850632" y="6356352"/>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
        <p:nvSpPr>
          <p:cNvPr id="7" name="Text Placeholder 6"/>
          <p:cNvSpPr>
            <a:spLocks noGrp="1"/>
          </p:cNvSpPr>
          <p:nvPr>
            <p:ph type="body" sz="quarter" idx="13"/>
          </p:nvPr>
        </p:nvSpPr>
        <p:spPr>
          <a:xfrm>
            <a:off x="402338" y="1143000"/>
            <a:ext cx="11173968" cy="1758120"/>
          </a:xfrm>
        </p:spPr>
        <p:txBody>
          <a:bodyPr/>
          <a:lstStyle>
            <a:lvl1pPr>
              <a:defRPr sz="1800"/>
            </a:lvl1pPr>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3"/>
          <p:cNvSpPr txBox="1">
            <a:spLocks/>
          </p:cNvSpPr>
          <p:nvPr userDrawn="1"/>
        </p:nvSpPr>
        <p:spPr>
          <a:xfrm>
            <a:off x="4673600" y="6355082"/>
            <a:ext cx="2844800" cy="365125"/>
          </a:xfrm>
          <a:prstGeom prst="rect">
            <a:avLst/>
          </a:prstGeom>
        </p:spPr>
        <p:txBody>
          <a:bodyPr vert="horz" lIns="182828" tIns="45706" rIns="182828" bIns="45706"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136277413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1" name="TextBox 10"/>
          <p:cNvSpPr txBox="1"/>
          <p:nvPr userDrawn="1"/>
        </p:nvSpPr>
        <p:spPr>
          <a:xfrm>
            <a:off x="298808" y="3345828"/>
            <a:ext cx="11454317" cy="3004747"/>
          </a:xfrm>
          <a:prstGeom prst="rect">
            <a:avLst/>
          </a:prstGeom>
          <a:noFill/>
          <a:ln>
            <a:noFill/>
          </a:ln>
        </p:spPr>
        <p:txBody>
          <a:bodyPr vert="horz" wrap="square" lIns="238929" tIns="179197" rIns="119466" bIns="59731" rtlCol="0" anchor="t" anchorCtr="0">
            <a:noAutofit/>
          </a:bodyPr>
          <a:lstStyle/>
          <a:p>
            <a:pPr defTabSz="597236">
              <a:lnSpc>
                <a:spcPct val="90000"/>
              </a:lnSpc>
              <a:spcAft>
                <a:spcPts val="784"/>
              </a:spcAft>
              <a:defRPr/>
            </a:pPr>
            <a:r>
              <a:rPr lang="en-US" sz="1200" dirty="0">
                <a:solidFill>
                  <a:srgbClr val="000000">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597236">
              <a:lnSpc>
                <a:spcPct val="90000"/>
              </a:lnSpc>
              <a:spcAft>
                <a:spcPts val="784"/>
              </a:spcAft>
              <a:defRPr/>
            </a:pPr>
            <a:r>
              <a:rPr lang="en-US" sz="1200" dirty="0">
                <a:solidFill>
                  <a:srgbClr val="000000">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597236">
              <a:lnSpc>
                <a:spcPct val="90000"/>
              </a:lnSpc>
              <a:spcAft>
                <a:spcPts val="392"/>
              </a:spcAft>
              <a:defRPr/>
            </a:pPr>
            <a:r>
              <a:rPr lang="en-US" sz="1200" dirty="0">
                <a:solidFill>
                  <a:srgbClr val="000000">
                    <a:alpha val="87000"/>
                  </a:srgbClr>
                </a:solidFill>
                <a:cs typeface="Segoe UI" panose="020B0502040204020203" pitchFamily="34" charset="0"/>
              </a:rPr>
              <a:t>For more information, see Use of Microsoft Copyrighted Content at</a:t>
            </a:r>
          </a:p>
          <a:p>
            <a:pPr algn="ctr" defTabSz="597236">
              <a:lnSpc>
                <a:spcPct val="90000"/>
              </a:lnSpc>
              <a:spcAft>
                <a:spcPts val="784"/>
              </a:spcAft>
              <a:defRPr/>
            </a:pPr>
            <a:r>
              <a:rPr lang="en-US" sz="1200" u="sng" dirty="0">
                <a:solidFill>
                  <a:prstClr val="black"/>
                </a:solidFill>
                <a:cs typeface="Segoe UI" panose="020B0502040204020203" pitchFamily="34" charset="0"/>
                <a:hlinkClick r:id="rId3" tooltip="http://www.microsoft.com/en-us/legal/intellectualproperty/Permissions/default.aspx"/>
              </a:rPr>
              <a:t>http://www.microsoft.com/en-us/legal/intellectualproperty/Permissions/default.aspx</a:t>
            </a:r>
            <a:endParaRPr lang="en-US" sz="1200" dirty="0">
              <a:solidFill>
                <a:prstClr val="black"/>
              </a:solidFill>
              <a:cs typeface="Segoe UI" panose="020B0502040204020203" pitchFamily="34" charset="0"/>
            </a:endParaRPr>
          </a:p>
          <a:p>
            <a:pPr defTabSz="597236">
              <a:lnSpc>
                <a:spcPct val="90000"/>
              </a:lnSpc>
              <a:spcAft>
                <a:spcPts val="784"/>
              </a:spcAft>
              <a:defRPr/>
            </a:pPr>
            <a:r>
              <a:rPr lang="en-IN" sz="1200" dirty="0">
                <a:solidFill>
                  <a:srgbClr val="000000">
                    <a:alpha val="87000"/>
                  </a:srgbClr>
                </a:solidFill>
                <a:cs typeface="Segoe UI" panose="020B0502040204020203" pitchFamily="34" charset="0"/>
              </a:rPr>
              <a:t>DirectX, Hyper-V, Internet Explorer, Microsoft, Outlook, OneDrive, SQL Server, Windows, Microsoft Azure, Windows PowerShell, Windows Server, Windows Vista, and Zune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a:p>
            <a:pPr defTabSz="597236">
              <a:lnSpc>
                <a:spcPct val="90000"/>
              </a:lnSpc>
              <a:spcAft>
                <a:spcPts val="784"/>
              </a:spcAft>
              <a:defRPr/>
            </a:pPr>
            <a:endParaRPr lang="en-US" sz="1333" dirty="0">
              <a:solidFill>
                <a:srgbClr val="000000">
                  <a:alpha val="87000"/>
                </a:srgbClr>
              </a:solidFill>
              <a:cs typeface="Segoe UI" panose="020B0502040204020203" pitchFamily="34" charset="0"/>
            </a:endParaRPr>
          </a:p>
        </p:txBody>
      </p:sp>
      <p:sp>
        <p:nvSpPr>
          <p:cNvPr id="13" name="TextBox 12"/>
          <p:cNvSpPr txBox="1"/>
          <p:nvPr userDrawn="1"/>
        </p:nvSpPr>
        <p:spPr>
          <a:xfrm>
            <a:off x="304668" y="101955"/>
            <a:ext cx="3087685" cy="398468"/>
          </a:xfrm>
          <a:prstGeom prst="rect">
            <a:avLst/>
          </a:prstGeom>
          <a:noFill/>
          <a:ln>
            <a:noFill/>
          </a:ln>
        </p:spPr>
        <p:txBody>
          <a:bodyPr vert="horz" wrap="none" lIns="238929" tIns="179197" rIns="119466" bIns="59731" rtlCol="0" anchor="ctr" anchorCtr="0">
            <a:noAutofit/>
          </a:bodyPr>
          <a:lstStyle/>
          <a:p>
            <a:pPr defTabSz="597236">
              <a:defRPr/>
            </a:pPr>
            <a:r>
              <a:rPr lang="en-US" sz="1467" b="1" dirty="0">
                <a:solidFill>
                  <a:srgbClr val="000000"/>
                </a:solidFill>
                <a:cs typeface="Segoe UI" panose="020B0502040204020203" pitchFamily="34" charset="0"/>
              </a:rPr>
              <a:t>Conditions and Terms of Use</a:t>
            </a:r>
            <a:endParaRPr lang="en-US" sz="1467" dirty="0">
              <a:solidFill>
                <a:srgbClr val="000000"/>
              </a:solidFill>
              <a:cs typeface="Segoe UI" panose="020B0502040204020203" pitchFamily="34" charset="0"/>
            </a:endParaRPr>
          </a:p>
        </p:txBody>
      </p:sp>
      <p:sp>
        <p:nvSpPr>
          <p:cNvPr id="14" name="TextBox 13"/>
          <p:cNvSpPr txBox="1"/>
          <p:nvPr userDrawn="1"/>
        </p:nvSpPr>
        <p:spPr>
          <a:xfrm>
            <a:off x="301741" y="2812965"/>
            <a:ext cx="3087685" cy="363312"/>
          </a:xfrm>
          <a:prstGeom prst="rect">
            <a:avLst/>
          </a:prstGeom>
          <a:noFill/>
          <a:ln>
            <a:noFill/>
          </a:ln>
        </p:spPr>
        <p:txBody>
          <a:bodyPr vert="horz" wrap="none" lIns="238929" tIns="179197" rIns="119466" bIns="59731" rtlCol="0" anchor="ctr" anchorCtr="0">
            <a:noAutofit/>
          </a:bodyPr>
          <a:lstStyle/>
          <a:p>
            <a:pPr defTabSz="597236">
              <a:defRPr/>
            </a:pPr>
            <a:r>
              <a:rPr lang="en-US" sz="1467" b="1" dirty="0">
                <a:solidFill>
                  <a:srgbClr val="000000"/>
                </a:solidFill>
                <a:cs typeface="Segoe UI" panose="020B0502040204020203" pitchFamily="34" charset="0"/>
              </a:rPr>
              <a:t>Copyright and Trademarks</a:t>
            </a:r>
          </a:p>
        </p:txBody>
      </p:sp>
      <p:sp>
        <p:nvSpPr>
          <p:cNvPr id="15" name="TextBox 14"/>
          <p:cNvSpPr txBox="1"/>
          <p:nvPr userDrawn="1"/>
        </p:nvSpPr>
        <p:spPr>
          <a:xfrm>
            <a:off x="298809" y="371141"/>
            <a:ext cx="3087685" cy="398468"/>
          </a:xfrm>
          <a:prstGeom prst="rect">
            <a:avLst/>
          </a:prstGeom>
          <a:noFill/>
          <a:ln>
            <a:noFill/>
          </a:ln>
        </p:spPr>
        <p:txBody>
          <a:bodyPr vert="horz" wrap="none" lIns="238929" tIns="179197" rIns="119466" bIns="59731" rtlCol="0" anchor="ctr" anchorCtr="0">
            <a:noAutofit/>
          </a:bodyPr>
          <a:lstStyle/>
          <a:p>
            <a:pPr defTabSz="597236">
              <a:defRPr/>
            </a:pPr>
            <a:r>
              <a:rPr lang="en-US" sz="1067" dirty="0">
                <a:solidFill>
                  <a:srgbClr val="277EB5"/>
                </a:solidFill>
                <a:cs typeface="Segoe UI" panose="020B0502040204020203" pitchFamily="34" charset="0"/>
              </a:rPr>
              <a:t>Microsoft Confidential</a:t>
            </a:r>
          </a:p>
        </p:txBody>
      </p:sp>
      <p:sp>
        <p:nvSpPr>
          <p:cNvPr id="16" name="TextBox 15"/>
          <p:cNvSpPr txBox="1"/>
          <p:nvPr userDrawn="1"/>
        </p:nvSpPr>
        <p:spPr>
          <a:xfrm>
            <a:off x="298809" y="3053501"/>
            <a:ext cx="3087685" cy="398468"/>
          </a:xfrm>
          <a:prstGeom prst="rect">
            <a:avLst/>
          </a:prstGeom>
          <a:noFill/>
          <a:ln>
            <a:noFill/>
          </a:ln>
        </p:spPr>
        <p:txBody>
          <a:bodyPr vert="horz" wrap="none" lIns="238929" tIns="179197" rIns="119466" bIns="59731" rtlCol="0" anchor="ctr" anchorCtr="0">
            <a:noAutofit/>
          </a:bodyPr>
          <a:lstStyle/>
          <a:p>
            <a:pPr defTabSz="597236">
              <a:defRPr/>
            </a:pPr>
            <a:r>
              <a:rPr lang="en-US" sz="1067" dirty="0">
                <a:solidFill>
                  <a:srgbClr val="277EB5"/>
                </a:solidFill>
                <a:cs typeface="Segoe UI" panose="020B0502040204020203" pitchFamily="34" charset="0"/>
              </a:rPr>
              <a:t>© 2016 Microsoft Corporation. All rights reserved.</a:t>
            </a:r>
          </a:p>
        </p:txBody>
      </p:sp>
      <p:sp>
        <p:nvSpPr>
          <p:cNvPr id="17" name="TextBox 16"/>
          <p:cNvSpPr txBox="1"/>
          <p:nvPr userDrawn="1"/>
        </p:nvSpPr>
        <p:spPr>
          <a:xfrm>
            <a:off x="298808" y="601954"/>
            <a:ext cx="11454317" cy="2390805"/>
          </a:xfrm>
          <a:prstGeom prst="rect">
            <a:avLst/>
          </a:prstGeom>
          <a:noFill/>
          <a:ln>
            <a:noFill/>
          </a:ln>
        </p:spPr>
        <p:txBody>
          <a:bodyPr vert="horz" wrap="square" lIns="238929" tIns="179197" rIns="119466" bIns="59731" rtlCol="0" anchor="t" anchorCtr="0">
            <a:normAutofit/>
          </a:bodyPr>
          <a:lstStyle/>
          <a:p>
            <a:pPr defTabSz="597236">
              <a:spcAft>
                <a:spcPts val="784"/>
              </a:spcAft>
              <a:defRPr/>
            </a:pPr>
            <a:r>
              <a:rPr lang="en-US" sz="1200" dirty="0">
                <a:solidFill>
                  <a:srgbClr val="000000">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597236">
              <a:spcAft>
                <a:spcPts val="784"/>
              </a:spcAft>
              <a:defRPr/>
            </a:pPr>
            <a:r>
              <a:rPr lang="en-US" sz="1200" dirty="0">
                <a:solidFill>
                  <a:srgbClr val="000000">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597236">
              <a:spcAft>
                <a:spcPts val="784"/>
              </a:spcAft>
              <a:defRPr/>
            </a:pPr>
            <a:r>
              <a:rPr lang="en-US" sz="1200" dirty="0">
                <a:solidFill>
                  <a:srgbClr val="000000">
                    <a:alpha val="87000"/>
                  </a:srgbClr>
                </a:solidFill>
                <a:cs typeface="Segoe UI" panose="020B0502040204020203" pitchFamily="34" charset="0"/>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597236">
              <a:spcAft>
                <a:spcPts val="784"/>
              </a:spcAft>
              <a:defRPr/>
            </a:pPr>
            <a:endParaRPr lang="en-US" sz="1333" dirty="0">
              <a:solidFill>
                <a:srgbClr val="000000">
                  <a:alpha val="87000"/>
                </a:srgbClr>
              </a:solidFill>
              <a:cs typeface="Segoe UI" panose="020B0502040204020203" pitchFamily="34" charset="0"/>
            </a:endParaRPr>
          </a:p>
        </p:txBody>
      </p:sp>
    </p:spTree>
    <p:custDataLst>
      <p:tags r:id="rId1"/>
    </p:custDataLst>
    <p:extLst>
      <p:ext uri="{BB962C8B-B14F-4D97-AF65-F5344CB8AC3E}">
        <p14:creationId xmlns:p14="http://schemas.microsoft.com/office/powerpoint/2010/main" val="28341905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60"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26917118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397819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60"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94461263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3" y="3524"/>
            <a:ext cx="6858000" cy="6858000"/>
          </a:xfrm>
          <a:no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1505273843"/>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9"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bg1"/>
                </a:solidFill>
              </a:defRPr>
            </a:lvl1pPr>
            <a:lvl2pPr marL="0" indent="0" algn="l" defTabSz="932508">
              <a:lnSpc>
                <a:spcPct val="100000"/>
              </a:lnSpc>
              <a:spcBef>
                <a:spcPts val="672"/>
              </a:spcBef>
              <a:buFontTx/>
              <a:buNone/>
              <a:defRPr sz="2200" baseline="0">
                <a:solidFill>
                  <a:schemeClr val="bg1"/>
                </a:solidFill>
              </a:defRPr>
            </a:lvl2pPr>
            <a:lvl3pPr marL="0" indent="0" algn="l" defTabSz="932508">
              <a:lnSpc>
                <a:spcPct val="100000"/>
              </a:lnSpc>
              <a:spcBef>
                <a:spcPts val="672"/>
              </a:spcBef>
              <a:buFontTx/>
              <a:buNone/>
              <a:defRPr sz="2200" baseline="0">
                <a:solidFill>
                  <a:schemeClr val="bg1"/>
                </a:solidFill>
              </a:defRPr>
            </a:lvl3pPr>
            <a:lvl4pPr marL="0" indent="0" algn="l" defTabSz="93250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508">
              <a:lnSpc>
                <a:spcPct val="100000"/>
              </a:lnSpc>
              <a:spcBef>
                <a:spcPts val="672"/>
              </a:spcBef>
              <a:buFontTx/>
              <a:buNone/>
              <a:defRPr sz="2200" baseline="0">
                <a:solidFill>
                  <a:schemeClr val="bg1"/>
                </a:solidFill>
              </a:defRPr>
            </a:lvl6pPr>
            <a:lvl7pPr marL="0" indent="0" algn="l" defTabSz="932508">
              <a:lnSpc>
                <a:spcPct val="100000"/>
              </a:lnSpc>
              <a:spcBef>
                <a:spcPts val="672"/>
              </a:spcBef>
              <a:buFontTx/>
              <a:buNone/>
              <a:defRPr sz="2200" baseline="0">
                <a:solidFill>
                  <a:schemeClr val="bg1"/>
                </a:solidFill>
              </a:defRPr>
            </a:lvl7pPr>
            <a:lvl8pPr marL="0" indent="0" algn="l" defTabSz="932508">
              <a:lnSpc>
                <a:spcPct val="100000"/>
              </a:lnSpc>
              <a:spcBef>
                <a:spcPts val="672"/>
              </a:spcBef>
              <a:buFontTx/>
              <a:buNone/>
              <a:defRPr sz="2200" baseline="0">
                <a:solidFill>
                  <a:schemeClr val="bg1"/>
                </a:solidFill>
              </a:defRPr>
            </a:lvl8pPr>
            <a:lvl9pPr marL="0" indent="0" algn="l" defTabSz="93250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3" y="3524"/>
            <a:ext cx="6858000" cy="6854476"/>
          </a:xfrm>
          <a:solidFill>
            <a:srgbClr val="0078D4"/>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1423755362"/>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4910804"/>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508">
              <a:lnSpc>
                <a:spcPct val="100000"/>
              </a:lnSpc>
              <a:spcBef>
                <a:spcPts val="672"/>
              </a:spcBef>
              <a:buFontTx/>
              <a:buNone/>
              <a:defRPr sz="2200" baseline="0">
                <a:solidFill>
                  <a:schemeClr val="bg1"/>
                </a:solidFill>
              </a:defRPr>
            </a:lvl1pPr>
            <a:lvl2pPr marL="0" indent="0" algn="l" defTabSz="932508">
              <a:lnSpc>
                <a:spcPct val="100000"/>
              </a:lnSpc>
              <a:spcBef>
                <a:spcPts val="672"/>
              </a:spcBef>
              <a:buFontTx/>
              <a:buNone/>
              <a:defRPr sz="2200" baseline="0">
                <a:solidFill>
                  <a:schemeClr val="bg1"/>
                </a:solidFill>
              </a:defRPr>
            </a:lvl2pPr>
            <a:lvl3pPr marL="0" indent="0" algn="l" defTabSz="932508">
              <a:lnSpc>
                <a:spcPct val="100000"/>
              </a:lnSpc>
              <a:spcBef>
                <a:spcPts val="672"/>
              </a:spcBef>
              <a:buFontTx/>
              <a:buNone/>
              <a:defRPr sz="2200" baseline="0">
                <a:solidFill>
                  <a:schemeClr val="bg1"/>
                </a:solidFill>
              </a:defRPr>
            </a:lvl3pPr>
            <a:lvl4pPr marL="0" indent="0" algn="l" defTabSz="93250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508">
              <a:lnSpc>
                <a:spcPct val="100000"/>
              </a:lnSpc>
              <a:spcBef>
                <a:spcPts val="672"/>
              </a:spcBef>
              <a:buFontTx/>
              <a:buNone/>
              <a:defRPr sz="2200" baseline="0">
                <a:solidFill>
                  <a:schemeClr val="bg1"/>
                </a:solidFill>
              </a:defRPr>
            </a:lvl6pPr>
            <a:lvl7pPr marL="0" indent="0" algn="l" defTabSz="932508">
              <a:lnSpc>
                <a:spcPct val="100000"/>
              </a:lnSpc>
              <a:spcBef>
                <a:spcPts val="672"/>
              </a:spcBef>
              <a:buFontTx/>
              <a:buNone/>
              <a:defRPr sz="2200" baseline="0">
                <a:solidFill>
                  <a:schemeClr val="bg1"/>
                </a:solidFill>
              </a:defRPr>
            </a:lvl7pPr>
            <a:lvl8pPr marL="0" indent="0" algn="l" defTabSz="932508">
              <a:lnSpc>
                <a:spcPct val="100000"/>
              </a:lnSpc>
              <a:spcBef>
                <a:spcPts val="672"/>
              </a:spcBef>
              <a:buFontTx/>
              <a:buNone/>
              <a:defRPr sz="2200" baseline="0">
                <a:solidFill>
                  <a:schemeClr val="bg1"/>
                </a:solidFill>
              </a:defRPr>
            </a:lvl8pPr>
            <a:lvl9pPr marL="0" indent="0" algn="l" defTabSz="93250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3565429706"/>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3480221558"/>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49986825"/>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734121551"/>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75834915"/>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5"/>
            <a:ext cx="10880726" cy="4819650"/>
          </a:xfrm>
          <a:prstGeom prst="rect">
            <a:avLst/>
          </a:prstGeom>
        </p:spPr>
        <p:txBody>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88391917"/>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588565" y="6492876"/>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340051056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4"/>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7" y="1408114"/>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036565"/>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4"/>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7" y="1408114"/>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819309"/>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951023337"/>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997931726"/>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794205528"/>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77750995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531452007"/>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18793116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1"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4861235"/>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4"/>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52470854"/>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5824844"/>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4"/>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01694740"/>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4"/>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9" y="630238"/>
            <a:ext cx="4352925" cy="5597525"/>
          </a:xfrm>
          <a:prstGeom prst="rect">
            <a:avLst/>
          </a:prstGeom>
        </p:spPr>
        <p:txBody>
          <a:bodyPr vert="horz" lIns="0" tIns="0" rIns="0" bIns="0" rtlCol="0">
            <a:normAutofit/>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61524"/>
          </a:xfrm>
          <a:solidFill>
            <a:srgbClr val="243A5E"/>
          </a:solidFill>
        </p:spPr>
        <p:txBody>
          <a:bodyPr tIns="18288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224020682"/>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8" y="2979739"/>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61524"/>
          </a:xfrm>
          <a:solidFill>
            <a:srgbClr val="243A5E"/>
          </a:solidFill>
        </p:spPr>
        <p:txBody>
          <a:bodyPr tIns="18288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18140054"/>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1" y="1"/>
            <a:ext cx="12191682" cy="4672013"/>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823083770"/>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1"/>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1" y="2030414"/>
            <a:ext cx="12191682" cy="4827586"/>
          </a:xfrm>
          <a:solidFill>
            <a:srgbClr val="243A5E"/>
          </a:solidFill>
        </p:spPr>
        <p:txBody>
          <a:bodyPr tIns="1005840" anchor="t">
            <a:noAutofit/>
          </a:bodyPr>
          <a:lstStyle>
            <a:lvl1pPr marL="0" marR="0" indent="0" algn="ctr" defTabSz="93250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07767198"/>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3"/>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6"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07263690"/>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3"/>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6"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357965076"/>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5"/>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05465"/>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2"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9"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412359770"/>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5"/>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05465"/>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2"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9"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320869708"/>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9" y="4672015"/>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5"/>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9"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3"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1"/>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41621379"/>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1415585"/>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9" y="4672015"/>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5"/>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9"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3"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1"/>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91834416"/>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9" y="1436688"/>
            <a:ext cx="7181850" cy="4832350"/>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1"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43" indent="-168243">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6997363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9" y="1436688"/>
            <a:ext cx="7181850" cy="4832350"/>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1"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43" indent="-168243">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5119333"/>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8" y="786383"/>
            <a:ext cx="6735763"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293"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9" y="1397002"/>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529" indent="-342834">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47547090"/>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8" y="630239"/>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9"/>
            <a:ext cx="6527800" cy="5597525"/>
          </a:xfrm>
          <a:prstGeom prst="rect">
            <a:avLst/>
          </a:prstGeom>
        </p:spPr>
        <p:txBody>
          <a:bodyPr anchor="ctr" anchorCtr="0">
            <a:noAutofit/>
          </a:bodyPr>
          <a:lstStyle>
            <a:lvl1pPr marL="457112" indent="-457112">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57794047"/>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1"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9"/>
            <a:ext cx="6527800" cy="5597525"/>
          </a:xfrm>
          <a:prstGeom prst="rect">
            <a:avLst/>
          </a:prstGeom>
        </p:spPr>
        <p:txBody>
          <a:bodyPr anchor="ctr" anchorCtr="0">
            <a:noAutofit/>
          </a:bodyPr>
          <a:lstStyle>
            <a:lvl1pPr marL="457112" indent="-457112">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78885005"/>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9"/>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358" indent="0">
              <a:spcBef>
                <a:spcPts val="330"/>
              </a:spcBef>
              <a:buFontTx/>
              <a:buNone/>
              <a:defRPr sz="1800" baseline="0">
                <a:solidFill>
                  <a:schemeClr val="tx1"/>
                </a:solidFill>
                <a:latin typeface="Comic Sans MS" panose="030F0702030302020204" pitchFamily="66" charset="0"/>
              </a:defRPr>
            </a:lvl6pPr>
            <a:lvl7pPr marL="1051358" indent="0">
              <a:spcBef>
                <a:spcPts val="330"/>
              </a:spcBef>
              <a:buFontTx/>
              <a:buNone/>
              <a:defRPr sz="1800" baseline="0">
                <a:solidFill>
                  <a:schemeClr val="tx1"/>
                </a:solidFill>
                <a:latin typeface="Comic Sans MS" panose="030F0702030302020204" pitchFamily="66" charset="0"/>
              </a:defRPr>
            </a:lvl7pPr>
            <a:lvl8pPr marL="1051358" indent="0">
              <a:spcBef>
                <a:spcPts val="330"/>
              </a:spcBef>
              <a:buFontTx/>
              <a:buNone/>
              <a:defRPr sz="1800" baseline="0">
                <a:solidFill>
                  <a:schemeClr val="tx1"/>
                </a:solidFill>
                <a:latin typeface="Comic Sans MS" panose="030F0702030302020204" pitchFamily="66" charset="0"/>
              </a:defRPr>
            </a:lvl8pPr>
            <a:lvl9pPr marL="1051358"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2771378"/>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9"/>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358" indent="0">
              <a:spcBef>
                <a:spcPts val="330"/>
              </a:spcBef>
              <a:buFontTx/>
              <a:buNone/>
              <a:defRPr sz="1800" baseline="0">
                <a:solidFill>
                  <a:schemeClr val="tx1"/>
                </a:solidFill>
                <a:latin typeface="Comic Sans MS" panose="030F0702030302020204" pitchFamily="66" charset="0"/>
              </a:defRPr>
            </a:lvl6pPr>
            <a:lvl7pPr marL="1051358" indent="0">
              <a:spcBef>
                <a:spcPts val="330"/>
              </a:spcBef>
              <a:buFontTx/>
              <a:buNone/>
              <a:defRPr sz="1800" baseline="0">
                <a:solidFill>
                  <a:schemeClr val="tx1"/>
                </a:solidFill>
                <a:latin typeface="Comic Sans MS" panose="030F0702030302020204" pitchFamily="66" charset="0"/>
              </a:defRPr>
            </a:lvl7pPr>
            <a:lvl8pPr marL="1051358" indent="0">
              <a:spcBef>
                <a:spcPts val="330"/>
              </a:spcBef>
              <a:buFontTx/>
              <a:buNone/>
              <a:defRPr sz="1800" baseline="0">
                <a:solidFill>
                  <a:schemeClr val="tx1"/>
                </a:solidFill>
                <a:latin typeface="Comic Sans MS" panose="030F0702030302020204" pitchFamily="66" charset="0"/>
              </a:defRPr>
            </a:lvl8pPr>
            <a:lvl9pPr marL="1051358"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110407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709343"/>
      </p:ext>
    </p:extLst>
  </p:cSld>
  <p:clrMapOvr>
    <a:masterClrMapping/>
  </p:clrMapOvr>
  <p:hf sldNum="0" hdr="0" ftr="0" dt="0"/>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1165413"/>
      </p:ext>
    </p:extLst>
  </p:cSld>
  <p:clrMapOvr>
    <a:masterClrMapping/>
  </p:clrMapOvr>
  <p:hf sldNum="0" hdr="0" ftr="0" dt="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image" Target="../media/image1.png"/><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9" Type="http://schemas.openxmlformats.org/officeDocument/2006/relationships/slideLayout" Target="../slideLayouts/slideLayout97.xml"/><Relationship Id="rId21" Type="http://schemas.openxmlformats.org/officeDocument/2006/relationships/slideLayout" Target="../slideLayouts/slideLayout79.xml"/><Relationship Id="rId34" Type="http://schemas.openxmlformats.org/officeDocument/2006/relationships/slideLayout" Target="../slideLayouts/slideLayout92.xml"/><Relationship Id="rId42" Type="http://schemas.openxmlformats.org/officeDocument/2006/relationships/slideLayout" Target="../slideLayouts/slideLayout100.xml"/><Relationship Id="rId47" Type="http://schemas.openxmlformats.org/officeDocument/2006/relationships/tags" Target="../tags/tag6.xml"/><Relationship Id="rId50" Type="http://schemas.openxmlformats.org/officeDocument/2006/relationships/image" Target="../media/image7.emf"/><Relationship Id="rId7" Type="http://schemas.openxmlformats.org/officeDocument/2006/relationships/slideLayout" Target="../slideLayouts/slideLayout6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9" Type="http://schemas.openxmlformats.org/officeDocument/2006/relationships/slideLayout" Target="../slideLayouts/slideLayout87.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slideLayout" Target="../slideLayouts/slideLayout90.xml"/><Relationship Id="rId37" Type="http://schemas.openxmlformats.org/officeDocument/2006/relationships/slideLayout" Target="../slideLayouts/slideLayout95.xml"/><Relationship Id="rId40" Type="http://schemas.openxmlformats.org/officeDocument/2006/relationships/slideLayout" Target="../slideLayouts/slideLayout98.xml"/><Relationship Id="rId45" Type="http://schemas.openxmlformats.org/officeDocument/2006/relationships/slideLayout" Target="../slideLayouts/slideLayout103.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36" Type="http://schemas.openxmlformats.org/officeDocument/2006/relationships/slideLayout" Target="../slideLayouts/slideLayout94.xml"/><Relationship Id="rId49" Type="http://schemas.openxmlformats.org/officeDocument/2006/relationships/tags" Target="../tags/tag8.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slideLayout" Target="../slideLayouts/slideLayout89.xml"/><Relationship Id="rId44" Type="http://schemas.openxmlformats.org/officeDocument/2006/relationships/slideLayout" Target="../slideLayouts/slideLayout102.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 Id="rId35" Type="http://schemas.openxmlformats.org/officeDocument/2006/relationships/slideLayout" Target="../slideLayouts/slideLayout93.xml"/><Relationship Id="rId43" Type="http://schemas.openxmlformats.org/officeDocument/2006/relationships/slideLayout" Target="../slideLayouts/slideLayout101.xml"/><Relationship Id="rId48" Type="http://schemas.openxmlformats.org/officeDocument/2006/relationships/tags" Target="../tags/tag7.xml"/><Relationship Id="rId8" Type="http://schemas.openxmlformats.org/officeDocument/2006/relationships/slideLayout" Target="../slideLayouts/slideLayout66.xml"/><Relationship Id="rId3" Type="http://schemas.openxmlformats.org/officeDocument/2006/relationships/slideLayout" Target="../slideLayouts/slideLayout61.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33" Type="http://schemas.openxmlformats.org/officeDocument/2006/relationships/slideLayout" Target="../slideLayouts/slideLayout91.xml"/><Relationship Id="rId38" Type="http://schemas.openxmlformats.org/officeDocument/2006/relationships/slideLayout" Target="../slideLayouts/slideLayout96.xml"/><Relationship Id="rId46" Type="http://schemas.openxmlformats.org/officeDocument/2006/relationships/theme" Target="../theme/theme3.xml"/><Relationship Id="rId20" Type="http://schemas.openxmlformats.org/officeDocument/2006/relationships/slideLayout" Target="../slideLayouts/slideLayout78.xml"/><Relationship Id="rId41" Type="http://schemas.openxmlformats.org/officeDocument/2006/relationships/slideLayout" Target="../slideLayouts/slideLayout99.xml"/><Relationship Id="rId1" Type="http://schemas.openxmlformats.org/officeDocument/2006/relationships/slideLayout" Target="../slideLayouts/slideLayout59.xml"/><Relationship Id="rId6" Type="http://schemas.openxmlformats.org/officeDocument/2006/relationships/slideLayout" Target="../slideLayouts/slideLayout6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1.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image" Target="../media/image11.png"/><Relationship Id="rId5" Type="http://schemas.openxmlformats.org/officeDocument/2006/relationships/slideLayout" Target="../slideLayouts/slideLayout108.xml"/><Relationship Id="rId10" Type="http://schemas.openxmlformats.org/officeDocument/2006/relationships/image" Target="../media/image10.emf"/><Relationship Id="rId4" Type="http://schemas.openxmlformats.org/officeDocument/2006/relationships/slideLayout" Target="../slideLayouts/slideLayout10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slideLayout" Target="../slideLayouts/slideLayout137.xml"/><Relationship Id="rId39" Type="http://schemas.openxmlformats.org/officeDocument/2006/relationships/slideLayout" Target="../slideLayouts/slideLayout150.xml"/><Relationship Id="rId21" Type="http://schemas.openxmlformats.org/officeDocument/2006/relationships/slideLayout" Target="../slideLayouts/slideLayout132.xml"/><Relationship Id="rId34" Type="http://schemas.openxmlformats.org/officeDocument/2006/relationships/slideLayout" Target="../slideLayouts/slideLayout145.xml"/><Relationship Id="rId42" Type="http://schemas.openxmlformats.org/officeDocument/2006/relationships/slideLayout" Target="../slideLayouts/slideLayout153.xml"/><Relationship Id="rId47" Type="http://schemas.openxmlformats.org/officeDocument/2006/relationships/slideLayout" Target="../slideLayouts/slideLayout158.xml"/><Relationship Id="rId50" Type="http://schemas.openxmlformats.org/officeDocument/2006/relationships/slideLayout" Target="../slideLayouts/slideLayout161.xml"/><Relationship Id="rId55" Type="http://schemas.openxmlformats.org/officeDocument/2006/relationships/tags" Target="../tags/tag9.xml"/><Relationship Id="rId7" Type="http://schemas.openxmlformats.org/officeDocument/2006/relationships/slideLayout" Target="../slideLayouts/slideLayout11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9" Type="http://schemas.openxmlformats.org/officeDocument/2006/relationships/slideLayout" Target="../slideLayouts/slideLayout140.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32" Type="http://schemas.openxmlformats.org/officeDocument/2006/relationships/slideLayout" Target="../slideLayouts/slideLayout143.xml"/><Relationship Id="rId37" Type="http://schemas.openxmlformats.org/officeDocument/2006/relationships/slideLayout" Target="../slideLayouts/slideLayout148.xml"/><Relationship Id="rId40" Type="http://schemas.openxmlformats.org/officeDocument/2006/relationships/slideLayout" Target="../slideLayouts/slideLayout151.xml"/><Relationship Id="rId45" Type="http://schemas.openxmlformats.org/officeDocument/2006/relationships/slideLayout" Target="../slideLayouts/slideLayout156.xml"/><Relationship Id="rId53" Type="http://schemas.openxmlformats.org/officeDocument/2006/relationships/slideLayout" Target="../slideLayouts/slideLayout164.xml"/><Relationship Id="rId58" Type="http://schemas.openxmlformats.org/officeDocument/2006/relationships/tags" Target="../tags/tag12.xml"/><Relationship Id="rId5" Type="http://schemas.openxmlformats.org/officeDocument/2006/relationships/slideLayout" Target="../slideLayouts/slideLayout116.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slideLayout" Target="../slideLayouts/slideLayout138.xml"/><Relationship Id="rId30" Type="http://schemas.openxmlformats.org/officeDocument/2006/relationships/slideLayout" Target="../slideLayouts/slideLayout141.xml"/><Relationship Id="rId35" Type="http://schemas.openxmlformats.org/officeDocument/2006/relationships/slideLayout" Target="../slideLayouts/slideLayout146.xml"/><Relationship Id="rId43" Type="http://schemas.openxmlformats.org/officeDocument/2006/relationships/slideLayout" Target="../slideLayouts/slideLayout154.xml"/><Relationship Id="rId48" Type="http://schemas.openxmlformats.org/officeDocument/2006/relationships/slideLayout" Target="../slideLayouts/slideLayout159.xml"/><Relationship Id="rId56" Type="http://schemas.openxmlformats.org/officeDocument/2006/relationships/tags" Target="../tags/tag10.xml"/><Relationship Id="rId8" Type="http://schemas.openxmlformats.org/officeDocument/2006/relationships/slideLayout" Target="../slideLayouts/slideLayout119.xml"/><Relationship Id="rId51" Type="http://schemas.openxmlformats.org/officeDocument/2006/relationships/slideLayout" Target="../slideLayouts/slideLayout162.xml"/><Relationship Id="rId3" Type="http://schemas.openxmlformats.org/officeDocument/2006/relationships/slideLayout" Target="../slideLayouts/slideLayout114.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33" Type="http://schemas.openxmlformats.org/officeDocument/2006/relationships/slideLayout" Target="../slideLayouts/slideLayout144.xml"/><Relationship Id="rId38" Type="http://schemas.openxmlformats.org/officeDocument/2006/relationships/slideLayout" Target="../slideLayouts/slideLayout149.xml"/><Relationship Id="rId46" Type="http://schemas.openxmlformats.org/officeDocument/2006/relationships/slideLayout" Target="../slideLayouts/slideLayout157.xml"/><Relationship Id="rId59" Type="http://schemas.openxmlformats.org/officeDocument/2006/relationships/tags" Target="../tags/tag13.xml"/><Relationship Id="rId20" Type="http://schemas.openxmlformats.org/officeDocument/2006/relationships/slideLayout" Target="../slideLayouts/slideLayout131.xml"/><Relationship Id="rId41" Type="http://schemas.openxmlformats.org/officeDocument/2006/relationships/slideLayout" Target="../slideLayouts/slideLayout152.xml"/><Relationship Id="rId54" Type="http://schemas.openxmlformats.org/officeDocument/2006/relationships/theme" Target="../theme/theme5.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28" Type="http://schemas.openxmlformats.org/officeDocument/2006/relationships/slideLayout" Target="../slideLayouts/slideLayout139.xml"/><Relationship Id="rId36" Type="http://schemas.openxmlformats.org/officeDocument/2006/relationships/slideLayout" Target="../slideLayouts/slideLayout147.xml"/><Relationship Id="rId49" Type="http://schemas.openxmlformats.org/officeDocument/2006/relationships/slideLayout" Target="../slideLayouts/slideLayout160.xml"/><Relationship Id="rId57" Type="http://schemas.openxmlformats.org/officeDocument/2006/relationships/tags" Target="../tags/tag11.xml"/><Relationship Id="rId10" Type="http://schemas.openxmlformats.org/officeDocument/2006/relationships/slideLayout" Target="../slideLayouts/slideLayout121.xml"/><Relationship Id="rId31" Type="http://schemas.openxmlformats.org/officeDocument/2006/relationships/slideLayout" Target="../slideLayouts/slideLayout142.xml"/><Relationship Id="rId44" Type="http://schemas.openxmlformats.org/officeDocument/2006/relationships/slideLayout" Target="../slideLayouts/slideLayout155.xml"/><Relationship Id="rId52" Type="http://schemas.openxmlformats.org/officeDocument/2006/relationships/slideLayout" Target="../slideLayouts/slideLayout163.xml"/><Relationship Id="rId60" Type="http://schemas.openxmlformats.org/officeDocument/2006/relationships/image" Target="../media/image7.emf"/></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9" Type="http://schemas.openxmlformats.org/officeDocument/2006/relationships/slideLayout" Target="../slideLayouts/slideLayout203.xml"/><Relationship Id="rId21" Type="http://schemas.openxmlformats.org/officeDocument/2006/relationships/slideLayout" Target="../slideLayouts/slideLayout185.xml"/><Relationship Id="rId34" Type="http://schemas.openxmlformats.org/officeDocument/2006/relationships/slideLayout" Target="../slideLayouts/slideLayout198.xml"/><Relationship Id="rId42" Type="http://schemas.openxmlformats.org/officeDocument/2006/relationships/slideLayout" Target="../slideLayouts/slideLayout206.xml"/><Relationship Id="rId47" Type="http://schemas.openxmlformats.org/officeDocument/2006/relationships/tags" Target="../tags/tag15.xml"/><Relationship Id="rId7" Type="http://schemas.openxmlformats.org/officeDocument/2006/relationships/slideLayout" Target="../slideLayouts/slideLayout171.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9" Type="http://schemas.openxmlformats.org/officeDocument/2006/relationships/slideLayout" Target="../slideLayouts/slideLayout193.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slideLayout" Target="../slideLayouts/slideLayout196.xml"/><Relationship Id="rId37" Type="http://schemas.openxmlformats.org/officeDocument/2006/relationships/slideLayout" Target="../slideLayouts/slideLayout201.xml"/><Relationship Id="rId40" Type="http://schemas.openxmlformats.org/officeDocument/2006/relationships/slideLayout" Target="../slideLayouts/slideLayout204.xml"/><Relationship Id="rId45" Type="http://schemas.openxmlformats.org/officeDocument/2006/relationships/theme" Target="../theme/theme6.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36" Type="http://schemas.openxmlformats.org/officeDocument/2006/relationships/slideLayout" Target="../slideLayouts/slideLayout200.xml"/><Relationship Id="rId49" Type="http://schemas.openxmlformats.org/officeDocument/2006/relationships/image" Target="../media/image7.emf"/><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slideLayout" Target="../slideLayouts/slideLayout195.xml"/><Relationship Id="rId44" Type="http://schemas.openxmlformats.org/officeDocument/2006/relationships/slideLayout" Target="../slideLayouts/slideLayout208.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 Id="rId35" Type="http://schemas.openxmlformats.org/officeDocument/2006/relationships/slideLayout" Target="../slideLayouts/slideLayout199.xml"/><Relationship Id="rId43" Type="http://schemas.openxmlformats.org/officeDocument/2006/relationships/slideLayout" Target="../slideLayouts/slideLayout207.xml"/><Relationship Id="rId48" Type="http://schemas.openxmlformats.org/officeDocument/2006/relationships/tags" Target="../tags/tag16.xml"/><Relationship Id="rId8" Type="http://schemas.openxmlformats.org/officeDocument/2006/relationships/slideLayout" Target="../slideLayouts/slideLayout172.xml"/><Relationship Id="rId3" Type="http://schemas.openxmlformats.org/officeDocument/2006/relationships/slideLayout" Target="../slideLayouts/slideLayout167.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33" Type="http://schemas.openxmlformats.org/officeDocument/2006/relationships/slideLayout" Target="../slideLayouts/slideLayout197.xml"/><Relationship Id="rId38" Type="http://schemas.openxmlformats.org/officeDocument/2006/relationships/slideLayout" Target="../slideLayouts/slideLayout202.xml"/><Relationship Id="rId46" Type="http://schemas.openxmlformats.org/officeDocument/2006/relationships/tags" Target="../tags/tag14.xml"/><Relationship Id="rId20" Type="http://schemas.openxmlformats.org/officeDocument/2006/relationships/slideLayout" Target="../slideLayouts/slideLayout184.xml"/><Relationship Id="rId41" Type="http://schemas.openxmlformats.org/officeDocument/2006/relationships/slideLayout" Target="../slideLayouts/slideLayout205.xml"/><Relationship Id="rId1" Type="http://schemas.openxmlformats.org/officeDocument/2006/relationships/slideLayout" Target="../slideLayouts/slideLayout165.xml"/><Relationship Id="rId6" Type="http://schemas.openxmlformats.org/officeDocument/2006/relationships/slideLayout" Target="../slideLayouts/slideLayout17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slideLayout" Target="../slideLayouts/slideLayout234.xml"/><Relationship Id="rId39" Type="http://schemas.openxmlformats.org/officeDocument/2006/relationships/slideLayout" Target="../slideLayouts/slideLayout247.xml"/><Relationship Id="rId21" Type="http://schemas.openxmlformats.org/officeDocument/2006/relationships/slideLayout" Target="../slideLayouts/slideLayout229.xml"/><Relationship Id="rId34" Type="http://schemas.openxmlformats.org/officeDocument/2006/relationships/slideLayout" Target="../slideLayouts/slideLayout242.xml"/><Relationship Id="rId42" Type="http://schemas.openxmlformats.org/officeDocument/2006/relationships/slideLayout" Target="../slideLayouts/slideLayout250.xml"/><Relationship Id="rId47" Type="http://schemas.openxmlformats.org/officeDocument/2006/relationships/slideLayout" Target="../slideLayouts/slideLayout255.xml"/><Relationship Id="rId50" Type="http://schemas.openxmlformats.org/officeDocument/2006/relationships/slideLayout" Target="../slideLayouts/slideLayout258.xml"/><Relationship Id="rId55" Type="http://schemas.openxmlformats.org/officeDocument/2006/relationships/theme" Target="../theme/theme7.xml"/><Relationship Id="rId7" Type="http://schemas.openxmlformats.org/officeDocument/2006/relationships/slideLayout" Target="../slideLayouts/slideLayout215.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9" Type="http://schemas.openxmlformats.org/officeDocument/2006/relationships/slideLayout" Target="../slideLayouts/slideLayout237.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32" Type="http://schemas.openxmlformats.org/officeDocument/2006/relationships/slideLayout" Target="../slideLayouts/slideLayout240.xml"/><Relationship Id="rId37" Type="http://schemas.openxmlformats.org/officeDocument/2006/relationships/slideLayout" Target="../slideLayouts/slideLayout245.xml"/><Relationship Id="rId40" Type="http://schemas.openxmlformats.org/officeDocument/2006/relationships/slideLayout" Target="../slideLayouts/slideLayout248.xml"/><Relationship Id="rId45" Type="http://schemas.openxmlformats.org/officeDocument/2006/relationships/slideLayout" Target="../slideLayouts/slideLayout253.xml"/><Relationship Id="rId53" Type="http://schemas.openxmlformats.org/officeDocument/2006/relationships/slideLayout" Target="../slideLayouts/slideLayout261.xml"/><Relationship Id="rId58" Type="http://schemas.openxmlformats.org/officeDocument/2006/relationships/tags" Target="../tags/tag19.xml"/><Relationship Id="rId5" Type="http://schemas.openxmlformats.org/officeDocument/2006/relationships/slideLayout" Target="../slideLayouts/slideLayout213.xml"/><Relationship Id="rId19" Type="http://schemas.openxmlformats.org/officeDocument/2006/relationships/slideLayout" Target="../slideLayouts/slideLayout22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slideLayout" Target="../slideLayouts/slideLayout235.xml"/><Relationship Id="rId30" Type="http://schemas.openxmlformats.org/officeDocument/2006/relationships/slideLayout" Target="../slideLayouts/slideLayout238.xml"/><Relationship Id="rId35" Type="http://schemas.openxmlformats.org/officeDocument/2006/relationships/slideLayout" Target="../slideLayouts/slideLayout243.xml"/><Relationship Id="rId43" Type="http://schemas.openxmlformats.org/officeDocument/2006/relationships/slideLayout" Target="../slideLayouts/slideLayout251.xml"/><Relationship Id="rId48" Type="http://schemas.openxmlformats.org/officeDocument/2006/relationships/slideLayout" Target="../slideLayouts/slideLayout256.xml"/><Relationship Id="rId56" Type="http://schemas.openxmlformats.org/officeDocument/2006/relationships/tags" Target="../tags/tag17.xml"/><Relationship Id="rId8" Type="http://schemas.openxmlformats.org/officeDocument/2006/relationships/slideLayout" Target="../slideLayouts/slideLayout216.xml"/><Relationship Id="rId51" Type="http://schemas.openxmlformats.org/officeDocument/2006/relationships/slideLayout" Target="../slideLayouts/slideLayout259.xml"/><Relationship Id="rId3" Type="http://schemas.openxmlformats.org/officeDocument/2006/relationships/slideLayout" Target="../slideLayouts/slideLayout211.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33" Type="http://schemas.openxmlformats.org/officeDocument/2006/relationships/slideLayout" Target="../slideLayouts/slideLayout241.xml"/><Relationship Id="rId38" Type="http://schemas.openxmlformats.org/officeDocument/2006/relationships/slideLayout" Target="../slideLayouts/slideLayout246.xml"/><Relationship Id="rId46" Type="http://schemas.openxmlformats.org/officeDocument/2006/relationships/slideLayout" Target="../slideLayouts/slideLayout254.xml"/><Relationship Id="rId59" Type="http://schemas.openxmlformats.org/officeDocument/2006/relationships/image" Target="../media/image7.emf"/><Relationship Id="rId20" Type="http://schemas.openxmlformats.org/officeDocument/2006/relationships/slideLayout" Target="../slideLayouts/slideLayout228.xml"/><Relationship Id="rId41" Type="http://schemas.openxmlformats.org/officeDocument/2006/relationships/slideLayout" Target="../slideLayouts/slideLayout249.xml"/><Relationship Id="rId54" Type="http://schemas.openxmlformats.org/officeDocument/2006/relationships/slideLayout" Target="../slideLayouts/slideLayout262.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28" Type="http://schemas.openxmlformats.org/officeDocument/2006/relationships/slideLayout" Target="../slideLayouts/slideLayout236.xml"/><Relationship Id="rId36" Type="http://schemas.openxmlformats.org/officeDocument/2006/relationships/slideLayout" Target="../slideLayouts/slideLayout244.xml"/><Relationship Id="rId49" Type="http://schemas.openxmlformats.org/officeDocument/2006/relationships/slideLayout" Target="../slideLayouts/slideLayout257.xml"/><Relationship Id="rId57" Type="http://schemas.openxmlformats.org/officeDocument/2006/relationships/tags" Target="../tags/tag18.xml"/><Relationship Id="rId10" Type="http://schemas.openxmlformats.org/officeDocument/2006/relationships/slideLayout" Target="../slideLayouts/slideLayout218.xml"/><Relationship Id="rId31" Type="http://schemas.openxmlformats.org/officeDocument/2006/relationships/slideLayout" Target="../slideLayouts/slideLayout239.xml"/><Relationship Id="rId44" Type="http://schemas.openxmlformats.org/officeDocument/2006/relationships/slideLayout" Target="../slideLayouts/slideLayout252.xml"/><Relationship Id="rId52" Type="http://schemas.openxmlformats.org/officeDocument/2006/relationships/slideLayout" Target="../slideLayouts/slideLayout260.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75.xml"/><Relationship Id="rId18" Type="http://schemas.openxmlformats.org/officeDocument/2006/relationships/slideLayout" Target="../slideLayouts/slideLayout280.xml"/><Relationship Id="rId26" Type="http://schemas.openxmlformats.org/officeDocument/2006/relationships/slideLayout" Target="../slideLayouts/slideLayout288.xml"/><Relationship Id="rId39" Type="http://schemas.openxmlformats.org/officeDocument/2006/relationships/slideLayout" Target="../slideLayouts/slideLayout301.xml"/><Relationship Id="rId21" Type="http://schemas.openxmlformats.org/officeDocument/2006/relationships/slideLayout" Target="../slideLayouts/slideLayout283.xml"/><Relationship Id="rId34" Type="http://schemas.openxmlformats.org/officeDocument/2006/relationships/slideLayout" Target="../slideLayouts/slideLayout296.xml"/><Relationship Id="rId42" Type="http://schemas.openxmlformats.org/officeDocument/2006/relationships/slideLayout" Target="../slideLayouts/slideLayout304.xml"/><Relationship Id="rId47" Type="http://schemas.openxmlformats.org/officeDocument/2006/relationships/slideLayout" Target="../slideLayouts/slideLayout309.xml"/><Relationship Id="rId50" Type="http://schemas.openxmlformats.org/officeDocument/2006/relationships/tags" Target="../tags/tag21.xml"/><Relationship Id="rId7" Type="http://schemas.openxmlformats.org/officeDocument/2006/relationships/slideLayout" Target="../slideLayouts/slideLayout269.xml"/><Relationship Id="rId2" Type="http://schemas.openxmlformats.org/officeDocument/2006/relationships/slideLayout" Target="../slideLayouts/slideLayout264.xml"/><Relationship Id="rId16" Type="http://schemas.openxmlformats.org/officeDocument/2006/relationships/slideLayout" Target="../slideLayouts/slideLayout278.xml"/><Relationship Id="rId29" Type="http://schemas.openxmlformats.org/officeDocument/2006/relationships/slideLayout" Target="../slideLayouts/slideLayout291.xml"/><Relationship Id="rId11" Type="http://schemas.openxmlformats.org/officeDocument/2006/relationships/slideLayout" Target="../slideLayouts/slideLayout273.xml"/><Relationship Id="rId24" Type="http://schemas.openxmlformats.org/officeDocument/2006/relationships/slideLayout" Target="../slideLayouts/slideLayout286.xml"/><Relationship Id="rId32" Type="http://schemas.openxmlformats.org/officeDocument/2006/relationships/slideLayout" Target="../slideLayouts/slideLayout294.xml"/><Relationship Id="rId37" Type="http://schemas.openxmlformats.org/officeDocument/2006/relationships/slideLayout" Target="../slideLayouts/slideLayout299.xml"/><Relationship Id="rId40" Type="http://schemas.openxmlformats.org/officeDocument/2006/relationships/slideLayout" Target="../slideLayouts/slideLayout302.xml"/><Relationship Id="rId45" Type="http://schemas.openxmlformats.org/officeDocument/2006/relationships/slideLayout" Target="../slideLayouts/slideLayout307.xml"/><Relationship Id="rId53" Type="http://schemas.openxmlformats.org/officeDocument/2006/relationships/image" Target="../media/image1.png"/><Relationship Id="rId5" Type="http://schemas.openxmlformats.org/officeDocument/2006/relationships/slideLayout" Target="../slideLayouts/slideLayout267.xml"/><Relationship Id="rId10" Type="http://schemas.openxmlformats.org/officeDocument/2006/relationships/slideLayout" Target="../slideLayouts/slideLayout272.xml"/><Relationship Id="rId19" Type="http://schemas.openxmlformats.org/officeDocument/2006/relationships/slideLayout" Target="../slideLayouts/slideLayout281.xml"/><Relationship Id="rId31" Type="http://schemas.openxmlformats.org/officeDocument/2006/relationships/slideLayout" Target="../slideLayouts/slideLayout293.xml"/><Relationship Id="rId44" Type="http://schemas.openxmlformats.org/officeDocument/2006/relationships/slideLayout" Target="../slideLayouts/slideLayout306.xml"/><Relationship Id="rId52" Type="http://schemas.openxmlformats.org/officeDocument/2006/relationships/image" Target="../media/image7.emf"/><Relationship Id="rId4" Type="http://schemas.openxmlformats.org/officeDocument/2006/relationships/slideLayout" Target="../slideLayouts/slideLayout266.xml"/><Relationship Id="rId9" Type="http://schemas.openxmlformats.org/officeDocument/2006/relationships/slideLayout" Target="../slideLayouts/slideLayout271.xml"/><Relationship Id="rId14" Type="http://schemas.openxmlformats.org/officeDocument/2006/relationships/slideLayout" Target="../slideLayouts/slideLayout276.xml"/><Relationship Id="rId22" Type="http://schemas.openxmlformats.org/officeDocument/2006/relationships/slideLayout" Target="../slideLayouts/slideLayout284.xml"/><Relationship Id="rId27" Type="http://schemas.openxmlformats.org/officeDocument/2006/relationships/slideLayout" Target="../slideLayouts/slideLayout289.xml"/><Relationship Id="rId30" Type="http://schemas.openxmlformats.org/officeDocument/2006/relationships/slideLayout" Target="../slideLayouts/slideLayout292.xml"/><Relationship Id="rId35" Type="http://schemas.openxmlformats.org/officeDocument/2006/relationships/slideLayout" Target="../slideLayouts/slideLayout297.xml"/><Relationship Id="rId43" Type="http://schemas.openxmlformats.org/officeDocument/2006/relationships/slideLayout" Target="../slideLayouts/slideLayout305.xml"/><Relationship Id="rId48" Type="http://schemas.openxmlformats.org/officeDocument/2006/relationships/theme" Target="../theme/theme8.xml"/><Relationship Id="rId8" Type="http://schemas.openxmlformats.org/officeDocument/2006/relationships/slideLayout" Target="../slideLayouts/slideLayout270.xml"/><Relationship Id="rId51" Type="http://schemas.openxmlformats.org/officeDocument/2006/relationships/tags" Target="../tags/tag22.xml"/><Relationship Id="rId3" Type="http://schemas.openxmlformats.org/officeDocument/2006/relationships/slideLayout" Target="../slideLayouts/slideLayout265.xml"/><Relationship Id="rId12" Type="http://schemas.openxmlformats.org/officeDocument/2006/relationships/slideLayout" Target="../slideLayouts/slideLayout274.xml"/><Relationship Id="rId17" Type="http://schemas.openxmlformats.org/officeDocument/2006/relationships/slideLayout" Target="../slideLayouts/slideLayout279.xml"/><Relationship Id="rId25" Type="http://schemas.openxmlformats.org/officeDocument/2006/relationships/slideLayout" Target="../slideLayouts/slideLayout287.xml"/><Relationship Id="rId33" Type="http://schemas.openxmlformats.org/officeDocument/2006/relationships/slideLayout" Target="../slideLayouts/slideLayout295.xml"/><Relationship Id="rId38" Type="http://schemas.openxmlformats.org/officeDocument/2006/relationships/slideLayout" Target="../slideLayouts/slideLayout300.xml"/><Relationship Id="rId46" Type="http://schemas.openxmlformats.org/officeDocument/2006/relationships/slideLayout" Target="../slideLayouts/slideLayout308.xml"/><Relationship Id="rId20" Type="http://schemas.openxmlformats.org/officeDocument/2006/relationships/slideLayout" Target="../slideLayouts/slideLayout282.xml"/><Relationship Id="rId41" Type="http://schemas.openxmlformats.org/officeDocument/2006/relationships/slideLayout" Target="../slideLayouts/slideLayout303.xml"/><Relationship Id="rId1" Type="http://schemas.openxmlformats.org/officeDocument/2006/relationships/slideLayout" Target="../slideLayouts/slideLayout263.xml"/><Relationship Id="rId6" Type="http://schemas.openxmlformats.org/officeDocument/2006/relationships/slideLayout" Target="../slideLayouts/slideLayout268.xml"/><Relationship Id="rId15" Type="http://schemas.openxmlformats.org/officeDocument/2006/relationships/slideLayout" Target="../slideLayouts/slideLayout277.xml"/><Relationship Id="rId23" Type="http://schemas.openxmlformats.org/officeDocument/2006/relationships/slideLayout" Target="../slideLayouts/slideLayout285.xml"/><Relationship Id="rId28" Type="http://schemas.openxmlformats.org/officeDocument/2006/relationships/slideLayout" Target="../slideLayouts/slideLayout290.xml"/><Relationship Id="rId36" Type="http://schemas.openxmlformats.org/officeDocument/2006/relationships/slideLayout" Target="../slideLayouts/slideLayout298.xml"/><Relationship Id="rId49" Type="http://schemas.openxmlformats.org/officeDocument/2006/relationships/tags" Target="../tags/tag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50539381"/>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 id="2147483808" r:id="rId26"/>
    <p:sldLayoutId id="2147483809" r:id="rId27"/>
    <p:sldLayoutId id="2147483810" r:id="rId28"/>
    <p:sldLayoutId id="2147483811"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0078D7"/>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07368960"/>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830" r:id="rId18"/>
    <p:sldLayoutId id="2147483831" r:id="rId19"/>
    <p:sldLayoutId id="2147483832" r:id="rId20"/>
    <p:sldLayoutId id="2147483833" r:id="rId21"/>
    <p:sldLayoutId id="2147483834" r:id="rId22"/>
    <p:sldLayoutId id="2147483835" r:id="rId23"/>
    <p:sldLayoutId id="2147483836" r:id="rId24"/>
    <p:sldLayoutId id="2147483837" r:id="rId25"/>
    <p:sldLayoutId id="2147483838" r:id="rId26"/>
    <p:sldLayoutId id="2147483839" r:id="rId27"/>
    <p:sldLayoutId id="2147483840" r:id="rId28"/>
    <p:sldLayoutId id="2147483841"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solidFill>
            <a:srgbClr val="0078D7"/>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rgbClr val="000000"/>
          </a:soli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9"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9" y="1408114"/>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8"/>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lvl="0" algn="l" defTabSz="932293"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lvl="0" algn="l" defTabSz="932293"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26" tIns="155426" rIns="155426" bIns="155426"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25430531"/>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 id="2147483864" r:id="rId22"/>
    <p:sldLayoutId id="2147483865" r:id="rId23"/>
    <p:sldLayoutId id="2147483866" r:id="rId24"/>
    <p:sldLayoutId id="2147483867" r:id="rId25"/>
    <p:sldLayoutId id="2147483868" r:id="rId26"/>
    <p:sldLayoutId id="2147483869" r:id="rId27"/>
    <p:sldLayoutId id="2147483870" r:id="rId28"/>
    <p:sldLayoutId id="2147483871" r:id="rId29"/>
    <p:sldLayoutId id="2147483872" r:id="rId30"/>
    <p:sldLayoutId id="2147483873" r:id="rId31"/>
    <p:sldLayoutId id="2147483874" r:id="rId32"/>
    <p:sldLayoutId id="2147483875" r:id="rId33"/>
    <p:sldLayoutId id="2147483876" r:id="rId34"/>
    <p:sldLayoutId id="2147483877" r:id="rId35"/>
    <p:sldLayoutId id="2147483878" r:id="rId36"/>
    <p:sldLayoutId id="2147483879" r:id="rId37"/>
    <p:sldLayoutId id="2147483880" r:id="rId38"/>
    <p:sldLayoutId id="2147483881" r:id="rId39"/>
    <p:sldLayoutId id="2147483882" r:id="rId40"/>
    <p:sldLayoutId id="2147483883" r:id="rId41"/>
    <p:sldLayoutId id="2147483884" r:id="rId42"/>
    <p:sldLayoutId id="2147483885" r:id="rId43"/>
    <p:sldLayoutId id="2147483886" r:id="rId44"/>
    <p:sldLayoutId id="2147483887" r:id="rId45"/>
  </p:sldLayoutIdLst>
  <p:hf sldNum="0" hdr="0" ftr="0" dt="0"/>
  <p:txStyles>
    <p:titleStyle>
      <a:lvl1pPr algn="l" defTabSz="932563" rtl="0" eaLnBrk="1" latinLnBrk="0" hangingPunct="1">
        <a:lnSpc>
          <a:spcPts val="3619"/>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36" indent="-310836" algn="l" defTabSz="93250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673" indent="-310836" algn="l" defTabSz="93250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508" indent="-310836" algn="l" defTabSz="93250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345" indent="-310836" algn="l" defTabSz="93250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181" indent="-329121" algn="l" defTabSz="93250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36" indent="-310836" algn="l" defTabSz="93250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673" indent="-310836" algn="l" defTabSz="93250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50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50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477994344"/>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6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5C57D819-069B-3C3A-3AAC-D612554A0655}"/>
              </a:ext>
              <a:ext uri="{C183D7F6-B498-43B3-948B-1728B52AA6E4}">
                <adec:decorative xmlns:adec="http://schemas.microsoft.com/office/drawing/2017/decorative" val="1"/>
              </a:ext>
            </a:extLst>
          </p:cNvPr>
          <p:cNvSpPr/>
          <p:nvPr userDrawn="1">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83BED86E-11F0-B790-28C4-4C9B97484470}"/>
              </a:ext>
            </a:extLst>
          </p:cNvPr>
          <p:cNvSpPr/>
          <p:nvPr userDrawn="1">
            <p:custDataLst>
              <p:tags r:id="rId5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17885918"/>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20" r:id="rId23"/>
    <p:sldLayoutId id="2147483921" r:id="rId24"/>
    <p:sldLayoutId id="2147483922" r:id="rId25"/>
    <p:sldLayoutId id="2147483923" r:id="rId26"/>
    <p:sldLayoutId id="2147483924" r:id="rId27"/>
    <p:sldLayoutId id="2147483925" r:id="rId28"/>
    <p:sldLayoutId id="2147483926" r:id="rId29"/>
    <p:sldLayoutId id="2147483927" r:id="rId30"/>
    <p:sldLayoutId id="2147483928" r:id="rId31"/>
    <p:sldLayoutId id="2147483929" r:id="rId32"/>
    <p:sldLayoutId id="2147483930" r:id="rId33"/>
    <p:sldLayoutId id="2147483931" r:id="rId34"/>
    <p:sldLayoutId id="2147483932" r:id="rId35"/>
    <p:sldLayoutId id="2147483933" r:id="rId36"/>
    <p:sldLayoutId id="2147483934" r:id="rId37"/>
    <p:sldLayoutId id="2147483935" r:id="rId38"/>
    <p:sldLayoutId id="2147483936" r:id="rId39"/>
    <p:sldLayoutId id="2147483937" r:id="rId40"/>
    <p:sldLayoutId id="2147483938" r:id="rId41"/>
    <p:sldLayoutId id="2147483939" r:id="rId42"/>
    <p:sldLayoutId id="2147483940" r:id="rId43"/>
    <p:sldLayoutId id="2147483941" r:id="rId44"/>
    <p:sldLayoutId id="2147483942" r:id="rId45"/>
    <p:sldLayoutId id="2147483943" r:id="rId46"/>
    <p:sldLayoutId id="2147483744" r:id="rId47"/>
    <p:sldLayoutId id="2147483707" r:id="rId48"/>
    <p:sldLayoutId id="2147483708" r:id="rId49"/>
    <p:sldLayoutId id="2147483736" r:id="rId50"/>
    <p:sldLayoutId id="2147483752" r:id="rId51"/>
    <p:sldLayoutId id="2147483737" r:id="rId52"/>
    <p:sldLayoutId id="2147483727" r:id="rId53"/>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userDrawn="1">
          <p15:clr>
            <a:srgbClr val="A4A3A4"/>
          </p15:clr>
        </p15:guide>
        <p15:guide id="11" pos="192" userDrawn="1">
          <p15:clr>
            <a:srgbClr val="A4A3A4"/>
          </p15:clr>
        </p15:guide>
        <p15:guide id="12" orient="horz" pos="384" userDrawn="1">
          <p15:clr>
            <a:srgbClr val="F26B43"/>
          </p15:clr>
        </p15:guide>
        <p15:guide id="13" orient="horz" pos="4128" userDrawn="1">
          <p15:clr>
            <a:srgbClr val="A4A3A4"/>
          </p15:clr>
        </p15:guide>
        <p15:guide id="14" orient="horz" pos="3936" userDrawn="1">
          <p15:clr>
            <a:srgbClr val="F26B43"/>
          </p15:clr>
        </p15:guide>
        <p15:guide id="15" pos="7296" userDrawn="1">
          <p15:clr>
            <a:srgbClr val="F26B43"/>
          </p15:clr>
        </p15:guide>
        <p15:guide id="16" pos="7488" userDrawn="1">
          <p15:clr>
            <a:srgbClr val="A4A3A4"/>
          </p15:clr>
        </p15:guide>
        <p15:guide id="17" pos="384"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3537871"/>
      </p:ext>
    </p:extLst>
  </p:cSld>
  <p:clrMap bg1="lt1" tx1="dk1" bg2="lt2" tx2="dk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 id="2147483950" r:id="rId6"/>
    <p:sldLayoutId id="2147483951" r:id="rId7"/>
    <p:sldLayoutId id="2147483952" r:id="rId8"/>
    <p:sldLayoutId id="2147483953" r:id="rId9"/>
    <p:sldLayoutId id="2147483954" r:id="rId10"/>
    <p:sldLayoutId id="2147483955" r:id="rId11"/>
    <p:sldLayoutId id="2147483956" r:id="rId12"/>
    <p:sldLayoutId id="2147483957" r:id="rId13"/>
    <p:sldLayoutId id="2147483958" r:id="rId14"/>
    <p:sldLayoutId id="2147483959" r:id="rId15"/>
    <p:sldLayoutId id="2147483960" r:id="rId16"/>
    <p:sldLayoutId id="2147483961" r:id="rId17"/>
    <p:sldLayoutId id="2147483962" r:id="rId18"/>
    <p:sldLayoutId id="2147483963" r:id="rId19"/>
    <p:sldLayoutId id="2147483964" r:id="rId20"/>
    <p:sldLayoutId id="2147483965" r:id="rId21"/>
    <p:sldLayoutId id="2147483966" r:id="rId22"/>
    <p:sldLayoutId id="2147483967" r:id="rId23"/>
    <p:sldLayoutId id="2147483968" r:id="rId24"/>
    <p:sldLayoutId id="2147483969" r:id="rId25"/>
    <p:sldLayoutId id="2147483970" r:id="rId26"/>
    <p:sldLayoutId id="2147483971" r:id="rId27"/>
    <p:sldLayoutId id="2147483972" r:id="rId28"/>
    <p:sldLayoutId id="2147483973" r:id="rId29"/>
    <p:sldLayoutId id="2147483974" r:id="rId30"/>
    <p:sldLayoutId id="2147483975" r:id="rId31"/>
    <p:sldLayoutId id="2147483976" r:id="rId32"/>
    <p:sldLayoutId id="2147483977" r:id="rId33"/>
    <p:sldLayoutId id="2147483978" r:id="rId34"/>
    <p:sldLayoutId id="2147483979" r:id="rId35"/>
    <p:sldLayoutId id="2147483980" r:id="rId36"/>
    <p:sldLayoutId id="2147483981" r:id="rId37"/>
    <p:sldLayoutId id="2147483982" r:id="rId38"/>
    <p:sldLayoutId id="2147483983" r:id="rId39"/>
    <p:sldLayoutId id="2147483984" r:id="rId40"/>
    <p:sldLayoutId id="2147483985" r:id="rId41"/>
    <p:sldLayoutId id="2147483986" r:id="rId42"/>
    <p:sldLayoutId id="2147483987" r:id="rId43"/>
    <p:sldLayoutId id="2147483988"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a:extLst>
              <a:ext uri="{FF2B5EF4-FFF2-40B4-BE49-F238E27FC236}">
                <a16:creationId xmlns:a16="http://schemas.microsoft.com/office/drawing/2014/main" id="{C5106EEE-B6ED-91DA-CD2C-B060D47AE26D}"/>
              </a:ext>
            </a:extLst>
          </p:cNvPr>
          <p:cNvSpPr txBox="1"/>
          <p:nvPr userDrawn="1"/>
        </p:nvSpPr>
        <p:spPr>
          <a:xfrm>
            <a:off x="124892" y="6539115"/>
            <a:ext cx="2334845" cy="280718"/>
          </a:xfrm>
          <a:prstGeom prst="rect">
            <a:avLst/>
          </a:prstGeom>
          <a:noFill/>
        </p:spPr>
        <p:txBody>
          <a:bodyPr wrap="square" rtlCol="0">
            <a:spAutoFit/>
          </a:bodyPr>
          <a:lstStyle/>
          <a:p>
            <a:r>
              <a:rPr lang="en-US" sz="1200" dirty="0">
                <a:solidFill>
                  <a:schemeClr val="bg1"/>
                </a:solidFill>
              </a:rPr>
              <a:t>www.ThatAwesomeTrainer.com</a:t>
            </a:r>
          </a:p>
        </p:txBody>
      </p:sp>
    </p:spTree>
    <p:extLst>
      <p:ext uri="{BB962C8B-B14F-4D97-AF65-F5344CB8AC3E}">
        <p14:creationId xmlns:p14="http://schemas.microsoft.com/office/powerpoint/2010/main" val="1761395715"/>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 id="2147484001" r:id="rId12"/>
    <p:sldLayoutId id="2147484002" r:id="rId13"/>
    <p:sldLayoutId id="2147484003" r:id="rId14"/>
    <p:sldLayoutId id="2147484004" r:id="rId15"/>
    <p:sldLayoutId id="2147484005" r:id="rId16"/>
    <p:sldLayoutId id="2147484006" r:id="rId17"/>
    <p:sldLayoutId id="2147484007" r:id="rId18"/>
    <p:sldLayoutId id="2147484008" r:id="rId19"/>
    <p:sldLayoutId id="2147484009" r:id="rId20"/>
    <p:sldLayoutId id="2147484010" r:id="rId21"/>
    <p:sldLayoutId id="2147484011" r:id="rId22"/>
    <p:sldLayoutId id="2147484012" r:id="rId23"/>
    <p:sldLayoutId id="2147484013" r:id="rId24"/>
    <p:sldLayoutId id="2147484014" r:id="rId25"/>
    <p:sldLayoutId id="2147484015" r:id="rId26"/>
    <p:sldLayoutId id="2147484016" r:id="rId27"/>
    <p:sldLayoutId id="2147484017" r:id="rId28"/>
    <p:sldLayoutId id="2147484018" r:id="rId29"/>
    <p:sldLayoutId id="2147484019" r:id="rId30"/>
    <p:sldLayoutId id="2147484020" r:id="rId31"/>
    <p:sldLayoutId id="2147484021" r:id="rId32"/>
    <p:sldLayoutId id="2147484022" r:id="rId33"/>
    <p:sldLayoutId id="2147484023" r:id="rId34"/>
    <p:sldLayoutId id="2147484024" r:id="rId35"/>
    <p:sldLayoutId id="2147484025" r:id="rId36"/>
    <p:sldLayoutId id="2147484026" r:id="rId37"/>
    <p:sldLayoutId id="2147484027" r:id="rId38"/>
    <p:sldLayoutId id="2147484028" r:id="rId39"/>
    <p:sldLayoutId id="2147484029" r:id="rId40"/>
    <p:sldLayoutId id="2147484030" r:id="rId41"/>
    <p:sldLayoutId id="2147484031" r:id="rId42"/>
    <p:sldLayoutId id="2147484032" r:id="rId43"/>
    <p:sldLayoutId id="2147484033" r:id="rId44"/>
    <p:sldLayoutId id="2147484034" r:id="rId45"/>
    <p:sldLayoutId id="2147484035" r:id="rId46"/>
    <p:sldLayoutId id="2147483756" r:id="rId47"/>
    <p:sldLayoutId id="2147483757" r:id="rId48"/>
    <p:sldLayoutId id="2147483758" r:id="rId49"/>
    <p:sldLayoutId id="2147483760" r:id="rId50"/>
    <p:sldLayoutId id="2147483762" r:id="rId51"/>
    <p:sldLayoutId id="2147483763" r:id="rId52"/>
    <p:sldLayoutId id="2147483764" r:id="rId53"/>
    <p:sldLayoutId id="2147483781" r:id="rId54"/>
  </p:sldLayoutIdLst>
  <p:hf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2"/>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42743176-B5CF-6901-2B3F-ED45384484A7}"/>
              </a:ext>
            </a:extLst>
          </p:cNvPr>
          <p:cNvPicPr>
            <a:picLocks noChangeAspect="1"/>
          </p:cNvPicPr>
          <p:nvPr userDrawn="1"/>
        </p:nvPicPr>
        <p:blipFill>
          <a:blip r:embed="rId53"/>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899169011"/>
      </p:ext>
    </p:extLst>
  </p:cSld>
  <p:clrMap bg1="lt1" tx1="dk1" bg2="lt2" tx2="dk2" accent1="accent1" accent2="accent2" accent3="accent3" accent4="accent4" accent5="accent5" accent6="accent6" hlink="hlink" folHlink="folHlink"/>
  <p:sldLayoutIdLst>
    <p:sldLayoutId id="2147484083" r:id="rId1"/>
    <p:sldLayoutId id="2147484084" r:id="rId2"/>
    <p:sldLayoutId id="2147484085" r:id="rId3"/>
    <p:sldLayoutId id="2147484086" r:id="rId4"/>
    <p:sldLayoutId id="2147484087" r:id="rId5"/>
    <p:sldLayoutId id="2147484088" r:id="rId6"/>
    <p:sldLayoutId id="2147484089" r:id="rId7"/>
    <p:sldLayoutId id="2147484090" r:id="rId8"/>
    <p:sldLayoutId id="2147484091" r:id="rId9"/>
    <p:sldLayoutId id="2147484092" r:id="rId10"/>
    <p:sldLayoutId id="2147484093" r:id="rId11"/>
    <p:sldLayoutId id="2147484094" r:id="rId12"/>
    <p:sldLayoutId id="2147484095" r:id="rId13"/>
    <p:sldLayoutId id="2147484096" r:id="rId14"/>
    <p:sldLayoutId id="2147484097" r:id="rId15"/>
    <p:sldLayoutId id="2147484098" r:id="rId16"/>
    <p:sldLayoutId id="2147484099" r:id="rId17"/>
    <p:sldLayoutId id="2147484100" r:id="rId18"/>
    <p:sldLayoutId id="2147484101" r:id="rId19"/>
    <p:sldLayoutId id="2147484102" r:id="rId20"/>
    <p:sldLayoutId id="2147484103" r:id="rId21"/>
    <p:sldLayoutId id="2147484104" r:id="rId22"/>
    <p:sldLayoutId id="2147484105" r:id="rId23"/>
    <p:sldLayoutId id="2147484106" r:id="rId24"/>
    <p:sldLayoutId id="2147484107" r:id="rId25"/>
    <p:sldLayoutId id="2147484108" r:id="rId26"/>
    <p:sldLayoutId id="2147484109" r:id="rId27"/>
    <p:sldLayoutId id="2147484110" r:id="rId28"/>
    <p:sldLayoutId id="2147484111" r:id="rId29"/>
    <p:sldLayoutId id="2147484112" r:id="rId30"/>
    <p:sldLayoutId id="2147484113" r:id="rId31"/>
    <p:sldLayoutId id="2147484114" r:id="rId32"/>
    <p:sldLayoutId id="2147484115" r:id="rId33"/>
    <p:sldLayoutId id="2147484116" r:id="rId34"/>
    <p:sldLayoutId id="2147484117" r:id="rId35"/>
    <p:sldLayoutId id="2147484118" r:id="rId36"/>
    <p:sldLayoutId id="2147484119" r:id="rId37"/>
    <p:sldLayoutId id="2147484120" r:id="rId38"/>
    <p:sldLayoutId id="2147484121" r:id="rId39"/>
    <p:sldLayoutId id="2147484122" r:id="rId40"/>
    <p:sldLayoutId id="2147484123" r:id="rId41"/>
    <p:sldLayoutId id="2147484124" r:id="rId42"/>
    <p:sldLayoutId id="2147484125" r:id="rId43"/>
    <p:sldLayoutId id="2147484126" r:id="rId44"/>
    <p:sldLayoutId id="2147484127" r:id="rId45"/>
    <p:sldLayoutId id="2147484128" r:id="rId46"/>
    <p:sldLayoutId id="2147484129" r:id="rId47"/>
  </p:sldLayoutIdLst>
  <p:transition>
    <p:fade/>
  </p:transition>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10.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notesSlide" Target="../notesSlides/notesSlide7.xml"/><Relationship Id="rId7" Type="http://schemas.openxmlformats.org/officeDocument/2006/relationships/diagramColors" Target="../diagrams/colors5.xml"/><Relationship Id="rId2" Type="http://schemas.openxmlformats.org/officeDocument/2006/relationships/slideLayout" Target="../slideLayouts/slideLayout119.xml"/><Relationship Id="rId1" Type="http://schemas.openxmlformats.org/officeDocument/2006/relationships/tags" Target="../tags/tag26.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119.xml"/></Relationships>
</file>

<file path=ppt/slides/_rels/slide12.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notesSlide" Target="../notesSlides/notesSlide9.xml"/><Relationship Id="rId7" Type="http://schemas.openxmlformats.org/officeDocument/2006/relationships/diagramColors" Target="../diagrams/colors6.xml"/><Relationship Id="rId2" Type="http://schemas.openxmlformats.org/officeDocument/2006/relationships/slideLayout" Target="../slideLayouts/slideLayout119.xml"/><Relationship Id="rId1" Type="http://schemas.openxmlformats.org/officeDocument/2006/relationships/tags" Target="../tags/tag28.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0.xml"/><Relationship Id="rId1" Type="http://schemas.openxmlformats.org/officeDocument/2006/relationships/slideLayout" Target="../slideLayouts/slideLayout120.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15.xml.rels><?xml version="1.0" encoding="UTF-8" standalone="yes"?>
<Relationships xmlns="http://schemas.openxmlformats.org/package/2006/relationships"><Relationship Id="rId3" Type="http://schemas.openxmlformats.org/officeDocument/2006/relationships/customXml" Target="../../customXml/item11.xml"/><Relationship Id="rId7" Type="http://schemas.openxmlformats.org/officeDocument/2006/relationships/image" Target="../media/image16.png"/><Relationship Id="rId2" Type="http://schemas.openxmlformats.org/officeDocument/2006/relationships/customXml" Target="../../customXml/item2.xml"/><Relationship Id="rId1" Type="http://schemas.openxmlformats.org/officeDocument/2006/relationships/tags" Target="../tags/tag29.xml"/><Relationship Id="rId6" Type="http://schemas.openxmlformats.org/officeDocument/2006/relationships/notesSlide" Target="../notesSlides/notesSlide11.xml"/><Relationship Id="rId5" Type="http://schemas.openxmlformats.org/officeDocument/2006/relationships/slideLayout" Target="../slideLayouts/slideLayout120.xml"/><Relationship Id="rId4" Type="http://schemas.openxmlformats.org/officeDocument/2006/relationships/tags" Target="../tags/tag30.xml"/></Relationships>
</file>

<file path=ppt/slides/_rels/slide16.xml.rels><?xml version="1.0" encoding="UTF-8" standalone="yes"?>
<Relationships xmlns="http://schemas.openxmlformats.org/package/2006/relationships"><Relationship Id="rId8" Type="http://schemas.openxmlformats.org/officeDocument/2006/relationships/image" Target="../media/image21.gif"/><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2.xml"/><Relationship Id="rId1" Type="http://schemas.openxmlformats.org/officeDocument/2006/relationships/slideLayout" Target="../slideLayouts/slideLayout120.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7.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2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7.xml"/></Relationships>
</file>

<file path=ppt/slides/_rels/slide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25.xml"/></Relationships>
</file>

<file path=ppt/slides/_rels/slide2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25.xml"/></Relationships>
</file>

<file path=ppt/slides/_rels/slide2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5.xml"/><Relationship Id="rId1" Type="http://schemas.openxmlformats.org/officeDocument/2006/relationships/slideLayout" Target="../slideLayouts/slideLayout120.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31.xml"/><Relationship Id="rId1" Type="http://schemas.openxmlformats.org/officeDocument/2006/relationships/tags" Target="../tags/tag31.xml"/><Relationship Id="rId4" Type="http://schemas.openxmlformats.org/officeDocument/2006/relationships/image" Target="../media/image25.jpe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35.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26.jpeg"/><Relationship Id="rId4" Type="http://schemas.openxmlformats.org/officeDocument/2006/relationships/notesSlide" Target="../notesSlides/notesSlide1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26.xml.rels><?xml version="1.0" encoding="UTF-8" standalone="yes"?>
<Relationships xmlns="http://schemas.openxmlformats.org/package/2006/relationships"><Relationship Id="rId3" Type="http://schemas.openxmlformats.org/officeDocument/2006/relationships/customXml" Target="../../customXml/item7.xml"/><Relationship Id="rId7" Type="http://schemas.openxmlformats.org/officeDocument/2006/relationships/image" Target="../media/image16.png"/><Relationship Id="rId2" Type="http://schemas.openxmlformats.org/officeDocument/2006/relationships/customXml" Target="../../customXml/item5.xml"/><Relationship Id="rId1" Type="http://schemas.openxmlformats.org/officeDocument/2006/relationships/tags" Target="../tags/tag34.xml"/><Relationship Id="rId6" Type="http://schemas.openxmlformats.org/officeDocument/2006/relationships/notesSlide" Target="../notesSlides/notesSlide18.xml"/><Relationship Id="rId5" Type="http://schemas.openxmlformats.org/officeDocument/2006/relationships/slideLayout" Target="../slideLayouts/slideLayout120.xml"/><Relationship Id="rId4" Type="http://schemas.openxmlformats.org/officeDocument/2006/relationships/tags" Target="../tags/tag35.xml"/></Relationships>
</file>

<file path=ppt/slides/_rels/slide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9.xml"/><Relationship Id="rId1" Type="http://schemas.openxmlformats.org/officeDocument/2006/relationships/slideLayout" Target="../slideLayouts/slideLayout120.xml"/></Relationships>
</file>

<file path=ppt/slides/_rels/slide28.xml.rels><?xml version="1.0" encoding="UTF-8" standalone="yes"?>
<Relationships xmlns="http://schemas.openxmlformats.org/package/2006/relationships"><Relationship Id="rId8" Type="http://schemas.microsoft.com/office/2007/relationships/diagramDrawing" Target="../diagrams/drawing11.xml"/><Relationship Id="rId3" Type="http://schemas.openxmlformats.org/officeDocument/2006/relationships/notesSlide" Target="../notesSlides/notesSlide20.xml"/><Relationship Id="rId7" Type="http://schemas.openxmlformats.org/officeDocument/2006/relationships/diagramColors" Target="../diagrams/colors11.xml"/><Relationship Id="rId2" Type="http://schemas.openxmlformats.org/officeDocument/2006/relationships/slideLayout" Target="../slideLayouts/slideLayout309.xml"/><Relationship Id="rId1" Type="http://schemas.openxmlformats.org/officeDocument/2006/relationships/tags" Target="../tags/tag36.xml"/><Relationship Id="rId6" Type="http://schemas.openxmlformats.org/officeDocument/2006/relationships/diagramQuickStyle" Target="../diagrams/quickStyle11.xml"/><Relationship Id="rId5" Type="http://schemas.openxmlformats.org/officeDocument/2006/relationships/diagramLayout" Target="../diagrams/layout11.xml"/><Relationship Id="rId4" Type="http://schemas.openxmlformats.org/officeDocument/2006/relationships/diagramData" Target="../diagrams/data11.xml"/></Relationships>
</file>

<file path=ppt/slides/_rels/slide2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1.xml"/><Relationship Id="rId1" Type="http://schemas.openxmlformats.org/officeDocument/2006/relationships/slideLayout" Target="../slideLayouts/slideLayout120.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2.xml"/><Relationship Id="rId1" Type="http://schemas.openxmlformats.org/officeDocument/2006/relationships/slideLayout" Target="../slideLayouts/slideLayout119.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3.xml"/><Relationship Id="rId1" Type="http://schemas.openxmlformats.org/officeDocument/2006/relationships/slideLayout" Target="../slideLayouts/slideLayout119.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4.xml"/><Relationship Id="rId1" Type="http://schemas.openxmlformats.org/officeDocument/2006/relationships/slideLayout" Target="../slideLayouts/slideLayout120.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0.xml"/></Relationships>
</file>

<file path=ppt/slides/_rels/slide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6.xml"/><Relationship Id="rId1" Type="http://schemas.openxmlformats.org/officeDocument/2006/relationships/slideLayout" Target="../slideLayouts/slideLayout119.xml"/></Relationships>
</file>

<file path=ppt/slides/_rels/slide3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27.xml"/><Relationship Id="rId1" Type="http://schemas.openxmlformats.org/officeDocument/2006/relationships/slideLayout" Target="../slideLayouts/slideLayout119.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35.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26.jpeg"/><Relationship Id="rId4" Type="http://schemas.openxmlformats.org/officeDocument/2006/relationships/notesSlide" Target="../notesSlides/notesSlide2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7.xml"/></Relationships>
</file>

<file path=ppt/slides/_rels/slide38.xml.rels><?xml version="1.0" encoding="UTF-8" standalone="yes"?>
<Relationships xmlns="http://schemas.openxmlformats.org/package/2006/relationships"><Relationship Id="rId3" Type="http://schemas.openxmlformats.org/officeDocument/2006/relationships/customXml" Target="../../customXml/item6.xml"/><Relationship Id="rId7" Type="http://schemas.openxmlformats.org/officeDocument/2006/relationships/image" Target="../media/image16.png"/><Relationship Id="rId2" Type="http://schemas.openxmlformats.org/officeDocument/2006/relationships/customXml" Target="../../customXml/item4.xml"/><Relationship Id="rId1" Type="http://schemas.openxmlformats.org/officeDocument/2006/relationships/tags" Target="../tags/tag40.xml"/><Relationship Id="rId6" Type="http://schemas.openxmlformats.org/officeDocument/2006/relationships/notesSlide" Target="../notesSlides/notesSlide30.xml"/><Relationship Id="rId5" Type="http://schemas.openxmlformats.org/officeDocument/2006/relationships/slideLayout" Target="../slideLayouts/slideLayout120.xml"/><Relationship Id="rId4" Type="http://schemas.openxmlformats.org/officeDocument/2006/relationships/tags" Target="../tags/tag41.xml"/></Relationships>
</file>

<file path=ppt/slides/_rels/slide39.xml.rels><?xml version="1.0" encoding="UTF-8" standalone="yes"?>
<Relationships xmlns="http://schemas.openxmlformats.org/package/2006/relationships"><Relationship Id="rId8" Type="http://schemas.openxmlformats.org/officeDocument/2006/relationships/diagramData" Target="../diagrams/data17.xml"/><Relationship Id="rId3" Type="http://schemas.openxmlformats.org/officeDocument/2006/relationships/diagramData" Target="../diagrams/data16.xml"/><Relationship Id="rId7" Type="http://schemas.microsoft.com/office/2007/relationships/diagramDrawing" Target="../diagrams/drawing16.xml"/><Relationship Id="rId12" Type="http://schemas.microsoft.com/office/2007/relationships/diagramDrawing" Target="../diagrams/drawing17.xml"/><Relationship Id="rId2" Type="http://schemas.openxmlformats.org/officeDocument/2006/relationships/notesSlide" Target="../notesSlides/notesSlide31.xml"/><Relationship Id="rId1" Type="http://schemas.openxmlformats.org/officeDocument/2006/relationships/slideLayout" Target="../slideLayouts/slideLayout119.xml"/><Relationship Id="rId6" Type="http://schemas.openxmlformats.org/officeDocument/2006/relationships/diagramColors" Target="../diagrams/colors16.xml"/><Relationship Id="rId11" Type="http://schemas.openxmlformats.org/officeDocument/2006/relationships/diagramColors" Target="../diagrams/colors17.xml"/><Relationship Id="rId5" Type="http://schemas.openxmlformats.org/officeDocument/2006/relationships/diagramQuickStyle" Target="../diagrams/quickStyle16.xml"/><Relationship Id="rId10" Type="http://schemas.openxmlformats.org/officeDocument/2006/relationships/diagramQuickStyle" Target="../diagrams/quickStyle17.xml"/><Relationship Id="rId4" Type="http://schemas.openxmlformats.org/officeDocument/2006/relationships/diagramLayout" Target="../diagrams/layout16.xml"/><Relationship Id="rId9" Type="http://schemas.openxmlformats.org/officeDocument/2006/relationships/diagramLayout" Target="../diagrams/layout17.xml"/></Relationships>
</file>

<file path=ppt/slides/_rels/slide4.xml.rels><?xml version="1.0" encoding="UTF-8" standalone="yes"?>
<Relationships xmlns="http://schemas.openxmlformats.org/package/2006/relationships"><Relationship Id="rId3" Type="http://schemas.openxmlformats.org/officeDocument/2006/relationships/customXml" Target="../../customXml/item8.xml"/><Relationship Id="rId7" Type="http://schemas.openxmlformats.org/officeDocument/2006/relationships/image" Target="../media/image16.png"/><Relationship Id="rId2" Type="http://schemas.openxmlformats.org/officeDocument/2006/relationships/customXml" Target="../../customXml/item3.xml"/><Relationship Id="rId1" Type="http://schemas.openxmlformats.org/officeDocument/2006/relationships/tags" Target="../tags/tag24.xml"/><Relationship Id="rId6" Type="http://schemas.openxmlformats.org/officeDocument/2006/relationships/notesSlide" Target="../notesSlides/notesSlide2.xml"/><Relationship Id="rId5" Type="http://schemas.openxmlformats.org/officeDocument/2006/relationships/slideLayout" Target="../slideLayouts/slideLayout120.xml"/><Relationship Id="rId4" Type="http://schemas.openxmlformats.org/officeDocument/2006/relationships/tags" Target="../tags/tag25.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32.xml"/><Relationship Id="rId1" Type="http://schemas.openxmlformats.org/officeDocument/2006/relationships/slideLayout" Target="../slideLayouts/slideLayout119.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19.xml"/></Relationships>
</file>

<file path=ppt/slides/_rels/slide4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4.xml"/><Relationship Id="rId1" Type="http://schemas.openxmlformats.org/officeDocument/2006/relationships/slideLayout" Target="../slideLayouts/slideLayout119.xml"/></Relationships>
</file>

<file path=ppt/slides/_rels/slide4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5.xml"/><Relationship Id="rId1" Type="http://schemas.openxmlformats.org/officeDocument/2006/relationships/slideLayout" Target="../slideLayouts/slideLayout119.xml"/></Relationships>
</file>

<file path=ppt/slides/_rels/slide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6.xml"/><Relationship Id="rId1" Type="http://schemas.openxmlformats.org/officeDocument/2006/relationships/slideLayout" Target="../slideLayouts/slideLayout119.xml"/></Relationships>
</file>

<file path=ppt/slides/_rels/slide45.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37.xml"/><Relationship Id="rId1" Type="http://schemas.openxmlformats.org/officeDocument/2006/relationships/slideLayout" Target="../slideLayouts/slideLayout119.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9.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39.xml"/><Relationship Id="rId1" Type="http://schemas.openxmlformats.org/officeDocument/2006/relationships/slideLayout" Target="../slideLayouts/slideLayout119.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31.xml"/><Relationship Id="rId1" Type="http://schemas.openxmlformats.org/officeDocument/2006/relationships/tags" Target="../tags/tag42.xml"/><Relationship Id="rId4" Type="http://schemas.openxmlformats.org/officeDocument/2006/relationships/image" Target="../media/image25.jpeg"/></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41.xml"/><Relationship Id="rId1" Type="http://schemas.openxmlformats.org/officeDocument/2006/relationships/slideLayout" Target="../slideLayouts/slideLayout119.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5.xml.rels><?xml version="1.0" encoding="UTF-8" standalone="yes"?>
<Relationships xmlns="http://schemas.openxmlformats.org/package/2006/relationships"><Relationship Id="rId8" Type="http://schemas.openxmlformats.org/officeDocument/2006/relationships/image" Target="../media/image17.gif"/><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2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42.xml"/><Relationship Id="rId1" Type="http://schemas.openxmlformats.org/officeDocument/2006/relationships/slideLayout" Target="../slideLayouts/slideLayout119.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43.xml"/><Relationship Id="rId1" Type="http://schemas.openxmlformats.org/officeDocument/2006/relationships/slideLayout" Target="../slideLayouts/slideLayout119.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52.xml.rels><?xml version="1.0" encoding="UTF-8" standalone="yes"?>
<Relationships xmlns="http://schemas.openxmlformats.org/package/2006/relationships"><Relationship Id="rId8" Type="http://schemas.openxmlformats.org/officeDocument/2006/relationships/diagramData" Target="../diagrams/data25.xml"/><Relationship Id="rId3" Type="http://schemas.openxmlformats.org/officeDocument/2006/relationships/diagramData" Target="../diagrams/data24.xml"/><Relationship Id="rId7" Type="http://schemas.microsoft.com/office/2007/relationships/diagramDrawing" Target="../diagrams/drawing24.xml"/><Relationship Id="rId12" Type="http://schemas.microsoft.com/office/2007/relationships/diagramDrawing" Target="../diagrams/drawing25.xml"/><Relationship Id="rId2" Type="http://schemas.openxmlformats.org/officeDocument/2006/relationships/notesSlide" Target="../notesSlides/notesSlide44.xml"/><Relationship Id="rId1" Type="http://schemas.openxmlformats.org/officeDocument/2006/relationships/slideLayout" Target="../slideLayouts/slideLayout119.xml"/><Relationship Id="rId6" Type="http://schemas.openxmlformats.org/officeDocument/2006/relationships/diagramColors" Target="../diagrams/colors24.xml"/><Relationship Id="rId11" Type="http://schemas.openxmlformats.org/officeDocument/2006/relationships/diagramColors" Target="../diagrams/colors25.xml"/><Relationship Id="rId5" Type="http://schemas.openxmlformats.org/officeDocument/2006/relationships/diagramQuickStyle" Target="../diagrams/quickStyle24.xml"/><Relationship Id="rId10" Type="http://schemas.openxmlformats.org/officeDocument/2006/relationships/diagramQuickStyle" Target="../diagrams/quickStyle25.xml"/><Relationship Id="rId4" Type="http://schemas.openxmlformats.org/officeDocument/2006/relationships/diagramLayout" Target="../diagrams/layout24.xml"/><Relationship Id="rId9" Type="http://schemas.openxmlformats.org/officeDocument/2006/relationships/diagramLayout" Target="../diagrams/layout2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19.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135.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26.jpeg"/><Relationship Id="rId4" Type="http://schemas.openxmlformats.org/officeDocument/2006/relationships/notesSlide" Target="../notesSlides/notesSlide46.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26.xml"/><Relationship Id="rId7" Type="http://schemas.microsoft.com/office/2007/relationships/diagramDrawing" Target="../diagrams/drawing26.xml"/><Relationship Id="rId2" Type="http://schemas.openxmlformats.org/officeDocument/2006/relationships/notesSlide" Target="../notesSlides/notesSlide47.xml"/><Relationship Id="rId1" Type="http://schemas.openxmlformats.org/officeDocument/2006/relationships/slideLayout" Target="../slideLayouts/slideLayout125.xml"/><Relationship Id="rId6" Type="http://schemas.openxmlformats.org/officeDocument/2006/relationships/diagramColors" Target="../diagrams/colors26.xml"/><Relationship Id="rId5" Type="http://schemas.openxmlformats.org/officeDocument/2006/relationships/diagramQuickStyle" Target="../diagrams/quickStyle26.xml"/><Relationship Id="rId4" Type="http://schemas.openxmlformats.org/officeDocument/2006/relationships/diagramLayout" Target="../diagrams/layout2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57.xml.rels><?xml version="1.0" encoding="UTF-8" standalone="yes"?>
<Relationships xmlns="http://schemas.openxmlformats.org/package/2006/relationships"><Relationship Id="rId3" Type="http://schemas.openxmlformats.org/officeDocument/2006/relationships/customXml" Target="../../customXml/item12.xml"/><Relationship Id="rId7" Type="http://schemas.openxmlformats.org/officeDocument/2006/relationships/image" Target="../media/image16.png"/><Relationship Id="rId2" Type="http://schemas.openxmlformats.org/officeDocument/2006/relationships/customXml" Target="../../customXml/item1.xml"/><Relationship Id="rId1" Type="http://schemas.openxmlformats.org/officeDocument/2006/relationships/tags" Target="../tags/tag45.xml"/><Relationship Id="rId6" Type="http://schemas.openxmlformats.org/officeDocument/2006/relationships/notesSlide" Target="../notesSlides/notesSlide48.xml"/><Relationship Id="rId5" Type="http://schemas.openxmlformats.org/officeDocument/2006/relationships/slideLayout" Target="../slideLayouts/slideLayout120.xml"/><Relationship Id="rId4" Type="http://schemas.openxmlformats.org/officeDocument/2006/relationships/tags" Target="../tags/tag46.xml"/></Relationships>
</file>

<file path=ppt/slides/_rels/slide58.xml.rels><?xml version="1.0" encoding="UTF-8" standalone="yes"?>
<Relationships xmlns="http://schemas.openxmlformats.org/package/2006/relationships"><Relationship Id="rId3" Type="http://schemas.openxmlformats.org/officeDocument/2006/relationships/diagramData" Target="../diagrams/data27.xml"/><Relationship Id="rId7" Type="http://schemas.microsoft.com/office/2007/relationships/diagramDrawing" Target="../diagrams/drawing27.xml"/><Relationship Id="rId2" Type="http://schemas.openxmlformats.org/officeDocument/2006/relationships/notesSlide" Target="../notesSlides/notesSlide49.xml"/><Relationship Id="rId1" Type="http://schemas.openxmlformats.org/officeDocument/2006/relationships/slideLayout" Target="../slideLayouts/slideLayout120.xml"/><Relationship Id="rId6" Type="http://schemas.openxmlformats.org/officeDocument/2006/relationships/diagramColors" Target="../diagrams/colors27.xml"/><Relationship Id="rId5" Type="http://schemas.openxmlformats.org/officeDocument/2006/relationships/diagramQuickStyle" Target="../diagrams/quickStyle27.xml"/><Relationship Id="rId4" Type="http://schemas.openxmlformats.org/officeDocument/2006/relationships/diagramLayout" Target="../diagrams/layout27.xml"/></Relationships>
</file>

<file path=ppt/slides/_rels/slide59.xml.rels><?xml version="1.0" encoding="UTF-8" standalone="yes"?>
<Relationships xmlns="http://schemas.openxmlformats.org/package/2006/relationships"><Relationship Id="rId3" Type="http://schemas.openxmlformats.org/officeDocument/2006/relationships/diagramData" Target="../diagrams/data28.xml"/><Relationship Id="rId7" Type="http://schemas.microsoft.com/office/2007/relationships/diagramDrawing" Target="../diagrams/drawing28.xml"/><Relationship Id="rId2" Type="http://schemas.openxmlformats.org/officeDocument/2006/relationships/notesSlide" Target="../notesSlides/notesSlide50.xml"/><Relationship Id="rId1" Type="http://schemas.openxmlformats.org/officeDocument/2006/relationships/slideLayout" Target="../slideLayouts/slideLayout120.xml"/><Relationship Id="rId6" Type="http://schemas.openxmlformats.org/officeDocument/2006/relationships/diagramColors" Target="../diagrams/colors28.xml"/><Relationship Id="rId5" Type="http://schemas.openxmlformats.org/officeDocument/2006/relationships/diagramQuickStyle" Target="../diagrams/quickStyle28.xml"/><Relationship Id="rId4" Type="http://schemas.openxmlformats.org/officeDocument/2006/relationships/diagramLayout" Target="../diagrams/layout28.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2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0.xml.rels><?xml version="1.0" encoding="UTF-8" standalone="yes"?>
<Relationships xmlns="http://schemas.openxmlformats.org/package/2006/relationships"><Relationship Id="rId3" Type="http://schemas.openxmlformats.org/officeDocument/2006/relationships/diagramData" Target="../diagrams/data29.xml"/><Relationship Id="rId7" Type="http://schemas.microsoft.com/office/2007/relationships/diagramDrawing" Target="../diagrams/drawing29.xml"/><Relationship Id="rId2" Type="http://schemas.openxmlformats.org/officeDocument/2006/relationships/notesSlide" Target="../notesSlides/notesSlide51.xml"/><Relationship Id="rId1" Type="http://schemas.openxmlformats.org/officeDocument/2006/relationships/slideLayout" Target="../slideLayouts/slideLayout120.xml"/><Relationship Id="rId6" Type="http://schemas.openxmlformats.org/officeDocument/2006/relationships/diagramColors" Target="../diagrams/colors29.xml"/><Relationship Id="rId5" Type="http://schemas.openxmlformats.org/officeDocument/2006/relationships/diagramQuickStyle" Target="../diagrams/quickStyle29.xml"/><Relationship Id="rId4" Type="http://schemas.openxmlformats.org/officeDocument/2006/relationships/diagramLayout" Target="../diagrams/layout29.xml"/></Relationships>
</file>

<file path=ppt/slides/_rels/slide61.xml.rels><?xml version="1.0" encoding="UTF-8" standalone="yes"?>
<Relationships xmlns="http://schemas.openxmlformats.org/package/2006/relationships"><Relationship Id="rId3" Type="http://schemas.openxmlformats.org/officeDocument/2006/relationships/diagramData" Target="../diagrams/data30.xml"/><Relationship Id="rId7" Type="http://schemas.microsoft.com/office/2007/relationships/diagramDrawing" Target="../diagrams/drawing30.xml"/><Relationship Id="rId2" Type="http://schemas.openxmlformats.org/officeDocument/2006/relationships/notesSlide" Target="../notesSlides/notesSlide52.xml"/><Relationship Id="rId1" Type="http://schemas.openxmlformats.org/officeDocument/2006/relationships/slideLayout" Target="../slideLayouts/slideLayout120.xml"/><Relationship Id="rId6" Type="http://schemas.openxmlformats.org/officeDocument/2006/relationships/diagramColors" Target="../diagrams/colors30.xml"/><Relationship Id="rId5" Type="http://schemas.openxmlformats.org/officeDocument/2006/relationships/diagramQuickStyle" Target="../diagrams/quickStyle30.xml"/><Relationship Id="rId4" Type="http://schemas.openxmlformats.org/officeDocument/2006/relationships/diagramLayout" Target="../diagrams/layout30.xml"/></Relationships>
</file>

<file path=ppt/slides/_rels/slide62.xml.rels><?xml version="1.0" encoding="UTF-8" standalone="yes"?>
<Relationships xmlns="http://schemas.openxmlformats.org/package/2006/relationships"><Relationship Id="rId3" Type="http://schemas.openxmlformats.org/officeDocument/2006/relationships/diagramData" Target="../diagrams/data31.xml"/><Relationship Id="rId7" Type="http://schemas.microsoft.com/office/2007/relationships/diagramDrawing" Target="../diagrams/drawing31.xml"/><Relationship Id="rId2" Type="http://schemas.openxmlformats.org/officeDocument/2006/relationships/notesSlide" Target="../notesSlides/notesSlide53.xml"/><Relationship Id="rId1" Type="http://schemas.openxmlformats.org/officeDocument/2006/relationships/slideLayout" Target="../slideLayouts/slideLayout120.xml"/><Relationship Id="rId6" Type="http://schemas.openxmlformats.org/officeDocument/2006/relationships/diagramColors" Target="../diagrams/colors31.xml"/><Relationship Id="rId5" Type="http://schemas.openxmlformats.org/officeDocument/2006/relationships/diagramQuickStyle" Target="../diagrams/quickStyle31.xml"/><Relationship Id="rId4" Type="http://schemas.openxmlformats.org/officeDocument/2006/relationships/diagramLayout" Target="../diagrams/layout31.xml"/></Relationships>
</file>

<file path=ppt/slides/_rels/slide6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4.xml"/><Relationship Id="rId1" Type="http://schemas.openxmlformats.org/officeDocument/2006/relationships/slideLayout" Target="../slideLayouts/slideLayout120.xml"/></Relationships>
</file>

<file path=ppt/slides/_rels/slide64.xml.rels><?xml version="1.0" encoding="UTF-8" standalone="yes"?>
<Relationships xmlns="http://schemas.openxmlformats.org/package/2006/relationships"><Relationship Id="rId8" Type="http://schemas.openxmlformats.org/officeDocument/2006/relationships/hyperlink" Target="https://techcommunity.microsoft.com/t5/sql-server/tempdb-files-and-trace-flags-and-updates-oh-my/ba-p/385937" TargetMode="External"/><Relationship Id="rId3" Type="http://schemas.openxmlformats.org/officeDocument/2006/relationships/diagramData" Target="../diagrams/data32.xml"/><Relationship Id="rId7" Type="http://schemas.microsoft.com/office/2007/relationships/diagramDrawing" Target="../diagrams/drawing32.xml"/><Relationship Id="rId2" Type="http://schemas.openxmlformats.org/officeDocument/2006/relationships/notesSlide" Target="../notesSlides/notesSlide55.xml"/><Relationship Id="rId1" Type="http://schemas.openxmlformats.org/officeDocument/2006/relationships/slideLayout" Target="../slideLayouts/slideLayout120.xml"/><Relationship Id="rId6" Type="http://schemas.openxmlformats.org/officeDocument/2006/relationships/diagramColors" Target="../diagrams/colors32.xml"/><Relationship Id="rId5" Type="http://schemas.openxmlformats.org/officeDocument/2006/relationships/diagramQuickStyle" Target="../diagrams/quickStyle32.xml"/><Relationship Id="rId4" Type="http://schemas.openxmlformats.org/officeDocument/2006/relationships/diagramLayout" Target="../diagrams/layout32.xml"/><Relationship Id="rId9" Type="http://schemas.openxmlformats.org/officeDocument/2006/relationships/hyperlink" Target="https://www.youtube.com/watch?v=g4aemv5O9as&amp;t=1s" TargetMode="External"/></Relationships>
</file>

<file path=ppt/slides/_rels/slide65.xml.rels><?xml version="1.0" encoding="UTF-8" standalone="yes"?>
<Relationships xmlns="http://schemas.openxmlformats.org/package/2006/relationships"><Relationship Id="rId8" Type="http://schemas.microsoft.com/office/2007/relationships/diagramDrawing" Target="../diagrams/drawing33.xml"/><Relationship Id="rId3" Type="http://schemas.openxmlformats.org/officeDocument/2006/relationships/image" Target="../media/image31.png"/><Relationship Id="rId7" Type="http://schemas.openxmlformats.org/officeDocument/2006/relationships/diagramColors" Target="../diagrams/colors33.xml"/><Relationship Id="rId2" Type="http://schemas.openxmlformats.org/officeDocument/2006/relationships/notesSlide" Target="../notesSlides/notesSlide56.xml"/><Relationship Id="rId1" Type="http://schemas.openxmlformats.org/officeDocument/2006/relationships/slideLayout" Target="../slideLayouts/slideLayout120.xml"/><Relationship Id="rId6" Type="http://schemas.openxmlformats.org/officeDocument/2006/relationships/diagramQuickStyle" Target="../diagrams/quickStyle33.xml"/><Relationship Id="rId5" Type="http://schemas.openxmlformats.org/officeDocument/2006/relationships/diagramLayout" Target="../diagrams/layout33.xml"/><Relationship Id="rId4" Type="http://schemas.openxmlformats.org/officeDocument/2006/relationships/diagramData" Target="../diagrams/data33.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131.xml"/><Relationship Id="rId1" Type="http://schemas.openxmlformats.org/officeDocument/2006/relationships/tags" Target="../tags/tag47.xml"/><Relationship Id="rId4" Type="http://schemas.openxmlformats.org/officeDocument/2006/relationships/image" Target="../media/image25.jpeg"/></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135.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6.jpeg"/><Relationship Id="rId4" Type="http://schemas.openxmlformats.org/officeDocument/2006/relationships/notesSlide" Target="../notesSlides/notesSlide58.xml"/></Relationships>
</file>

<file path=ppt/slides/_rels/slide68.xml.rels><?xml version="1.0" encoding="UTF-8" standalone="yes"?>
<Relationships xmlns="http://schemas.openxmlformats.org/package/2006/relationships"><Relationship Id="rId3" Type="http://schemas.openxmlformats.org/officeDocument/2006/relationships/diagramData" Target="../diagrams/data34.xml"/><Relationship Id="rId7" Type="http://schemas.microsoft.com/office/2007/relationships/diagramDrawing" Target="../diagrams/drawing34.xml"/><Relationship Id="rId2" Type="http://schemas.openxmlformats.org/officeDocument/2006/relationships/notesSlide" Target="../notesSlides/notesSlide59.xml"/><Relationship Id="rId1" Type="http://schemas.openxmlformats.org/officeDocument/2006/relationships/slideLayout" Target="../slideLayouts/slideLayout125.xml"/><Relationship Id="rId6" Type="http://schemas.openxmlformats.org/officeDocument/2006/relationships/diagramColors" Target="../diagrams/colors34.xml"/><Relationship Id="rId5" Type="http://schemas.openxmlformats.org/officeDocument/2006/relationships/diagramQuickStyle" Target="../diagrams/quickStyle34.xml"/><Relationship Id="rId4" Type="http://schemas.openxmlformats.org/officeDocument/2006/relationships/diagramLayout" Target="../diagrams/layout3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12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66.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19.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SQL Server I/O and Database Structure</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2</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Server Buffer Pool</a:t>
            </a:r>
          </a:p>
        </p:txBody>
      </p:sp>
      <p:graphicFrame>
        <p:nvGraphicFramePr>
          <p:cNvPr id="7" name="Content Placeholder 6">
            <a:extLst>
              <a:ext uri="{FF2B5EF4-FFF2-40B4-BE49-F238E27FC236}">
                <a16:creationId xmlns:a16="http://schemas.microsoft.com/office/drawing/2014/main" id="{ED3B8C91-DEC0-41B6-8662-E0730E77150B}"/>
              </a:ext>
            </a:extLst>
          </p:cNvPr>
          <p:cNvGraphicFramePr>
            <a:graphicFrameLocks noGrp="1"/>
          </p:cNvGraphicFramePr>
          <p:nvPr>
            <p:ph sz="quarter" idx="13"/>
            <p:extLst>
              <p:ext uri="{D42A27DB-BD31-4B8C-83A1-F6EECF244321}">
                <p14:modId xmlns:p14="http://schemas.microsoft.com/office/powerpoint/2010/main" val="4220299952"/>
              </p:ext>
            </p:extLst>
          </p:nvPr>
        </p:nvGraphicFramePr>
        <p:xfrm>
          <a:off x="655638" y="1074656"/>
          <a:ext cx="6206049" cy="515310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Rectangle 1"/>
          <p:cNvSpPr/>
          <p:nvPr/>
        </p:nvSpPr>
        <p:spPr>
          <a:xfrm>
            <a:off x="270068" y="1201981"/>
            <a:ext cx="6435532" cy="830997"/>
          </a:xfrm>
          <a:prstGeom prst="rect">
            <a:avLst/>
          </a:prstGeom>
        </p:spPr>
        <p:txBody>
          <a:bodyPr wrap="square">
            <a:spAutoFit/>
          </a:bodyPr>
          <a:lstStyle/>
          <a:p>
            <a:pPr defTabSz="914225">
              <a:defRPr/>
            </a:pPr>
            <a:endParaRPr lang="en-US" sz="2400" kern="0" dirty="0">
              <a:solidFill>
                <a:sysClr val="windowText" lastClr="000000"/>
              </a:solidFill>
            </a:endParaRPr>
          </a:p>
          <a:p>
            <a:pPr defTabSz="914225">
              <a:defRPr/>
            </a:pPr>
            <a:endParaRPr lang="en-US" sz="2400" kern="0" dirty="0">
              <a:solidFill>
                <a:sysClr val="windowText" lastClr="000000"/>
              </a:solidFill>
            </a:endParaRPr>
          </a:p>
        </p:txBody>
      </p:sp>
      <p:sp>
        <p:nvSpPr>
          <p:cNvPr id="54" name="Text Box 10">
            <a:extLst>
              <a:ext uri="{FF2B5EF4-FFF2-40B4-BE49-F238E27FC236}">
                <a16:creationId xmlns:a16="http://schemas.microsoft.com/office/drawing/2014/main" id="{5B37512A-8246-403C-8609-1B297EA845F0}"/>
              </a:ext>
            </a:extLst>
          </p:cNvPr>
          <p:cNvSpPr txBox="1">
            <a:spLocks noChangeArrowheads="1"/>
          </p:cNvSpPr>
          <p:nvPr/>
        </p:nvSpPr>
        <p:spPr bwMode="auto">
          <a:xfrm>
            <a:off x="7102028" y="4744024"/>
            <a:ext cx="725282" cy="350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algn="r" defTabSz="914224">
              <a:spcBef>
                <a:spcPct val="50000"/>
              </a:spcBef>
              <a:defRPr/>
            </a:pPr>
            <a:r>
              <a:rPr lang="en-US" sz="1632" b="0" kern="0" dirty="0">
                <a:solidFill>
                  <a:srgbClr val="505050">
                    <a:lumMod val="50000"/>
                  </a:srgbClr>
                </a:solidFill>
                <a:latin typeface="Arial" panose="020B0604020202020204" pitchFamily="34" charset="0"/>
              </a:rPr>
              <a:t>Disks</a:t>
            </a:r>
          </a:p>
        </p:txBody>
      </p:sp>
      <p:sp>
        <p:nvSpPr>
          <p:cNvPr id="55" name="Rectangle 11">
            <a:extLst>
              <a:ext uri="{FF2B5EF4-FFF2-40B4-BE49-F238E27FC236}">
                <a16:creationId xmlns:a16="http://schemas.microsoft.com/office/drawing/2014/main" id="{CDD6A2C8-A9DB-4076-A976-978D33F5F1AF}"/>
              </a:ext>
            </a:extLst>
          </p:cNvPr>
          <p:cNvSpPr>
            <a:spLocks noChangeArrowheads="1"/>
          </p:cNvSpPr>
          <p:nvPr/>
        </p:nvSpPr>
        <p:spPr bwMode="auto">
          <a:xfrm>
            <a:off x="8067653" y="3263456"/>
            <a:ext cx="3734021" cy="672337"/>
          </a:xfrm>
          <a:prstGeom prst="rect">
            <a:avLst/>
          </a:prstGeom>
          <a:solidFill>
            <a:schemeClr val="accent1">
              <a:lumMod val="75000"/>
            </a:schemeClr>
          </a:solidFill>
          <a:ln w="9525" cap="flat" cmpd="sng" algn="ctr">
            <a:solidFill>
              <a:srgbClr val="107C10"/>
            </a:solidFill>
            <a:prstDash val="solid"/>
            <a:headEnd/>
            <a:tailEnd/>
          </a:ln>
          <a:effectLst/>
        </p:spPr>
        <p:txBody>
          <a:bodyPr wrap="none" anchor="ct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Buffer Pool</a:t>
            </a:r>
          </a:p>
        </p:txBody>
      </p:sp>
      <p:sp>
        <p:nvSpPr>
          <p:cNvPr id="56" name="Text Box 12">
            <a:extLst>
              <a:ext uri="{FF2B5EF4-FFF2-40B4-BE49-F238E27FC236}">
                <a16:creationId xmlns:a16="http://schemas.microsoft.com/office/drawing/2014/main" id="{114053ED-8765-466E-84AE-A07DA021C65D}"/>
              </a:ext>
            </a:extLst>
          </p:cNvPr>
          <p:cNvSpPr txBox="1">
            <a:spLocks noChangeArrowheads="1"/>
          </p:cNvSpPr>
          <p:nvPr/>
        </p:nvSpPr>
        <p:spPr bwMode="auto">
          <a:xfrm>
            <a:off x="6966410" y="3424459"/>
            <a:ext cx="1007893" cy="350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algn="r" defTabSz="914224">
              <a:spcBef>
                <a:spcPct val="50000"/>
              </a:spcBef>
              <a:defRPr/>
            </a:pPr>
            <a:r>
              <a:rPr lang="en-US" sz="1632" b="0" kern="0" dirty="0">
                <a:solidFill>
                  <a:srgbClr val="505050">
                    <a:lumMod val="50000"/>
                  </a:srgbClr>
                </a:solidFill>
                <a:latin typeface="Arial" panose="020B0604020202020204" pitchFamily="34" charset="0"/>
              </a:rPr>
              <a:t>Memory</a:t>
            </a:r>
          </a:p>
        </p:txBody>
      </p:sp>
      <p:sp>
        <p:nvSpPr>
          <p:cNvPr id="57" name="Text Box 18">
            <a:extLst>
              <a:ext uri="{FF2B5EF4-FFF2-40B4-BE49-F238E27FC236}">
                <a16:creationId xmlns:a16="http://schemas.microsoft.com/office/drawing/2014/main" id="{EAEDCB83-39E0-4A5D-AF6B-24E5C7CE9796}"/>
              </a:ext>
            </a:extLst>
          </p:cNvPr>
          <p:cNvSpPr txBox="1">
            <a:spLocks noChangeArrowheads="1"/>
          </p:cNvSpPr>
          <p:nvPr/>
        </p:nvSpPr>
        <p:spPr bwMode="auto">
          <a:xfrm>
            <a:off x="8067653" y="1928788"/>
            <a:ext cx="1026856" cy="606488"/>
          </a:xfrm>
          <a:prstGeom prst="rect">
            <a:avLst/>
          </a:prstGeom>
          <a:solidFill>
            <a:schemeClr val="accent1">
              <a:lumMod val="20000"/>
              <a:lumOff val="80000"/>
            </a:schemeClr>
          </a:solidFill>
          <a:ln w="9525" cap="flat" cmpd="sng" algn="ctr">
            <a:solidFill>
              <a:srgbClr val="0078D7"/>
            </a:solidFill>
            <a:prstDash val="solid"/>
          </a:ln>
          <a:effectLst/>
        </p:spPr>
        <p:txBody>
          <a:bodyPr wrap="square">
            <a:spAutoFit/>
          </a:bodyPr>
          <a:lstStyle>
            <a:defPPr>
              <a:defRPr lang="en-US"/>
            </a:defPPr>
            <a:lvl1pPr>
              <a:defRPr b="0">
                <a:latin typeface="Arial" panose="020B0604020202020204" pitchFamily="34" charset="0"/>
              </a:defRPr>
            </a:lvl1pPr>
            <a:lvl2pPr marL="742950" indent="-285750">
              <a:defRPr b="1">
                <a:latin typeface="Arial Narrow" panose="020B0606020202030204" pitchFamily="34" charset="0"/>
              </a:defRPr>
            </a:lvl2pPr>
            <a:lvl3pPr marL="1143000" indent="-228600">
              <a:defRPr b="1">
                <a:latin typeface="Arial Narrow" panose="020B0606020202030204" pitchFamily="34" charset="0"/>
              </a:defRPr>
            </a:lvl3pPr>
            <a:lvl4pPr marL="1600200" indent="-228600">
              <a:defRPr b="1">
                <a:latin typeface="Arial Narrow" panose="020B0606020202030204" pitchFamily="34" charset="0"/>
              </a:defRPr>
            </a:lvl4pPr>
            <a:lvl5pPr marL="2057400" indent="-228600">
              <a:defRPr b="1">
                <a:latin typeface="Arial Narrow" panose="020B0606020202030204" pitchFamily="34" charset="0"/>
              </a:defRPr>
            </a:lvl5pPr>
            <a:lvl6pPr marL="2514600" indent="-228600" algn="ctr" eaLnBrk="0" fontAlgn="base" hangingPunct="0">
              <a:spcBef>
                <a:spcPct val="0"/>
              </a:spcBef>
              <a:spcAft>
                <a:spcPct val="0"/>
              </a:spcAft>
              <a:defRPr b="1">
                <a:latin typeface="Arial Narrow" panose="020B0606020202030204" pitchFamily="34" charset="0"/>
              </a:defRPr>
            </a:lvl6pPr>
            <a:lvl7pPr marL="2971800" indent="-228600" algn="ctr" eaLnBrk="0" fontAlgn="base" hangingPunct="0">
              <a:spcBef>
                <a:spcPct val="0"/>
              </a:spcBef>
              <a:spcAft>
                <a:spcPct val="0"/>
              </a:spcAft>
              <a:defRPr b="1">
                <a:latin typeface="Arial Narrow" panose="020B0606020202030204" pitchFamily="34" charset="0"/>
              </a:defRPr>
            </a:lvl7pPr>
            <a:lvl8pPr marL="3429000" indent="-228600" algn="ctr" eaLnBrk="0" fontAlgn="base" hangingPunct="0">
              <a:spcBef>
                <a:spcPct val="0"/>
              </a:spcBef>
              <a:spcAft>
                <a:spcPct val="0"/>
              </a:spcAft>
              <a:defRPr b="1">
                <a:latin typeface="Arial Narrow" panose="020B0606020202030204" pitchFamily="34" charset="0"/>
              </a:defRPr>
            </a:lvl8pPr>
            <a:lvl9pPr marL="3886200" indent="-228600" algn="ctr" eaLnBrk="0" fontAlgn="base" hangingPunct="0">
              <a:spcBef>
                <a:spcPct val="0"/>
              </a:spcBef>
              <a:spcAft>
                <a:spcPct val="0"/>
              </a:spcAft>
              <a:defRPr b="1">
                <a:latin typeface="Arial Narrow" panose="020B0606020202030204" pitchFamily="34" charset="0"/>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Physical</a:t>
            </a:r>
          </a:p>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Read</a:t>
            </a:r>
          </a:p>
        </p:txBody>
      </p:sp>
      <p:sp>
        <p:nvSpPr>
          <p:cNvPr id="58" name="Text Box 19">
            <a:extLst>
              <a:ext uri="{FF2B5EF4-FFF2-40B4-BE49-F238E27FC236}">
                <a16:creationId xmlns:a16="http://schemas.microsoft.com/office/drawing/2014/main" id="{59F6E1F2-FFD9-46E3-8091-608AF1877D43}"/>
              </a:ext>
            </a:extLst>
          </p:cNvPr>
          <p:cNvSpPr txBox="1">
            <a:spLocks noChangeArrowheads="1"/>
          </p:cNvSpPr>
          <p:nvPr/>
        </p:nvSpPr>
        <p:spPr bwMode="auto">
          <a:xfrm>
            <a:off x="10819823" y="1928788"/>
            <a:ext cx="866833" cy="606488"/>
          </a:xfrm>
          <a:prstGeom prst="rect">
            <a:avLst/>
          </a:prstGeom>
          <a:solidFill>
            <a:schemeClr val="accent1">
              <a:lumMod val="20000"/>
              <a:lumOff val="80000"/>
            </a:schemeClr>
          </a:solidFill>
          <a:ln w="9525" cap="flat" cmpd="sng" algn="ctr">
            <a:solidFill>
              <a:srgbClr val="0078D7"/>
            </a:solidFill>
            <a:prstDash val="solid"/>
          </a:ln>
          <a:effectLst/>
        </p:spPr>
        <p:txBody>
          <a:bodyPr wrap="none">
            <a:spAutoFit/>
          </a:bodyPr>
          <a:lstStyle>
            <a:defPPr>
              <a:defRPr lang="en-US"/>
            </a:defPPr>
            <a:lvl1pPr>
              <a:defRPr b="0">
                <a:latin typeface="Arial" panose="020B0604020202020204" pitchFamily="34" charset="0"/>
              </a:defRPr>
            </a:lvl1pPr>
            <a:lvl2pPr marL="742950" indent="-285750">
              <a:defRPr b="1">
                <a:latin typeface="Arial Narrow" panose="020B0606020202030204" pitchFamily="34" charset="0"/>
              </a:defRPr>
            </a:lvl2pPr>
            <a:lvl3pPr marL="1143000" indent="-228600">
              <a:defRPr b="1">
                <a:latin typeface="Arial Narrow" panose="020B0606020202030204" pitchFamily="34" charset="0"/>
              </a:defRPr>
            </a:lvl3pPr>
            <a:lvl4pPr marL="1600200" indent="-228600">
              <a:defRPr b="1">
                <a:latin typeface="Arial Narrow" panose="020B0606020202030204" pitchFamily="34" charset="0"/>
              </a:defRPr>
            </a:lvl4pPr>
            <a:lvl5pPr marL="2057400" indent="-228600">
              <a:defRPr b="1">
                <a:latin typeface="Arial Narrow" panose="020B0606020202030204" pitchFamily="34" charset="0"/>
              </a:defRPr>
            </a:lvl5pPr>
            <a:lvl6pPr marL="2514600" indent="-228600" algn="ctr" eaLnBrk="0" fontAlgn="base" hangingPunct="0">
              <a:spcBef>
                <a:spcPct val="0"/>
              </a:spcBef>
              <a:spcAft>
                <a:spcPct val="0"/>
              </a:spcAft>
              <a:defRPr b="1">
                <a:latin typeface="Arial Narrow" panose="020B0606020202030204" pitchFamily="34" charset="0"/>
              </a:defRPr>
            </a:lvl6pPr>
            <a:lvl7pPr marL="2971800" indent="-228600" algn="ctr" eaLnBrk="0" fontAlgn="base" hangingPunct="0">
              <a:spcBef>
                <a:spcPct val="0"/>
              </a:spcBef>
              <a:spcAft>
                <a:spcPct val="0"/>
              </a:spcAft>
              <a:defRPr b="1">
                <a:latin typeface="Arial Narrow" panose="020B0606020202030204" pitchFamily="34" charset="0"/>
              </a:defRPr>
            </a:lvl7pPr>
            <a:lvl8pPr marL="3429000" indent="-228600" algn="ctr" eaLnBrk="0" fontAlgn="base" hangingPunct="0">
              <a:spcBef>
                <a:spcPct val="0"/>
              </a:spcBef>
              <a:spcAft>
                <a:spcPct val="0"/>
              </a:spcAft>
              <a:defRPr b="1">
                <a:latin typeface="Arial Narrow" panose="020B0606020202030204" pitchFamily="34" charset="0"/>
              </a:defRPr>
            </a:lvl8pPr>
            <a:lvl9pPr marL="3886200" indent="-228600" algn="ctr" eaLnBrk="0" fontAlgn="base" hangingPunct="0">
              <a:spcBef>
                <a:spcPct val="0"/>
              </a:spcBef>
              <a:spcAft>
                <a:spcPct val="0"/>
              </a:spcAft>
              <a:defRPr b="1">
                <a:latin typeface="Arial Narrow" panose="020B0606020202030204" pitchFamily="34" charset="0"/>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Logical</a:t>
            </a:r>
          </a:p>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Read</a:t>
            </a:r>
          </a:p>
        </p:txBody>
      </p:sp>
      <p:sp>
        <p:nvSpPr>
          <p:cNvPr id="59" name="Line 13">
            <a:extLst>
              <a:ext uri="{FF2B5EF4-FFF2-40B4-BE49-F238E27FC236}">
                <a16:creationId xmlns:a16="http://schemas.microsoft.com/office/drawing/2014/main" id="{C9C991CD-B4F0-41E8-8798-B69F500180DE}"/>
              </a:ext>
            </a:extLst>
          </p:cNvPr>
          <p:cNvSpPr>
            <a:spLocks noChangeShapeType="1"/>
          </p:cNvSpPr>
          <p:nvPr/>
        </p:nvSpPr>
        <p:spPr bwMode="auto">
          <a:xfrm>
            <a:off x="8441055" y="2663157"/>
            <a:ext cx="0" cy="1656830"/>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0" name="Line 14">
            <a:extLst>
              <a:ext uri="{FF2B5EF4-FFF2-40B4-BE49-F238E27FC236}">
                <a16:creationId xmlns:a16="http://schemas.microsoft.com/office/drawing/2014/main" id="{426269A6-1A40-43C7-A172-B551A71A3B86}"/>
              </a:ext>
            </a:extLst>
          </p:cNvPr>
          <p:cNvSpPr>
            <a:spLocks noChangeShapeType="1"/>
          </p:cNvSpPr>
          <p:nvPr/>
        </p:nvSpPr>
        <p:spPr bwMode="auto">
          <a:xfrm flipV="1">
            <a:off x="8627755" y="3647649"/>
            <a:ext cx="0" cy="672337"/>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1" name="Line 15">
            <a:extLst>
              <a:ext uri="{FF2B5EF4-FFF2-40B4-BE49-F238E27FC236}">
                <a16:creationId xmlns:a16="http://schemas.microsoft.com/office/drawing/2014/main" id="{002CC1DF-7D1C-4A21-B69B-B3D678418D5F}"/>
              </a:ext>
            </a:extLst>
          </p:cNvPr>
          <p:cNvSpPr>
            <a:spLocks noChangeShapeType="1"/>
          </p:cNvSpPr>
          <p:nvPr/>
        </p:nvSpPr>
        <p:spPr bwMode="auto">
          <a:xfrm flipV="1">
            <a:off x="8627755" y="2663156"/>
            <a:ext cx="0" cy="768385"/>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2" name="Line 16">
            <a:extLst>
              <a:ext uri="{FF2B5EF4-FFF2-40B4-BE49-F238E27FC236}">
                <a16:creationId xmlns:a16="http://schemas.microsoft.com/office/drawing/2014/main" id="{5131CD87-51EF-490F-9DE6-8BF3015F8CD8}"/>
              </a:ext>
            </a:extLst>
          </p:cNvPr>
          <p:cNvSpPr>
            <a:spLocks noChangeShapeType="1"/>
          </p:cNvSpPr>
          <p:nvPr/>
        </p:nvSpPr>
        <p:spPr bwMode="auto">
          <a:xfrm flipV="1">
            <a:off x="11334921" y="2663156"/>
            <a:ext cx="0" cy="768385"/>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3" name="Line 17">
            <a:extLst>
              <a:ext uri="{FF2B5EF4-FFF2-40B4-BE49-F238E27FC236}">
                <a16:creationId xmlns:a16="http://schemas.microsoft.com/office/drawing/2014/main" id="{3AF3AED8-D2B4-45EF-B9E7-36FCCD2533C6}"/>
              </a:ext>
            </a:extLst>
          </p:cNvPr>
          <p:cNvSpPr>
            <a:spLocks noChangeShapeType="1"/>
          </p:cNvSpPr>
          <p:nvPr/>
        </p:nvSpPr>
        <p:spPr bwMode="auto">
          <a:xfrm>
            <a:off x="11148219" y="2663156"/>
            <a:ext cx="0" cy="768385"/>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grpSp>
        <p:nvGrpSpPr>
          <p:cNvPr id="20" name="Group 19">
            <a:extLst>
              <a:ext uri="{FF2B5EF4-FFF2-40B4-BE49-F238E27FC236}">
                <a16:creationId xmlns:a16="http://schemas.microsoft.com/office/drawing/2014/main" id="{6AAD06DB-DD35-41A2-91F2-69E63D67B9B1}"/>
              </a:ext>
            </a:extLst>
          </p:cNvPr>
          <p:cNvGrpSpPr/>
          <p:nvPr/>
        </p:nvGrpSpPr>
        <p:grpSpPr>
          <a:xfrm>
            <a:off x="8067653" y="4384013"/>
            <a:ext cx="1046156" cy="1072546"/>
            <a:chOff x="4963829" y="4298078"/>
            <a:chExt cx="1393773" cy="1547244"/>
          </a:xfrm>
        </p:grpSpPr>
        <p:sp>
          <p:nvSpPr>
            <p:cNvPr id="21" name="Cylinder 20">
              <a:extLst>
                <a:ext uri="{FF2B5EF4-FFF2-40B4-BE49-F238E27FC236}">
                  <a16:creationId xmlns:a16="http://schemas.microsoft.com/office/drawing/2014/main" id="{85D24308-DD49-45E5-819C-0837B5B7F32B}"/>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22" name="Cylinder 21">
              <a:extLst>
                <a:ext uri="{FF2B5EF4-FFF2-40B4-BE49-F238E27FC236}">
                  <a16:creationId xmlns:a16="http://schemas.microsoft.com/office/drawing/2014/main" id="{5D92FE76-490E-4483-B1FD-DF4364754E90}"/>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23" name="Cylinder 22">
              <a:extLst>
                <a:ext uri="{FF2B5EF4-FFF2-40B4-BE49-F238E27FC236}">
                  <a16:creationId xmlns:a16="http://schemas.microsoft.com/office/drawing/2014/main" id="{F150EBF8-25A0-497D-8ACC-ADC7446088F6}"/>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28" name="Group 27">
            <a:extLst>
              <a:ext uri="{FF2B5EF4-FFF2-40B4-BE49-F238E27FC236}">
                <a16:creationId xmlns:a16="http://schemas.microsoft.com/office/drawing/2014/main" id="{E6B2DB65-525D-40FC-A9A9-A2D41D0CF174}"/>
              </a:ext>
            </a:extLst>
          </p:cNvPr>
          <p:cNvGrpSpPr/>
          <p:nvPr/>
        </p:nvGrpSpPr>
        <p:grpSpPr>
          <a:xfrm>
            <a:off x="9411586" y="4384013"/>
            <a:ext cx="1046156" cy="1072546"/>
            <a:chOff x="4963829" y="4298078"/>
            <a:chExt cx="1393773" cy="1547244"/>
          </a:xfrm>
        </p:grpSpPr>
        <p:sp>
          <p:nvSpPr>
            <p:cNvPr id="29" name="Cylinder 28">
              <a:extLst>
                <a:ext uri="{FF2B5EF4-FFF2-40B4-BE49-F238E27FC236}">
                  <a16:creationId xmlns:a16="http://schemas.microsoft.com/office/drawing/2014/main" id="{DAFD4AED-0B2F-4CD0-A999-049182048A3A}"/>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30" name="Cylinder 29">
              <a:extLst>
                <a:ext uri="{FF2B5EF4-FFF2-40B4-BE49-F238E27FC236}">
                  <a16:creationId xmlns:a16="http://schemas.microsoft.com/office/drawing/2014/main" id="{21AA5626-4A2F-431A-A983-092FEA455304}"/>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31" name="Cylinder 30">
              <a:extLst>
                <a:ext uri="{FF2B5EF4-FFF2-40B4-BE49-F238E27FC236}">
                  <a16:creationId xmlns:a16="http://schemas.microsoft.com/office/drawing/2014/main" id="{3448E769-184C-4084-905A-F560056A0E76}"/>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32" name="Group 31">
            <a:extLst>
              <a:ext uri="{FF2B5EF4-FFF2-40B4-BE49-F238E27FC236}">
                <a16:creationId xmlns:a16="http://schemas.microsoft.com/office/drawing/2014/main" id="{D75E88C6-E5E5-4655-B171-079438392C22}"/>
              </a:ext>
            </a:extLst>
          </p:cNvPr>
          <p:cNvGrpSpPr/>
          <p:nvPr/>
        </p:nvGrpSpPr>
        <p:grpSpPr>
          <a:xfrm>
            <a:off x="10755518" y="4384013"/>
            <a:ext cx="1046156" cy="1072546"/>
            <a:chOff x="4963829" y="4298078"/>
            <a:chExt cx="1393773" cy="1547244"/>
          </a:xfrm>
        </p:grpSpPr>
        <p:sp>
          <p:nvSpPr>
            <p:cNvPr id="33" name="Cylinder 32">
              <a:extLst>
                <a:ext uri="{FF2B5EF4-FFF2-40B4-BE49-F238E27FC236}">
                  <a16:creationId xmlns:a16="http://schemas.microsoft.com/office/drawing/2014/main" id="{B248B2BD-3244-4618-982A-3745FB5DD36A}"/>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34" name="Cylinder 33">
              <a:extLst>
                <a:ext uri="{FF2B5EF4-FFF2-40B4-BE49-F238E27FC236}">
                  <a16:creationId xmlns:a16="http://schemas.microsoft.com/office/drawing/2014/main" id="{E57A45F2-32DE-40FC-8D33-361AC7B2F4AD}"/>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35" name="Cylinder 34">
              <a:extLst>
                <a:ext uri="{FF2B5EF4-FFF2-40B4-BE49-F238E27FC236}">
                  <a16:creationId xmlns:a16="http://schemas.microsoft.com/office/drawing/2014/main" id="{028E6C38-8843-42F2-9A55-ECF0B1D91C38}"/>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spTree>
    <p:custDataLst>
      <p:tags r:id="rId1"/>
    </p:custDataLst>
    <p:extLst>
      <p:ext uri="{BB962C8B-B14F-4D97-AF65-F5344CB8AC3E}">
        <p14:creationId xmlns:p14="http://schemas.microsoft.com/office/powerpoint/2010/main" val="41743312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DB65A-4339-4CFB-AD24-A4A95429031D}"/>
              </a:ext>
            </a:extLst>
          </p:cNvPr>
          <p:cNvSpPr>
            <a:spLocks noGrp="1"/>
          </p:cNvSpPr>
          <p:nvPr>
            <p:ph type="title"/>
          </p:nvPr>
        </p:nvSpPr>
        <p:spPr/>
        <p:txBody>
          <a:bodyPr/>
          <a:lstStyle/>
          <a:p>
            <a:r>
              <a:rPr lang="en-US" dirty="0"/>
              <a:t>SET STATISTICS IO</a:t>
            </a:r>
          </a:p>
        </p:txBody>
      </p:sp>
      <p:sp>
        <p:nvSpPr>
          <p:cNvPr id="12" name="TextBox 11">
            <a:extLst>
              <a:ext uri="{FF2B5EF4-FFF2-40B4-BE49-F238E27FC236}">
                <a16:creationId xmlns:a16="http://schemas.microsoft.com/office/drawing/2014/main" id="{D31043FA-3475-402A-859E-D648C523D4F5}"/>
              </a:ext>
            </a:extLst>
          </p:cNvPr>
          <p:cNvSpPr txBox="1"/>
          <p:nvPr/>
        </p:nvSpPr>
        <p:spPr>
          <a:xfrm>
            <a:off x="1030664" y="1079184"/>
            <a:ext cx="4788721" cy="2800767"/>
          </a:xfrm>
          <a:prstGeom prst="rect">
            <a:avLst/>
          </a:prstGeom>
          <a:noFill/>
          <a:ln w="19050">
            <a:solidFill>
              <a:schemeClr val="accent1"/>
            </a:solidFill>
          </a:ln>
        </p:spPr>
        <p:txBody>
          <a:bodyPr wrap="square">
            <a:spAutoFit/>
          </a:bodyPr>
          <a:lstStyle/>
          <a:p>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STATISTICS</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O</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ON</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GO</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STATISTICS</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IME</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ON</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O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SalesOrder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O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CustomerID</a:t>
            </a:r>
            <a:r>
              <a:rPr lang="en-US" sz="1600" dirty="0">
                <a:solidFill>
                  <a:srgbClr val="808080"/>
                </a:solidFill>
                <a:latin typeface="Consolas" panose="020B0609020204030204" pitchFamily="49" charset="0"/>
              </a:rPr>
              <a:t>,</a:t>
            </a:r>
            <a:endParaRPr lang="en-US" sz="1600" dirty="0">
              <a:solidFill>
                <a:srgbClr val="000000"/>
              </a:solidFill>
              <a:latin typeface="Consolas" panose="020B0609020204030204" pitchFamily="49" charset="0"/>
            </a:endParaRPr>
          </a:p>
          <a:p>
            <a:r>
              <a:rPr lang="en-US" sz="1600" dirty="0" err="1">
                <a:solidFill>
                  <a:srgbClr val="000000"/>
                </a:solidFill>
                <a:latin typeface="Consolas" panose="020B0609020204030204" pitchFamily="49" charset="0"/>
              </a:rPr>
              <a:t>OrderQty</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UnitPric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P</a:t>
            </a:r>
            <a:r>
              <a:rPr lang="en-US" sz="1600" dirty="0" err="1">
                <a:solidFill>
                  <a:srgbClr val="808080"/>
                </a:solidFill>
                <a:latin typeface="Consolas" panose="020B0609020204030204" pitchFamily="49" charset="0"/>
              </a:rPr>
              <a:t>.</a:t>
            </a:r>
            <a:r>
              <a:rPr lang="en-US" sz="1600" dirty="0" err="1">
                <a:solidFill>
                  <a:srgbClr val="0000FF"/>
                </a:solidFill>
                <a:latin typeface="Consolas" panose="020B0609020204030204" pitchFamily="49" charset="0"/>
              </a:rPr>
              <a:t>Name</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ales</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SalesOrderHeader</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SOH</a:t>
            </a:r>
          </a:p>
          <a:p>
            <a:r>
              <a:rPr lang="en-US" sz="1600" dirty="0">
                <a:solidFill>
                  <a:srgbClr val="808080"/>
                </a:solidFill>
                <a:latin typeface="Consolas" panose="020B0609020204030204" pitchFamily="49" charset="0"/>
              </a:rPr>
              <a:t>JOI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ales</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SalesOrderDetail</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SOD</a:t>
            </a:r>
          </a:p>
          <a:p>
            <a:r>
              <a:rPr lang="en-US" sz="1600" dirty="0">
                <a:solidFill>
                  <a:srgbClr val="0000FF"/>
                </a:solidFill>
                <a:latin typeface="Consolas" panose="020B0609020204030204" pitchFamily="49" charset="0"/>
              </a:rPr>
              <a:t>O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O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SalesOrderID</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OD</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SalesOrderID</a:t>
            </a:r>
            <a:endParaRPr lang="en-US" sz="1600" dirty="0">
              <a:solidFill>
                <a:srgbClr val="000000"/>
              </a:solidFill>
              <a:latin typeface="Consolas" panose="020B0609020204030204" pitchFamily="49" charset="0"/>
            </a:endParaRPr>
          </a:p>
          <a:p>
            <a:r>
              <a:rPr lang="en-US" sz="1600" dirty="0">
                <a:solidFill>
                  <a:srgbClr val="808080"/>
                </a:solidFill>
                <a:latin typeface="Consolas" panose="020B0609020204030204" pitchFamily="49" charset="0"/>
              </a:rPr>
              <a:t>JOI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Production</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Produc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P</a:t>
            </a:r>
          </a:p>
          <a:p>
            <a:r>
              <a:rPr lang="en-US" sz="1600" dirty="0">
                <a:solidFill>
                  <a:srgbClr val="0000FF"/>
                </a:solidFill>
                <a:latin typeface="Consolas" panose="020B0609020204030204" pitchFamily="49" charset="0"/>
              </a:rPr>
              <a:t>O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P</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ProductID</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OD</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ProductID</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STATISTICS</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O</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IME</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OFF</a:t>
            </a:r>
            <a:endParaRPr lang="en-US" sz="1600" dirty="0"/>
          </a:p>
        </p:txBody>
      </p:sp>
      <p:sp>
        <p:nvSpPr>
          <p:cNvPr id="15" name="TextBox 14">
            <a:extLst>
              <a:ext uri="{FF2B5EF4-FFF2-40B4-BE49-F238E27FC236}">
                <a16:creationId xmlns:a16="http://schemas.microsoft.com/office/drawing/2014/main" id="{371ED342-CFFA-47F0-9C2C-6291AE05F28A}"/>
              </a:ext>
            </a:extLst>
          </p:cNvPr>
          <p:cNvSpPr txBox="1"/>
          <p:nvPr/>
        </p:nvSpPr>
        <p:spPr>
          <a:xfrm>
            <a:off x="7154945" y="1834967"/>
            <a:ext cx="4006391" cy="1600438"/>
          </a:xfrm>
          <a:prstGeom prst="rect">
            <a:avLst/>
          </a:prstGeom>
          <a:noFill/>
        </p:spPr>
        <p:txBody>
          <a:bodyPr wrap="square" lIns="0" tIns="0" rIns="0" bIns="0" rtlCol="0">
            <a:spAutoFit/>
          </a:bodyPr>
          <a:lstStyle/>
          <a:p>
            <a:r>
              <a:rPr lang="en-US" sz="2800" dirty="0"/>
              <a:t>Used to identify physical reads and logical reads for a query </a:t>
            </a:r>
          </a:p>
          <a:p>
            <a:pPr algn="l"/>
            <a:endParaRPr lang="en-US" sz="2000" dirty="0">
              <a:gradFill>
                <a:gsLst>
                  <a:gs pos="2917">
                    <a:schemeClr val="tx1"/>
                  </a:gs>
                  <a:gs pos="30000">
                    <a:schemeClr val="tx1"/>
                  </a:gs>
                </a:gsLst>
                <a:lin ang="5400000" scaled="0"/>
              </a:gradFill>
            </a:endParaRPr>
          </a:p>
        </p:txBody>
      </p:sp>
      <p:pic>
        <p:nvPicPr>
          <p:cNvPr id="19" name="Picture 18">
            <a:extLst>
              <a:ext uri="{FF2B5EF4-FFF2-40B4-BE49-F238E27FC236}">
                <a16:creationId xmlns:a16="http://schemas.microsoft.com/office/drawing/2014/main" id="{BE8B8688-31F8-4377-A61A-8700BC00AD0B}"/>
              </a:ext>
            </a:extLst>
          </p:cNvPr>
          <p:cNvPicPr>
            <a:picLocks noChangeAspect="1"/>
          </p:cNvPicPr>
          <p:nvPr/>
        </p:nvPicPr>
        <p:blipFill>
          <a:blip r:embed="rId3"/>
          <a:stretch>
            <a:fillRect/>
          </a:stretch>
        </p:blipFill>
        <p:spPr>
          <a:xfrm>
            <a:off x="1808604" y="4058654"/>
            <a:ext cx="8574791" cy="203750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8476231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otal Query Response Time</a:t>
            </a:r>
          </a:p>
        </p:txBody>
      </p:sp>
      <p:sp>
        <p:nvSpPr>
          <p:cNvPr id="2" name="Text Placeholder 1"/>
          <p:cNvSpPr>
            <a:spLocks noGrp="1"/>
          </p:cNvSpPr>
          <p:nvPr>
            <p:ph sz="quarter" idx="13"/>
          </p:nvPr>
        </p:nvSpPr>
        <p:spPr/>
        <p:txBody>
          <a:bodyPr/>
          <a:lstStyle/>
          <a:p>
            <a:r>
              <a:rPr lang="en-US" dirty="0">
                <a:solidFill>
                  <a:srgbClr val="000000"/>
                </a:solidFill>
              </a:rPr>
              <a:t>The full cycle between the several task states, for how many times it needs to cycle, is what we experience as the total query response time.</a:t>
            </a:r>
          </a:p>
          <a:p>
            <a:endParaRPr lang="en-US" dirty="0">
              <a:solidFill>
                <a:srgbClr val="000000"/>
              </a:solidFill>
            </a:endParaRPr>
          </a:p>
          <a:p>
            <a:endParaRPr lang="en-US" dirty="0">
              <a:solidFill>
                <a:srgbClr val="000000"/>
              </a:solidFill>
            </a:endParaRPr>
          </a:p>
        </p:txBody>
      </p:sp>
      <p:graphicFrame>
        <p:nvGraphicFramePr>
          <p:cNvPr id="6" name="Content Placeholder 4"/>
          <p:cNvGraphicFramePr>
            <a:graphicFrameLocks/>
          </p:cNvGraphicFramePr>
          <p:nvPr>
            <p:extLst>
              <p:ext uri="{D42A27DB-BD31-4B8C-83A1-F6EECF244321}">
                <p14:modId xmlns:p14="http://schemas.microsoft.com/office/powerpoint/2010/main" val="216717684"/>
              </p:ext>
            </p:extLst>
          </p:nvPr>
        </p:nvGraphicFramePr>
        <p:xfrm>
          <a:off x="792154" y="2681979"/>
          <a:ext cx="10711966" cy="34362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9813364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9979A-6B56-439A-AC85-1A915ECDFB7C}"/>
              </a:ext>
            </a:extLst>
          </p:cNvPr>
          <p:cNvSpPr>
            <a:spLocks noGrp="1"/>
          </p:cNvSpPr>
          <p:nvPr>
            <p:ph type="title"/>
          </p:nvPr>
        </p:nvSpPr>
        <p:spPr/>
        <p:txBody>
          <a:bodyPr/>
          <a:lstStyle/>
          <a:p>
            <a:r>
              <a:rPr lang="en-US" dirty="0"/>
              <a:t>Checkpoints</a:t>
            </a:r>
          </a:p>
        </p:txBody>
      </p:sp>
      <p:sp>
        <p:nvSpPr>
          <p:cNvPr id="4" name="Content Placeholder 3">
            <a:extLst>
              <a:ext uri="{FF2B5EF4-FFF2-40B4-BE49-F238E27FC236}">
                <a16:creationId xmlns:a16="http://schemas.microsoft.com/office/drawing/2014/main" id="{AEEA4260-17E9-4E74-91A2-0BAABFCF61CD}"/>
              </a:ext>
            </a:extLst>
          </p:cNvPr>
          <p:cNvSpPr>
            <a:spLocks noGrp="1"/>
          </p:cNvSpPr>
          <p:nvPr>
            <p:ph sz="quarter" idx="13"/>
          </p:nvPr>
        </p:nvSpPr>
        <p:spPr>
          <a:xfrm>
            <a:off x="655638" y="1112363"/>
            <a:ext cx="10880726" cy="5115401"/>
          </a:xfrm>
        </p:spPr>
        <p:txBody>
          <a:bodyPr/>
          <a:lstStyle/>
          <a:p>
            <a:pPr marL="0" indent="0">
              <a:buNone/>
            </a:pPr>
            <a:r>
              <a:rPr lang="en-US" dirty="0"/>
              <a:t>Flushes dirty pages from the buffer pool to the disk. Frequency of checkpoints varies based on the database activity and recovery interval.</a:t>
            </a:r>
          </a:p>
        </p:txBody>
      </p:sp>
      <p:graphicFrame>
        <p:nvGraphicFramePr>
          <p:cNvPr id="8" name="Diagram 7">
            <a:extLst>
              <a:ext uri="{FF2B5EF4-FFF2-40B4-BE49-F238E27FC236}">
                <a16:creationId xmlns:a16="http://schemas.microsoft.com/office/drawing/2014/main" id="{F898D04E-C7D9-4424-A2BA-37A2DEF0FA9C}"/>
              </a:ext>
            </a:extLst>
          </p:cNvPr>
          <p:cNvGraphicFramePr/>
          <p:nvPr>
            <p:extLst>
              <p:ext uri="{D42A27DB-BD31-4B8C-83A1-F6EECF244321}">
                <p14:modId xmlns:p14="http://schemas.microsoft.com/office/powerpoint/2010/main" val="196316861"/>
              </p:ext>
            </p:extLst>
          </p:nvPr>
        </p:nvGraphicFramePr>
        <p:xfrm>
          <a:off x="920262" y="2003461"/>
          <a:ext cx="9906000" cy="43760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5E95A65F-EA2D-4E07-959D-155EDC10D38C}"/>
              </a:ext>
            </a:extLst>
          </p:cNvPr>
          <p:cNvSpPr/>
          <p:nvPr/>
        </p:nvSpPr>
        <p:spPr>
          <a:xfrm>
            <a:off x="1903210" y="4006470"/>
            <a:ext cx="7940104" cy="370055"/>
          </a:xfrm>
          <a:prstGeom prst="rect">
            <a:avLst/>
          </a:prstGeom>
          <a:ln>
            <a:noFill/>
          </a:ln>
          <a:effectLst/>
        </p:spPr>
        <p:txBody>
          <a:bodyPr wrap="square">
            <a:noAutofit/>
          </a:bodyPr>
          <a:lstStyle/>
          <a:p>
            <a:pPr marL="0" lvl="1" indent="-355600"/>
            <a:r>
              <a:rPr lang="en-US" sz="1400" dirty="0">
                <a:solidFill>
                  <a:srgbClr val="0000FF"/>
                </a:solidFill>
                <a:latin typeface="Lucida Console" panose="020B0609040504020204" pitchFamily="49" charset="0"/>
              </a:rPr>
              <a:t>ALTER DATABASE</a:t>
            </a:r>
            <a:r>
              <a:rPr lang="en-US" sz="1400" dirty="0">
                <a:solidFill>
                  <a:srgbClr val="000000"/>
                </a:solidFill>
                <a:latin typeface="Lucida Console" panose="020B0609040504020204" pitchFamily="49" charset="0"/>
              </a:rPr>
              <a:t> [AdventureWorksPTO] </a:t>
            </a:r>
            <a:r>
              <a:rPr lang="en-US" sz="1400" dirty="0">
                <a:solidFill>
                  <a:srgbClr val="0000FF"/>
                </a:solidFill>
                <a:latin typeface="Lucida Console" panose="020B0609040504020204" pitchFamily="49" charset="0"/>
              </a:rPr>
              <a:t>SET</a:t>
            </a:r>
            <a:r>
              <a:rPr lang="en-US" sz="1400" dirty="0">
                <a:solidFill>
                  <a:srgbClr val="000000"/>
                </a:solidFill>
                <a:latin typeface="Lucida Console" panose="020B0609040504020204" pitchFamily="49" charset="0"/>
              </a:rPr>
              <a:t> TARGET_RECOVERY_TIME = 60 SECONDS</a:t>
            </a:r>
          </a:p>
        </p:txBody>
      </p:sp>
    </p:spTree>
    <p:extLst>
      <p:ext uri="{BB962C8B-B14F-4D97-AF65-F5344CB8AC3E}">
        <p14:creationId xmlns:p14="http://schemas.microsoft.com/office/powerpoint/2010/main" val="36210612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fr-FR" dirty="0"/>
              <a:t>Lesson 2: SQL Server Page Structure</a:t>
            </a:r>
            <a:endParaRPr lang="en-US" dirty="0"/>
          </a:p>
        </p:txBody>
      </p:sp>
    </p:spTree>
    <p:extLst>
      <p:ext uri="{BB962C8B-B14F-4D97-AF65-F5344CB8AC3E}">
        <p14:creationId xmlns:p14="http://schemas.microsoft.com/office/powerpoint/2010/main" val="16117427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the architecture of pages and extent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424530645"/>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Pages and Extents architecture</a:t>
            </a:r>
          </a:p>
        </p:txBody>
      </p:sp>
      <p:graphicFrame>
        <p:nvGraphicFramePr>
          <p:cNvPr id="3" name="Content Placeholder 2">
            <a:extLst>
              <a:ext uri="{FF2B5EF4-FFF2-40B4-BE49-F238E27FC236}">
                <a16:creationId xmlns:a16="http://schemas.microsoft.com/office/drawing/2014/main" id="{6627BE03-59EF-EE4E-0B39-C1C482D5C0BA}"/>
              </a:ext>
            </a:extLst>
          </p:cNvPr>
          <p:cNvGraphicFramePr>
            <a:graphicFrameLocks noGrp="1"/>
          </p:cNvGraphicFramePr>
          <p:nvPr>
            <p:ph sz="quarter" idx="13"/>
            <p:extLst>
              <p:ext uri="{D42A27DB-BD31-4B8C-83A1-F6EECF244321}">
                <p14:modId xmlns:p14="http://schemas.microsoft.com/office/powerpoint/2010/main" val="3857222018"/>
              </p:ext>
            </p:extLst>
          </p:nvPr>
        </p:nvGraphicFramePr>
        <p:xfrm>
          <a:off x="655638" y="1243014"/>
          <a:ext cx="74215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30" name="Picture 6" descr="SQL Server data page with row offsets">
            <a:extLst>
              <a:ext uri="{FF2B5EF4-FFF2-40B4-BE49-F238E27FC236}">
                <a16:creationId xmlns:a16="http://schemas.microsoft.com/office/drawing/2014/main" id="{3AF0B53A-9956-46C9-AE8C-3193F1A3B5A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91354" y="2497989"/>
            <a:ext cx="3230562" cy="2639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16465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BAB2C-3532-4564-B259-B2AD57B05ED6}"/>
              </a:ext>
            </a:extLst>
          </p:cNvPr>
          <p:cNvSpPr>
            <a:spLocks noGrp="1"/>
          </p:cNvSpPr>
          <p:nvPr>
            <p:ph type="title"/>
          </p:nvPr>
        </p:nvSpPr>
        <p:spPr/>
        <p:txBody>
          <a:bodyPr/>
          <a:lstStyle/>
          <a:p>
            <a:r>
              <a:rPr lang="en-US" dirty="0"/>
              <a:t>Data Page structure</a:t>
            </a:r>
          </a:p>
        </p:txBody>
      </p:sp>
      <p:grpSp>
        <p:nvGrpSpPr>
          <p:cNvPr id="31" name="Group 30">
            <a:extLst>
              <a:ext uri="{FF2B5EF4-FFF2-40B4-BE49-F238E27FC236}">
                <a16:creationId xmlns:a16="http://schemas.microsoft.com/office/drawing/2014/main" id="{E56A4359-739B-4F12-B664-887260FE8583}"/>
              </a:ext>
            </a:extLst>
          </p:cNvPr>
          <p:cNvGrpSpPr/>
          <p:nvPr/>
        </p:nvGrpSpPr>
        <p:grpSpPr>
          <a:xfrm>
            <a:off x="2325505" y="1298085"/>
            <a:ext cx="7540990" cy="4261829"/>
            <a:chOff x="838200" y="1905000"/>
            <a:chExt cx="7377112" cy="4050596"/>
          </a:xfrm>
        </p:grpSpPr>
        <p:sp>
          <p:nvSpPr>
            <p:cNvPr id="6" name="Rectangle 5">
              <a:extLst>
                <a:ext uri="{FF2B5EF4-FFF2-40B4-BE49-F238E27FC236}">
                  <a16:creationId xmlns:a16="http://schemas.microsoft.com/office/drawing/2014/main" id="{B4E68D0E-0CC8-4ED0-8AD9-1E608A9E185D}"/>
                </a:ext>
              </a:extLst>
            </p:cNvPr>
            <p:cNvSpPr>
              <a:spLocks noChangeArrowheads="1"/>
            </p:cNvSpPr>
            <p:nvPr/>
          </p:nvSpPr>
          <p:spPr bwMode="auto">
            <a:xfrm>
              <a:off x="2687638" y="2168612"/>
              <a:ext cx="2882900" cy="596900"/>
            </a:xfrm>
            <a:prstGeom prst="rect">
              <a:avLst/>
            </a:prstGeom>
            <a:solidFill>
              <a:srgbClr val="15AEEF"/>
            </a:solidFill>
            <a:ln w="19050" cap="flat" cmpd="sng" algn="ctr">
              <a:solidFill>
                <a:srgbClr val="000000"/>
              </a:solidFill>
              <a:prstDash val="solid"/>
              <a:miter lim="800000"/>
              <a:headEnd type="none" w="med" len="med"/>
              <a:tailEnd type="none" w="med" len="med"/>
            </a:ln>
            <a:effectLst/>
          </p:spPr>
          <p:txBody>
            <a:bodyPr wrap="none" lIns="90488" tIns="44450" rIns="90488" bIns="44450" anchor="ctr"/>
            <a:lstStyle/>
            <a:p>
              <a:pPr marL="0" marR="0" lvl="0" indent="0" algn="ctr" defTabSz="457200" eaLnBrk="0" fontAlgn="auto" latinLnBrk="0" hangingPunct="0">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Segoe UI Semibold"/>
                </a:rPr>
                <a:t>Page header</a:t>
              </a:r>
              <a:endParaRPr kumimoji="0" lang="en-US" sz="2000" b="0" i="0" u="none" strike="noStrike" kern="0" cap="none" spc="0" normalizeH="0" baseline="0" noProof="0" dirty="0">
                <a:ln>
                  <a:noFill/>
                </a:ln>
                <a:solidFill>
                  <a:srgbClr val="000000"/>
                </a:solidFill>
                <a:effectLst/>
                <a:uLnTx/>
                <a:uFillTx/>
                <a:latin typeface="Segoe UI Semibold"/>
              </a:endParaRPr>
            </a:p>
          </p:txBody>
        </p:sp>
        <p:sp>
          <p:nvSpPr>
            <p:cNvPr id="7" name="Rectangle 6147">
              <a:extLst>
                <a:ext uri="{FF2B5EF4-FFF2-40B4-BE49-F238E27FC236}">
                  <a16:creationId xmlns:a16="http://schemas.microsoft.com/office/drawing/2014/main" id="{6CA0C906-AE4D-429F-B754-E21AF919EFC4}"/>
                </a:ext>
              </a:extLst>
            </p:cNvPr>
            <p:cNvSpPr>
              <a:spLocks noChangeArrowheads="1"/>
            </p:cNvSpPr>
            <p:nvPr/>
          </p:nvSpPr>
          <p:spPr bwMode="auto">
            <a:xfrm>
              <a:off x="2687638" y="2901950"/>
              <a:ext cx="2882900" cy="1663700"/>
            </a:xfrm>
            <a:prstGeom prst="rect">
              <a:avLst/>
            </a:prstGeom>
            <a:pattFill prst="dkHorz">
              <a:fgClr>
                <a:srgbClr val="000000"/>
              </a:fgClr>
              <a:bgClr>
                <a:srgbClr val="919191"/>
              </a:bgClr>
            </a:pattFill>
            <a:ln w="19050" algn="ctr">
              <a:solidFill>
                <a:srgbClr val="000000"/>
              </a:solidFill>
              <a:miter lim="800000"/>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8" name="Rectangle 6148">
              <a:extLst>
                <a:ext uri="{FF2B5EF4-FFF2-40B4-BE49-F238E27FC236}">
                  <a16:creationId xmlns:a16="http://schemas.microsoft.com/office/drawing/2014/main" id="{763E560A-CD9E-42A2-9E67-D525A2D1FF3A}"/>
                </a:ext>
              </a:extLst>
            </p:cNvPr>
            <p:cNvSpPr>
              <a:spLocks noChangeArrowheads="1"/>
            </p:cNvSpPr>
            <p:nvPr/>
          </p:nvSpPr>
          <p:spPr bwMode="auto">
            <a:xfrm>
              <a:off x="2687638" y="4578350"/>
              <a:ext cx="2882900" cy="1282700"/>
            </a:xfrm>
            <a:prstGeom prst="rect">
              <a:avLst/>
            </a:prstGeom>
            <a:solidFill>
              <a:srgbClr val="0A5BBA">
                <a:alpha val="50195"/>
              </a:srgbClr>
            </a:solidFill>
            <a:ln w="19050" algn="ctr">
              <a:solidFill>
                <a:srgbClr val="000000"/>
              </a:solidFill>
              <a:miter lim="800000"/>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9" name="Rectangle 6149">
              <a:extLst>
                <a:ext uri="{FF2B5EF4-FFF2-40B4-BE49-F238E27FC236}">
                  <a16:creationId xmlns:a16="http://schemas.microsoft.com/office/drawing/2014/main" id="{44B04900-93A9-45F8-98A3-1EF4DBE7397D}"/>
                </a:ext>
              </a:extLst>
            </p:cNvPr>
            <p:cNvSpPr>
              <a:spLocks noChangeArrowheads="1"/>
            </p:cNvSpPr>
            <p:nvPr/>
          </p:nvSpPr>
          <p:spPr bwMode="auto">
            <a:xfrm>
              <a:off x="5199063" y="5721350"/>
              <a:ext cx="368300" cy="139700"/>
            </a:xfrm>
            <a:prstGeom prst="rect">
              <a:avLst/>
            </a:prstGeom>
            <a:solidFill>
              <a:srgbClr val="6EB005"/>
            </a:solidFill>
            <a:ln w="19050" algn="ctr">
              <a:solidFill>
                <a:sysClr val="window" lastClr="FFFFFF"/>
              </a:solidFill>
              <a:miter lim="800000"/>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10" name="Rectangle 6150">
              <a:extLst>
                <a:ext uri="{FF2B5EF4-FFF2-40B4-BE49-F238E27FC236}">
                  <a16:creationId xmlns:a16="http://schemas.microsoft.com/office/drawing/2014/main" id="{689D5D50-908A-46A3-830B-F52388C0D089}"/>
                </a:ext>
              </a:extLst>
            </p:cNvPr>
            <p:cNvSpPr>
              <a:spLocks noChangeArrowheads="1"/>
            </p:cNvSpPr>
            <p:nvPr/>
          </p:nvSpPr>
          <p:spPr bwMode="auto">
            <a:xfrm>
              <a:off x="4827588" y="5721350"/>
              <a:ext cx="368300" cy="139700"/>
            </a:xfrm>
            <a:prstGeom prst="rect">
              <a:avLst/>
            </a:prstGeom>
            <a:solidFill>
              <a:srgbClr val="6EB005"/>
            </a:solidFill>
            <a:ln w="19050" algn="ctr">
              <a:solidFill>
                <a:sysClr val="window" lastClr="FFFFFF"/>
              </a:solidFill>
              <a:miter lim="800000"/>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11" name="Rectangle 6151">
              <a:extLst>
                <a:ext uri="{FF2B5EF4-FFF2-40B4-BE49-F238E27FC236}">
                  <a16:creationId xmlns:a16="http://schemas.microsoft.com/office/drawing/2014/main" id="{72F471C4-FFF6-46BE-BDAE-B9FEE4B36FCB}"/>
                </a:ext>
              </a:extLst>
            </p:cNvPr>
            <p:cNvSpPr>
              <a:spLocks noChangeArrowheads="1"/>
            </p:cNvSpPr>
            <p:nvPr/>
          </p:nvSpPr>
          <p:spPr bwMode="auto">
            <a:xfrm>
              <a:off x="4459288" y="5721350"/>
              <a:ext cx="368300" cy="139700"/>
            </a:xfrm>
            <a:prstGeom prst="rect">
              <a:avLst/>
            </a:prstGeom>
            <a:solidFill>
              <a:srgbClr val="6EB005"/>
            </a:solidFill>
            <a:ln w="19050" algn="ctr">
              <a:solidFill>
                <a:sysClr val="window" lastClr="FFFFFF"/>
              </a:solidFill>
              <a:miter lim="800000"/>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12" name="Rectangle 6152">
              <a:extLst>
                <a:ext uri="{FF2B5EF4-FFF2-40B4-BE49-F238E27FC236}">
                  <a16:creationId xmlns:a16="http://schemas.microsoft.com/office/drawing/2014/main" id="{357D5E9A-0916-42F9-BBC5-2DF0A148F2EF}"/>
                </a:ext>
              </a:extLst>
            </p:cNvPr>
            <p:cNvSpPr>
              <a:spLocks noChangeArrowheads="1"/>
            </p:cNvSpPr>
            <p:nvPr/>
          </p:nvSpPr>
          <p:spPr bwMode="auto">
            <a:xfrm>
              <a:off x="4090988" y="5721350"/>
              <a:ext cx="368300" cy="139700"/>
            </a:xfrm>
            <a:prstGeom prst="rect">
              <a:avLst/>
            </a:prstGeom>
            <a:solidFill>
              <a:srgbClr val="6EB005"/>
            </a:solidFill>
            <a:ln w="19050" algn="ctr">
              <a:solidFill>
                <a:sysClr val="window" lastClr="FFFFFF"/>
              </a:solidFill>
              <a:miter lim="800000"/>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13" name="Rectangle 6153">
              <a:extLst>
                <a:ext uri="{FF2B5EF4-FFF2-40B4-BE49-F238E27FC236}">
                  <a16:creationId xmlns:a16="http://schemas.microsoft.com/office/drawing/2014/main" id="{238EE498-FE8C-46F3-8964-7BE01A7C8016}"/>
                </a:ext>
              </a:extLst>
            </p:cNvPr>
            <p:cNvSpPr>
              <a:spLocks noChangeArrowheads="1"/>
            </p:cNvSpPr>
            <p:nvPr/>
          </p:nvSpPr>
          <p:spPr bwMode="auto">
            <a:xfrm>
              <a:off x="3722688" y="5721350"/>
              <a:ext cx="368300" cy="139700"/>
            </a:xfrm>
            <a:prstGeom prst="rect">
              <a:avLst/>
            </a:prstGeom>
            <a:solidFill>
              <a:srgbClr val="6EB005"/>
            </a:solidFill>
            <a:ln w="19050" algn="ctr">
              <a:solidFill>
                <a:sysClr val="window" lastClr="FFFFFF"/>
              </a:solidFill>
              <a:miter lim="800000"/>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14" name="Shape 6154">
              <a:extLst>
                <a:ext uri="{FF2B5EF4-FFF2-40B4-BE49-F238E27FC236}">
                  <a16:creationId xmlns:a16="http://schemas.microsoft.com/office/drawing/2014/main" id="{6E29817B-EB5C-4BD1-86AA-87E138CE71E6}"/>
                </a:ext>
              </a:extLst>
            </p:cNvPr>
            <p:cNvSpPr>
              <a:spLocks/>
            </p:cNvSpPr>
            <p:nvPr/>
          </p:nvSpPr>
          <p:spPr bwMode="auto">
            <a:xfrm>
              <a:off x="5653088" y="2209800"/>
              <a:ext cx="366712" cy="611188"/>
            </a:xfrm>
            <a:custGeom>
              <a:avLst/>
              <a:gdLst>
                <a:gd name="T0" fmla="*/ 0 w 289"/>
                <a:gd name="T1" fmla="*/ 0 h 385"/>
                <a:gd name="T2" fmla="*/ 2147477109 w 289"/>
                <a:gd name="T3" fmla="*/ 0 h 385"/>
                <a:gd name="T4" fmla="*/ 2147477109 w 289"/>
                <a:gd name="T5" fmla="*/ 2147477335 h 385"/>
                <a:gd name="T6" fmla="*/ 0 w 289"/>
                <a:gd name="T7" fmla="*/ 2147477335 h 385"/>
                <a:gd name="T8" fmla="*/ 0 60000 65536"/>
                <a:gd name="T9" fmla="*/ 0 60000 65536"/>
                <a:gd name="T10" fmla="*/ 0 60000 65536"/>
                <a:gd name="T11" fmla="*/ 0 60000 65536"/>
                <a:gd name="T12" fmla="*/ 0 w 289"/>
                <a:gd name="T13" fmla="*/ 0 h 385"/>
                <a:gd name="T14" fmla="*/ 289 w 289"/>
                <a:gd name="T15" fmla="*/ 385 h 385"/>
              </a:gdLst>
              <a:ahLst/>
              <a:cxnLst>
                <a:cxn ang="T8">
                  <a:pos x="T0" y="T1"/>
                </a:cxn>
                <a:cxn ang="T9">
                  <a:pos x="T2" y="T3"/>
                </a:cxn>
                <a:cxn ang="T10">
                  <a:pos x="T4" y="T5"/>
                </a:cxn>
                <a:cxn ang="T11">
                  <a:pos x="T6" y="T7"/>
                </a:cxn>
              </a:cxnLst>
              <a:rect l="T12" t="T13" r="T14" b="T15"/>
              <a:pathLst>
                <a:path w="289" h="385">
                  <a:moveTo>
                    <a:pt x="0" y="0"/>
                  </a:moveTo>
                  <a:lnTo>
                    <a:pt x="288" y="0"/>
                  </a:lnTo>
                  <a:lnTo>
                    <a:pt x="288" y="384"/>
                  </a:lnTo>
                  <a:lnTo>
                    <a:pt x="0" y="384"/>
                  </a:lnTo>
                </a:path>
              </a:pathLst>
            </a:custGeom>
            <a:noFill/>
            <a:ln w="25400" cap="rnd" algn="ctr">
              <a:solidFill>
                <a:srgbClr val="00000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15" name="Rectangle 6156">
              <a:extLst>
                <a:ext uri="{FF2B5EF4-FFF2-40B4-BE49-F238E27FC236}">
                  <a16:creationId xmlns:a16="http://schemas.microsoft.com/office/drawing/2014/main" id="{B1B141FC-6970-4EAD-B250-626052603591}"/>
                </a:ext>
              </a:extLst>
            </p:cNvPr>
            <p:cNvSpPr>
              <a:spLocks noChangeArrowheads="1"/>
            </p:cNvSpPr>
            <p:nvPr/>
          </p:nvSpPr>
          <p:spPr bwMode="auto">
            <a:xfrm>
              <a:off x="6477000" y="1905000"/>
              <a:ext cx="1738312" cy="985235"/>
            </a:xfrm>
            <a:prstGeom prst="rect">
              <a:avLst/>
            </a:prstGeom>
            <a:noFill/>
            <a:ln w="9525">
              <a:noFill/>
              <a:miter lim="800000"/>
              <a:headEnd/>
              <a:tailEnd/>
            </a:ln>
          </p:spPr>
          <p:txBody>
            <a:bodyPr wrap="square" lIns="90488" tIns="44450" rIns="90488" bIns="44450">
              <a:spAutoFit/>
            </a:bodyPr>
            <a:lstStyle/>
            <a:p>
              <a:pPr marL="0" marR="0" lvl="0" indent="0" defTabSz="45720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charset="0"/>
                </a:rPr>
                <a:t>Page header</a:t>
              </a:r>
            </a:p>
            <a:p>
              <a:pPr marL="0" marR="0" lvl="0" indent="0" defTabSz="45720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charset="0"/>
                </a:rPr>
                <a:t>96 bytes</a:t>
              </a:r>
            </a:p>
            <a:p>
              <a:pPr marL="0" marR="0" lvl="0" indent="0" defTabSz="457200" eaLnBrk="0"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charset="0"/>
                </a:rPr>
                <a:t>(64 bytes in use, 32 reserved)</a:t>
              </a:r>
            </a:p>
          </p:txBody>
        </p:sp>
        <p:sp>
          <p:nvSpPr>
            <p:cNvPr id="16" name="Shape 6170">
              <a:extLst>
                <a:ext uri="{FF2B5EF4-FFF2-40B4-BE49-F238E27FC236}">
                  <a16:creationId xmlns:a16="http://schemas.microsoft.com/office/drawing/2014/main" id="{0F07B432-A0CE-4DDF-BD1E-DCC596B26D1D}"/>
                </a:ext>
              </a:extLst>
            </p:cNvPr>
            <p:cNvSpPr>
              <a:spLocks/>
            </p:cNvSpPr>
            <p:nvPr/>
          </p:nvSpPr>
          <p:spPr bwMode="auto">
            <a:xfrm>
              <a:off x="5653088" y="2895600"/>
              <a:ext cx="366712" cy="1676400"/>
            </a:xfrm>
            <a:custGeom>
              <a:avLst/>
              <a:gdLst>
                <a:gd name="T0" fmla="*/ 0 w 289"/>
                <a:gd name="T1" fmla="*/ 0 h 961"/>
                <a:gd name="T2" fmla="*/ 288 w 289"/>
                <a:gd name="T3" fmla="*/ 0 h 961"/>
                <a:gd name="T4" fmla="*/ 288 w 289"/>
                <a:gd name="T5" fmla="*/ 960 h 961"/>
                <a:gd name="T6" fmla="*/ 0 w 289"/>
                <a:gd name="T7" fmla="*/ 960 h 961"/>
                <a:gd name="T8" fmla="*/ 0 60000 65536"/>
                <a:gd name="T9" fmla="*/ 0 60000 65536"/>
                <a:gd name="T10" fmla="*/ 0 60000 65536"/>
                <a:gd name="T11" fmla="*/ 0 60000 65536"/>
                <a:gd name="T12" fmla="*/ 0 w 289"/>
                <a:gd name="T13" fmla="*/ 0 h 961"/>
                <a:gd name="T14" fmla="*/ 289 w 289"/>
                <a:gd name="T15" fmla="*/ 961 h 961"/>
              </a:gdLst>
              <a:ahLst/>
              <a:cxnLst>
                <a:cxn ang="T8">
                  <a:pos x="T0" y="T1"/>
                </a:cxn>
                <a:cxn ang="T9">
                  <a:pos x="T2" y="T3"/>
                </a:cxn>
                <a:cxn ang="T10">
                  <a:pos x="T4" y="T5"/>
                </a:cxn>
                <a:cxn ang="T11">
                  <a:pos x="T6" y="T7"/>
                </a:cxn>
              </a:cxnLst>
              <a:rect l="T12" t="T13" r="T14" b="T15"/>
              <a:pathLst>
                <a:path w="289" h="961">
                  <a:moveTo>
                    <a:pt x="0" y="0"/>
                  </a:moveTo>
                  <a:lnTo>
                    <a:pt x="288" y="0"/>
                  </a:lnTo>
                  <a:lnTo>
                    <a:pt x="288" y="960"/>
                  </a:lnTo>
                  <a:lnTo>
                    <a:pt x="0" y="960"/>
                  </a:lnTo>
                </a:path>
              </a:pathLst>
            </a:custGeom>
            <a:noFill/>
            <a:ln w="25400" cap="rnd" algn="ctr">
              <a:solidFill>
                <a:srgbClr val="00000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17" name="Rectangle 6158">
              <a:extLst>
                <a:ext uri="{FF2B5EF4-FFF2-40B4-BE49-F238E27FC236}">
                  <a16:creationId xmlns:a16="http://schemas.microsoft.com/office/drawing/2014/main" id="{9320130A-3F81-4242-9B63-3108BA302CBB}"/>
                </a:ext>
              </a:extLst>
            </p:cNvPr>
            <p:cNvSpPr>
              <a:spLocks noChangeArrowheads="1"/>
            </p:cNvSpPr>
            <p:nvPr/>
          </p:nvSpPr>
          <p:spPr bwMode="auto">
            <a:xfrm>
              <a:off x="6478587" y="3482975"/>
              <a:ext cx="1522413" cy="798419"/>
            </a:xfrm>
            <a:prstGeom prst="rect">
              <a:avLst/>
            </a:prstGeom>
            <a:noFill/>
            <a:ln w="9525">
              <a:noFill/>
              <a:miter lim="800000"/>
              <a:headEnd/>
              <a:tailEnd/>
            </a:ln>
          </p:spPr>
          <p:txBody>
            <a:bodyPr lIns="90488" tIns="44450" rIns="90488" bIns="44450">
              <a:spAutoFit/>
            </a:bodyPr>
            <a:lstStyle/>
            <a:p>
              <a:pPr marL="0" marR="0" lvl="0" indent="0" defTabSz="45720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charset="0"/>
                </a:rPr>
                <a:t>Body containing data rows</a:t>
              </a:r>
            </a:p>
          </p:txBody>
        </p:sp>
        <p:sp>
          <p:nvSpPr>
            <p:cNvPr id="18" name="Straight Connector 6155">
              <a:extLst>
                <a:ext uri="{FF2B5EF4-FFF2-40B4-BE49-F238E27FC236}">
                  <a16:creationId xmlns:a16="http://schemas.microsoft.com/office/drawing/2014/main" id="{43B1904B-87DB-45D8-BB82-A02723E83A4C}"/>
                </a:ext>
              </a:extLst>
            </p:cNvPr>
            <p:cNvSpPr>
              <a:spLocks noChangeShapeType="1"/>
            </p:cNvSpPr>
            <p:nvPr/>
          </p:nvSpPr>
          <p:spPr bwMode="auto">
            <a:xfrm>
              <a:off x="6029063" y="2514600"/>
              <a:ext cx="450673" cy="0"/>
            </a:xfrm>
            <a:prstGeom prst="line">
              <a:avLst/>
            </a:prstGeom>
            <a:noFill/>
            <a:ln w="25400" algn="ctr">
              <a:solidFill>
                <a:srgbClr val="00000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sp>
          <p:nvSpPr>
            <p:cNvPr id="19" name="Straight Connector 6171">
              <a:extLst>
                <a:ext uri="{FF2B5EF4-FFF2-40B4-BE49-F238E27FC236}">
                  <a16:creationId xmlns:a16="http://schemas.microsoft.com/office/drawing/2014/main" id="{36F17991-6F01-44AC-8D1A-661092931A90}"/>
                </a:ext>
              </a:extLst>
            </p:cNvPr>
            <p:cNvSpPr>
              <a:spLocks noChangeShapeType="1"/>
            </p:cNvSpPr>
            <p:nvPr/>
          </p:nvSpPr>
          <p:spPr bwMode="auto">
            <a:xfrm>
              <a:off x="6029063" y="3733800"/>
              <a:ext cx="450673" cy="0"/>
            </a:xfrm>
            <a:prstGeom prst="line">
              <a:avLst/>
            </a:prstGeom>
            <a:noFill/>
            <a:ln w="25400" algn="ctr">
              <a:solidFill>
                <a:srgbClr val="00000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sp>
          <p:nvSpPr>
            <p:cNvPr id="20" name="Straight Connector 6159">
              <a:extLst>
                <a:ext uri="{FF2B5EF4-FFF2-40B4-BE49-F238E27FC236}">
                  <a16:creationId xmlns:a16="http://schemas.microsoft.com/office/drawing/2014/main" id="{EB3B0FE8-604D-4C12-9DFA-D6F7FA8F3384}"/>
                </a:ext>
              </a:extLst>
            </p:cNvPr>
            <p:cNvSpPr>
              <a:spLocks noChangeShapeType="1"/>
            </p:cNvSpPr>
            <p:nvPr/>
          </p:nvSpPr>
          <p:spPr bwMode="auto">
            <a:xfrm>
              <a:off x="5638800" y="5791200"/>
              <a:ext cx="811212" cy="0"/>
            </a:xfrm>
            <a:prstGeom prst="line">
              <a:avLst/>
            </a:prstGeom>
            <a:noFill/>
            <a:ln w="25400" algn="ctr">
              <a:solidFill>
                <a:srgbClr val="00000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sp>
          <p:nvSpPr>
            <p:cNvPr id="21" name="Rectangle 6160">
              <a:extLst>
                <a:ext uri="{FF2B5EF4-FFF2-40B4-BE49-F238E27FC236}">
                  <a16:creationId xmlns:a16="http://schemas.microsoft.com/office/drawing/2014/main" id="{E14A9287-A495-4DBF-915C-0C08FBA8EB01}"/>
                </a:ext>
              </a:extLst>
            </p:cNvPr>
            <p:cNvSpPr>
              <a:spLocks noChangeArrowheads="1"/>
            </p:cNvSpPr>
            <p:nvPr/>
          </p:nvSpPr>
          <p:spPr bwMode="auto">
            <a:xfrm>
              <a:off x="6477000" y="5257800"/>
              <a:ext cx="1674813" cy="697796"/>
            </a:xfrm>
            <a:prstGeom prst="rect">
              <a:avLst/>
            </a:prstGeom>
            <a:noFill/>
            <a:ln w="9525">
              <a:noFill/>
              <a:miter lim="800000"/>
              <a:headEnd/>
              <a:tailEnd/>
            </a:ln>
          </p:spPr>
          <p:txBody>
            <a:bodyPr lIns="90488" tIns="44450" rIns="90488" bIns="44450">
              <a:spAutoFit/>
            </a:bodyPr>
            <a:lstStyle/>
            <a:p>
              <a:pPr marL="0" marR="0" lvl="0" indent="0" defTabSz="45720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charset="0"/>
                </a:rPr>
                <a:t>A row offset </a:t>
              </a:r>
            </a:p>
            <a:p>
              <a:pPr marL="0" marR="0" lvl="0" indent="0" defTabSz="45720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charset="0"/>
                </a:rPr>
                <a:t>table called a </a:t>
              </a:r>
              <a:r>
                <a:rPr kumimoji="0" lang="en-US" sz="1800" b="0" i="1" u="none" strike="noStrike" kern="0" cap="none" spc="0" normalizeH="0" baseline="0" noProof="0" dirty="0">
                  <a:ln>
                    <a:noFill/>
                  </a:ln>
                  <a:solidFill>
                    <a:srgbClr val="000000"/>
                  </a:solidFill>
                  <a:effectLst/>
                  <a:uLnTx/>
                  <a:uFillTx/>
                  <a:latin typeface="Arial" charset="0"/>
                </a:rPr>
                <a:t>slot array</a:t>
              </a:r>
            </a:p>
          </p:txBody>
        </p:sp>
        <p:grpSp>
          <p:nvGrpSpPr>
            <p:cNvPr id="22" name="Group 21">
              <a:extLst>
                <a:ext uri="{FF2B5EF4-FFF2-40B4-BE49-F238E27FC236}">
                  <a16:creationId xmlns:a16="http://schemas.microsoft.com/office/drawing/2014/main" id="{7EE3D21A-8201-4FE3-9F28-F0AEA437A03A}"/>
                </a:ext>
              </a:extLst>
            </p:cNvPr>
            <p:cNvGrpSpPr>
              <a:grpSpLocks/>
            </p:cNvGrpSpPr>
            <p:nvPr/>
          </p:nvGrpSpPr>
          <p:grpSpPr bwMode="auto">
            <a:xfrm>
              <a:off x="1601790" y="2895600"/>
              <a:ext cx="1004889" cy="2973388"/>
              <a:chOff x="1096" y="1824"/>
              <a:chExt cx="633" cy="1873"/>
            </a:xfrm>
          </p:grpSpPr>
          <p:sp>
            <p:nvSpPr>
              <p:cNvPr id="29" name="Shape 6168">
                <a:extLst>
                  <a:ext uri="{FF2B5EF4-FFF2-40B4-BE49-F238E27FC236}">
                    <a16:creationId xmlns:a16="http://schemas.microsoft.com/office/drawing/2014/main" id="{E07BD0BE-D9FB-45C6-B382-250B817A8B59}"/>
                  </a:ext>
                </a:extLst>
              </p:cNvPr>
              <p:cNvSpPr>
                <a:spLocks/>
              </p:cNvSpPr>
              <p:nvPr/>
            </p:nvSpPr>
            <p:spPr bwMode="auto">
              <a:xfrm>
                <a:off x="1440" y="1824"/>
                <a:ext cx="289" cy="1873"/>
              </a:xfrm>
              <a:custGeom>
                <a:avLst/>
                <a:gdLst>
                  <a:gd name="T0" fmla="*/ 288 w 289"/>
                  <a:gd name="T1" fmla="*/ 0 h 1873"/>
                  <a:gd name="T2" fmla="*/ 0 w 289"/>
                  <a:gd name="T3" fmla="*/ 0 h 1873"/>
                  <a:gd name="T4" fmla="*/ 0 w 289"/>
                  <a:gd name="T5" fmla="*/ 1872 h 1873"/>
                  <a:gd name="T6" fmla="*/ 288 w 289"/>
                  <a:gd name="T7" fmla="*/ 1872 h 1873"/>
                  <a:gd name="T8" fmla="*/ 0 60000 65536"/>
                  <a:gd name="T9" fmla="*/ 0 60000 65536"/>
                  <a:gd name="T10" fmla="*/ 0 60000 65536"/>
                  <a:gd name="T11" fmla="*/ 0 60000 65536"/>
                  <a:gd name="T12" fmla="*/ 0 w 289"/>
                  <a:gd name="T13" fmla="*/ 0 h 1873"/>
                  <a:gd name="T14" fmla="*/ 289 w 289"/>
                  <a:gd name="T15" fmla="*/ 1873 h 1873"/>
                </a:gdLst>
                <a:ahLst/>
                <a:cxnLst>
                  <a:cxn ang="T8">
                    <a:pos x="T0" y="T1"/>
                  </a:cxn>
                  <a:cxn ang="T9">
                    <a:pos x="T2" y="T3"/>
                  </a:cxn>
                  <a:cxn ang="T10">
                    <a:pos x="T4" y="T5"/>
                  </a:cxn>
                  <a:cxn ang="T11">
                    <a:pos x="T6" y="T7"/>
                  </a:cxn>
                </a:cxnLst>
                <a:rect l="T12" t="T13" r="T14" b="T15"/>
                <a:pathLst>
                  <a:path w="289" h="1873">
                    <a:moveTo>
                      <a:pt x="288" y="0"/>
                    </a:moveTo>
                    <a:lnTo>
                      <a:pt x="0" y="0"/>
                    </a:lnTo>
                    <a:lnTo>
                      <a:pt x="0" y="1872"/>
                    </a:lnTo>
                    <a:lnTo>
                      <a:pt x="288" y="1872"/>
                    </a:lnTo>
                  </a:path>
                </a:pathLst>
              </a:custGeom>
              <a:noFill/>
              <a:ln w="25400" cap="rnd" algn="ctr">
                <a:solidFill>
                  <a:srgbClr val="00000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charset="0"/>
                </a:endParaRPr>
              </a:p>
            </p:txBody>
          </p:sp>
          <p:sp>
            <p:nvSpPr>
              <p:cNvPr id="30" name="Straight Connector 6169">
                <a:extLst>
                  <a:ext uri="{FF2B5EF4-FFF2-40B4-BE49-F238E27FC236}">
                    <a16:creationId xmlns:a16="http://schemas.microsoft.com/office/drawing/2014/main" id="{F95F29EA-A7D5-44B3-86C1-F2E9E8D4B388}"/>
                  </a:ext>
                </a:extLst>
              </p:cNvPr>
              <p:cNvSpPr>
                <a:spLocks noChangeShapeType="1"/>
              </p:cNvSpPr>
              <p:nvPr/>
            </p:nvSpPr>
            <p:spPr bwMode="auto">
              <a:xfrm flipH="1">
                <a:off x="1096" y="2666"/>
                <a:ext cx="352" cy="0"/>
              </a:xfrm>
              <a:prstGeom prst="line">
                <a:avLst/>
              </a:prstGeom>
              <a:noFill/>
              <a:ln w="25400" algn="ctr">
                <a:solidFill>
                  <a:srgbClr val="00000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grpSp>
        <p:sp>
          <p:nvSpPr>
            <p:cNvPr id="23" name="Rectangle 6162">
              <a:extLst>
                <a:ext uri="{FF2B5EF4-FFF2-40B4-BE49-F238E27FC236}">
                  <a16:creationId xmlns:a16="http://schemas.microsoft.com/office/drawing/2014/main" id="{6A8BE361-273D-4920-89B7-799E8CE6FE4D}"/>
                </a:ext>
              </a:extLst>
            </p:cNvPr>
            <p:cNvSpPr>
              <a:spLocks noChangeArrowheads="1"/>
            </p:cNvSpPr>
            <p:nvPr/>
          </p:nvSpPr>
          <p:spPr bwMode="auto">
            <a:xfrm>
              <a:off x="838200" y="3940175"/>
              <a:ext cx="743312" cy="611858"/>
            </a:xfrm>
            <a:prstGeom prst="rect">
              <a:avLst/>
            </a:prstGeom>
            <a:noFill/>
            <a:ln w="9525">
              <a:noFill/>
              <a:miter lim="800000"/>
              <a:headEnd/>
              <a:tailEnd/>
            </a:ln>
          </p:spPr>
          <p:txBody>
            <a:bodyPr wrap="none" lIns="90488" tIns="44450" rIns="90488" bIns="44450">
              <a:spAutoFit/>
            </a:bodyPr>
            <a:lstStyle/>
            <a:p>
              <a:pPr marL="0" marR="0" lvl="0" indent="0" defTabSz="45720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charset="0"/>
                </a:rPr>
                <a:t>8,060</a:t>
              </a:r>
            </a:p>
            <a:p>
              <a:pPr marL="0" marR="0" lvl="0" indent="0" defTabSz="457200" eaLnBrk="0"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charset="0"/>
                </a:rPr>
                <a:t>bytes</a:t>
              </a:r>
            </a:p>
          </p:txBody>
        </p:sp>
        <p:sp>
          <p:nvSpPr>
            <p:cNvPr id="24" name="Straight Connector 6163">
              <a:extLst>
                <a:ext uri="{FF2B5EF4-FFF2-40B4-BE49-F238E27FC236}">
                  <a16:creationId xmlns:a16="http://schemas.microsoft.com/office/drawing/2014/main" id="{863B860B-2849-4493-931A-4D6FC1D53540}"/>
                </a:ext>
              </a:extLst>
            </p:cNvPr>
            <p:cNvSpPr>
              <a:spLocks noChangeShapeType="1"/>
            </p:cNvSpPr>
            <p:nvPr/>
          </p:nvSpPr>
          <p:spPr bwMode="auto">
            <a:xfrm flipV="1">
              <a:off x="4281488" y="3962400"/>
              <a:ext cx="838200" cy="1752600"/>
            </a:xfrm>
            <a:prstGeom prst="line">
              <a:avLst/>
            </a:prstGeom>
            <a:noFill/>
            <a:ln w="19050" algn="ctr">
              <a:solidFill>
                <a:srgbClr val="6EB005"/>
              </a:solidFill>
              <a:round/>
              <a:headEnd/>
              <a:tailEnd type="triangle" w="med" len="me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sp>
          <p:nvSpPr>
            <p:cNvPr id="25" name="Straight Connector 6164">
              <a:extLst>
                <a:ext uri="{FF2B5EF4-FFF2-40B4-BE49-F238E27FC236}">
                  <a16:creationId xmlns:a16="http://schemas.microsoft.com/office/drawing/2014/main" id="{EA001D41-C2FD-4C72-AC72-F0AB4067B711}"/>
                </a:ext>
              </a:extLst>
            </p:cNvPr>
            <p:cNvSpPr>
              <a:spLocks noChangeShapeType="1"/>
            </p:cNvSpPr>
            <p:nvPr/>
          </p:nvSpPr>
          <p:spPr bwMode="auto">
            <a:xfrm flipH="1" flipV="1">
              <a:off x="2757488" y="2971800"/>
              <a:ext cx="1828800" cy="2743200"/>
            </a:xfrm>
            <a:prstGeom prst="line">
              <a:avLst/>
            </a:prstGeom>
            <a:noFill/>
            <a:ln w="19050" algn="ctr">
              <a:solidFill>
                <a:srgbClr val="6EB005"/>
              </a:solidFill>
              <a:round/>
              <a:headEnd/>
              <a:tailEnd type="triangle" w="med" len="me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sp>
          <p:nvSpPr>
            <p:cNvPr id="26" name="Straight Connector 6165">
              <a:extLst>
                <a:ext uri="{FF2B5EF4-FFF2-40B4-BE49-F238E27FC236}">
                  <a16:creationId xmlns:a16="http://schemas.microsoft.com/office/drawing/2014/main" id="{A42406B5-A886-4995-AF88-8DA4512B6E16}"/>
                </a:ext>
              </a:extLst>
            </p:cNvPr>
            <p:cNvSpPr>
              <a:spLocks noChangeShapeType="1"/>
            </p:cNvSpPr>
            <p:nvPr/>
          </p:nvSpPr>
          <p:spPr bwMode="auto">
            <a:xfrm flipH="1" flipV="1">
              <a:off x="4510088" y="3276600"/>
              <a:ext cx="457200" cy="2438400"/>
            </a:xfrm>
            <a:prstGeom prst="line">
              <a:avLst/>
            </a:prstGeom>
            <a:noFill/>
            <a:ln w="19050" algn="ctr">
              <a:solidFill>
                <a:srgbClr val="6EB005"/>
              </a:solidFill>
              <a:round/>
              <a:headEnd/>
              <a:tailEnd type="triangle" w="med" len="me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sp>
          <p:nvSpPr>
            <p:cNvPr id="27" name="Straight Connector 6166">
              <a:extLst>
                <a:ext uri="{FF2B5EF4-FFF2-40B4-BE49-F238E27FC236}">
                  <a16:creationId xmlns:a16="http://schemas.microsoft.com/office/drawing/2014/main" id="{AF2A0298-071B-4FD1-83EE-C07A759BFB28}"/>
                </a:ext>
              </a:extLst>
            </p:cNvPr>
            <p:cNvSpPr>
              <a:spLocks noChangeShapeType="1"/>
            </p:cNvSpPr>
            <p:nvPr/>
          </p:nvSpPr>
          <p:spPr bwMode="auto">
            <a:xfrm flipH="1" flipV="1">
              <a:off x="3595688" y="3581400"/>
              <a:ext cx="1752600" cy="2133600"/>
            </a:xfrm>
            <a:prstGeom prst="line">
              <a:avLst/>
            </a:prstGeom>
            <a:noFill/>
            <a:ln w="19050" algn="ctr">
              <a:solidFill>
                <a:srgbClr val="6EB005"/>
              </a:solidFill>
              <a:round/>
              <a:headEnd/>
              <a:tailEnd type="triangle" w="med" len="me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sp>
          <p:nvSpPr>
            <p:cNvPr id="28" name="Straight Connector 6167">
              <a:extLst>
                <a:ext uri="{FF2B5EF4-FFF2-40B4-BE49-F238E27FC236}">
                  <a16:creationId xmlns:a16="http://schemas.microsoft.com/office/drawing/2014/main" id="{3A5375DE-37A8-4FEC-90A5-2D431FC10F5E}"/>
                </a:ext>
              </a:extLst>
            </p:cNvPr>
            <p:cNvSpPr>
              <a:spLocks noChangeShapeType="1"/>
            </p:cNvSpPr>
            <p:nvPr/>
          </p:nvSpPr>
          <p:spPr bwMode="auto">
            <a:xfrm flipH="1" flipV="1">
              <a:off x="3214688" y="4191000"/>
              <a:ext cx="685800" cy="1524000"/>
            </a:xfrm>
            <a:prstGeom prst="line">
              <a:avLst/>
            </a:prstGeom>
            <a:noFill/>
            <a:ln w="19050" algn="ctr">
              <a:solidFill>
                <a:srgbClr val="6EB005"/>
              </a:solidFill>
              <a:round/>
              <a:headEnd/>
              <a:tailEnd type="triangle" w="med" len="me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grpSp>
    </p:spTree>
    <p:extLst>
      <p:ext uri="{BB962C8B-B14F-4D97-AF65-F5344CB8AC3E}">
        <p14:creationId xmlns:p14="http://schemas.microsoft.com/office/powerpoint/2010/main" val="22085862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839F5D-162F-4769-AB09-6F694188AA4C}"/>
              </a:ext>
            </a:extLst>
          </p:cNvPr>
          <p:cNvSpPr>
            <a:spLocks noGrp="1"/>
          </p:cNvSpPr>
          <p:nvPr>
            <p:ph type="title"/>
          </p:nvPr>
        </p:nvSpPr>
        <p:spPr>
          <a:xfrm>
            <a:off x="459684" y="255624"/>
            <a:ext cx="10880725" cy="461665"/>
          </a:xfrm>
        </p:spPr>
        <p:txBody>
          <a:bodyPr/>
          <a:lstStyle/>
          <a:p>
            <a:r>
              <a:rPr lang="en-US" dirty="0"/>
              <a:t>Page types</a:t>
            </a:r>
          </a:p>
        </p:txBody>
      </p:sp>
      <p:graphicFrame>
        <p:nvGraphicFramePr>
          <p:cNvPr id="9" name="Content Placeholder 8">
            <a:extLst>
              <a:ext uri="{FF2B5EF4-FFF2-40B4-BE49-F238E27FC236}">
                <a16:creationId xmlns:a16="http://schemas.microsoft.com/office/drawing/2014/main" id="{7211203A-06D1-4275-BE0B-A6F63E7764AC}"/>
              </a:ext>
            </a:extLst>
          </p:cNvPr>
          <p:cNvGraphicFramePr>
            <a:graphicFrameLocks noGrp="1"/>
          </p:cNvGraphicFramePr>
          <p:nvPr>
            <p:ph sz="quarter" idx="13"/>
            <p:extLst>
              <p:ext uri="{D42A27DB-BD31-4B8C-83A1-F6EECF244321}">
                <p14:modId xmlns:p14="http://schemas.microsoft.com/office/powerpoint/2010/main" val="380175619"/>
              </p:ext>
            </p:extLst>
          </p:nvPr>
        </p:nvGraphicFramePr>
        <p:xfrm>
          <a:off x="410699" y="874739"/>
          <a:ext cx="11283517" cy="5753498"/>
        </p:xfrm>
        <a:graphic>
          <a:graphicData uri="http://schemas.openxmlformats.org/drawingml/2006/table">
            <a:tbl>
              <a:tblPr firstRow="1" bandRow="1">
                <a:tableStyleId>{5C22544A-7EE6-4342-B048-85BDC9FD1C3A}</a:tableStyleId>
              </a:tblPr>
              <a:tblGrid>
                <a:gridCol w="814090">
                  <a:extLst>
                    <a:ext uri="{9D8B030D-6E8A-4147-A177-3AD203B41FA5}">
                      <a16:colId xmlns:a16="http://schemas.microsoft.com/office/drawing/2014/main" val="2584181835"/>
                    </a:ext>
                  </a:extLst>
                </a:gridCol>
                <a:gridCol w="2830140">
                  <a:extLst>
                    <a:ext uri="{9D8B030D-6E8A-4147-A177-3AD203B41FA5}">
                      <a16:colId xmlns:a16="http://schemas.microsoft.com/office/drawing/2014/main" val="3132208126"/>
                    </a:ext>
                  </a:extLst>
                </a:gridCol>
                <a:gridCol w="7639287">
                  <a:extLst>
                    <a:ext uri="{9D8B030D-6E8A-4147-A177-3AD203B41FA5}">
                      <a16:colId xmlns:a16="http://schemas.microsoft.com/office/drawing/2014/main" val="781971758"/>
                    </a:ext>
                  </a:extLst>
                </a:gridCol>
              </a:tblGrid>
              <a:tr h="407015">
                <a:tc>
                  <a:txBody>
                    <a:bodyPr/>
                    <a:lstStyle/>
                    <a:p>
                      <a:r>
                        <a:rPr lang="en-US" sz="1800" dirty="0"/>
                        <a:t>Types</a:t>
                      </a:r>
                    </a:p>
                  </a:txBody>
                  <a:tcPr/>
                </a:tc>
                <a:tc>
                  <a:txBody>
                    <a:bodyPr/>
                    <a:lstStyle/>
                    <a:p>
                      <a:r>
                        <a:rPr lang="en-US" sz="1800" dirty="0"/>
                        <a:t>Page Type (ID)</a:t>
                      </a:r>
                    </a:p>
                  </a:txBody>
                  <a:tcPr/>
                </a:tc>
                <a:tc>
                  <a:txBody>
                    <a:bodyPr/>
                    <a:lstStyle/>
                    <a:p>
                      <a:r>
                        <a:rPr lang="en-US" sz="1800" dirty="0"/>
                        <a:t>Description</a:t>
                      </a:r>
                    </a:p>
                  </a:txBody>
                  <a:tcPr/>
                </a:tc>
                <a:extLst>
                  <a:ext uri="{0D108BD9-81ED-4DB2-BD59-A6C34878D82A}">
                    <a16:rowId xmlns:a16="http://schemas.microsoft.com/office/drawing/2014/main" val="199634664"/>
                  </a:ext>
                </a:extLst>
              </a:tr>
              <a:tr h="703025">
                <a:tc rowSpan="3">
                  <a:txBody>
                    <a:bodyPr/>
                    <a:lstStyle/>
                    <a:p>
                      <a:pPr algn="ctr"/>
                      <a:r>
                        <a:rPr lang="en-US" sz="1200" dirty="0"/>
                        <a:t>Data and Index</a:t>
                      </a:r>
                    </a:p>
                  </a:txBody>
                  <a:tcPr vert="vert270">
                    <a:solidFill>
                      <a:schemeClr val="tx2">
                        <a:lumMod val="20000"/>
                        <a:lumOff val="80000"/>
                      </a:schemeClr>
                    </a:solidFill>
                  </a:tcPr>
                </a:tc>
                <a:tc>
                  <a:txBody>
                    <a:bodyPr/>
                    <a:lstStyle/>
                    <a:p>
                      <a:r>
                        <a:rPr lang="en-US" sz="1800" dirty="0"/>
                        <a:t>Data (1)</a:t>
                      </a:r>
                    </a:p>
                  </a:txBody>
                  <a:tcPr>
                    <a:solidFill>
                      <a:schemeClr val="tx2">
                        <a:lumMod val="20000"/>
                        <a:lumOff val="80000"/>
                      </a:schemeClr>
                    </a:solidFill>
                  </a:tcPr>
                </a:tc>
                <a:tc>
                  <a:txBody>
                    <a:bodyPr/>
                    <a:lstStyle/>
                    <a:p>
                      <a:r>
                        <a:rPr lang="en-US" sz="1800" dirty="0">
                          <a:effectLst/>
                        </a:rPr>
                        <a:t>Data rows with all data, except text, ntext, image, nvarchar(max), varchar(max), varbinary(max), and xml data, when </a:t>
                      </a:r>
                      <a:r>
                        <a:rPr lang="en-US" sz="1800" b="1" dirty="0">
                          <a:effectLst/>
                        </a:rPr>
                        <a:t>text in row</a:t>
                      </a:r>
                      <a:r>
                        <a:rPr lang="en-US" sz="1800" dirty="0">
                          <a:effectLst/>
                        </a:rPr>
                        <a:t> is set to </a:t>
                      </a:r>
                      <a:r>
                        <a:rPr lang="en-US" sz="1800" b="1" dirty="0">
                          <a:effectLst/>
                        </a:rPr>
                        <a:t>ON</a:t>
                      </a:r>
                      <a:endParaRPr lang="en-US" sz="1800" b="1" dirty="0"/>
                    </a:p>
                  </a:txBody>
                  <a:tcPr>
                    <a:solidFill>
                      <a:schemeClr val="tx2">
                        <a:lumMod val="20000"/>
                        <a:lumOff val="80000"/>
                      </a:schemeClr>
                    </a:solidFill>
                  </a:tcPr>
                </a:tc>
                <a:extLst>
                  <a:ext uri="{0D108BD9-81ED-4DB2-BD59-A6C34878D82A}">
                    <a16:rowId xmlns:a16="http://schemas.microsoft.com/office/drawing/2014/main" val="3582416367"/>
                  </a:ext>
                </a:extLst>
              </a:tr>
              <a:tr h="407015">
                <a:tc vMerge="1">
                  <a:txBody>
                    <a:bodyPr/>
                    <a:lstStyle/>
                    <a:p>
                      <a:pPr marL="0" marR="0" indent="0" defTabSz="91440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Index (2)</a:t>
                      </a:r>
                      <a:endParaRPr lang="en-US" sz="1800" dirty="0"/>
                    </a:p>
                  </a:txBody>
                  <a:tcPr>
                    <a:solidFill>
                      <a:schemeClr val="tx2">
                        <a:lumMod val="20000"/>
                        <a:lumOff val="80000"/>
                      </a:schemeClr>
                    </a:solidFill>
                  </a:tcPr>
                </a:tc>
                <a:tc>
                  <a:txBody>
                    <a:bodyPr/>
                    <a:lstStyle/>
                    <a:p>
                      <a:r>
                        <a:rPr lang="en-US" sz="1800" dirty="0"/>
                        <a:t>Index Entries</a:t>
                      </a:r>
                    </a:p>
                  </a:txBody>
                  <a:tcPr>
                    <a:solidFill>
                      <a:schemeClr val="tx2">
                        <a:lumMod val="20000"/>
                        <a:lumOff val="80000"/>
                      </a:schemeClr>
                    </a:solidFill>
                  </a:tcPr>
                </a:tc>
                <a:extLst>
                  <a:ext uri="{0D108BD9-81ED-4DB2-BD59-A6C34878D82A}">
                    <a16:rowId xmlns:a16="http://schemas.microsoft.com/office/drawing/2014/main" val="3406184462"/>
                  </a:ext>
                </a:extLst>
              </a:tr>
              <a:tr h="555158">
                <a:tc vMerge="1">
                  <a:txBody>
                    <a:bodyPr/>
                    <a:lstStyle/>
                    <a:p>
                      <a:pPr marL="0" marR="0" indent="0" defTabSz="91440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Text/Image (3 or 4)</a:t>
                      </a:r>
                      <a:endParaRPr lang="en-US" sz="1800" dirty="0"/>
                    </a:p>
                  </a:txBody>
                  <a:tcPr>
                    <a:solidFill>
                      <a:schemeClr val="tx2">
                        <a:lumMod val="20000"/>
                        <a:lumOff val="80000"/>
                      </a:schemeClr>
                    </a:solidFill>
                  </a:tcPr>
                </a:tc>
                <a:tc>
                  <a:txBody>
                    <a:bodyPr/>
                    <a:lstStyle/>
                    <a:p>
                      <a:r>
                        <a:rPr lang="en-US" sz="1800" dirty="0"/>
                        <a:t>Large Object Data Type, variable length columns when the data row exceeds 8 kilobytes (KB)</a:t>
                      </a:r>
                    </a:p>
                  </a:txBody>
                  <a:tcPr>
                    <a:solidFill>
                      <a:schemeClr val="tx2">
                        <a:lumMod val="20000"/>
                        <a:lumOff val="80000"/>
                      </a:schemeClr>
                    </a:solidFill>
                  </a:tcPr>
                </a:tc>
                <a:extLst>
                  <a:ext uri="{0D108BD9-81ED-4DB2-BD59-A6C34878D82A}">
                    <a16:rowId xmlns:a16="http://schemas.microsoft.com/office/drawing/2014/main" val="404599460"/>
                  </a:ext>
                </a:extLst>
              </a:tr>
              <a:tr h="407015">
                <a:tc rowSpan="3">
                  <a:txBody>
                    <a:bodyPr/>
                    <a:lstStyle/>
                    <a:p>
                      <a:pPr algn="ctr"/>
                      <a:r>
                        <a:rPr lang="en-US" sz="1200" dirty="0"/>
                        <a:t>Allocation</a:t>
                      </a:r>
                    </a:p>
                  </a:txBody>
                  <a:tcPr vert="vert270">
                    <a:solidFill>
                      <a:srgbClr val="E7ECF7"/>
                    </a:solidFill>
                  </a:tcPr>
                </a:tc>
                <a:tc>
                  <a:txBody>
                    <a:bodyPr/>
                    <a:lstStyle/>
                    <a:p>
                      <a:r>
                        <a:rPr lang="en-US" sz="1800" dirty="0"/>
                        <a:t>GAM, SGAM (8 and 9)</a:t>
                      </a:r>
                    </a:p>
                  </a:txBody>
                  <a:tcPr>
                    <a:solidFill>
                      <a:srgbClr val="E7ECF7"/>
                    </a:solidFill>
                  </a:tcPr>
                </a:tc>
                <a:tc>
                  <a:txBody>
                    <a:bodyPr/>
                    <a:lstStyle/>
                    <a:p>
                      <a:r>
                        <a:rPr lang="en-US" sz="1800" dirty="0"/>
                        <a:t>Extent Allocation information</a:t>
                      </a:r>
                    </a:p>
                  </a:txBody>
                  <a:tcPr>
                    <a:solidFill>
                      <a:srgbClr val="E7ECF7"/>
                    </a:solidFill>
                  </a:tcPr>
                </a:tc>
                <a:extLst>
                  <a:ext uri="{0D108BD9-81ED-4DB2-BD59-A6C34878D82A}">
                    <a16:rowId xmlns:a16="http://schemas.microsoft.com/office/drawing/2014/main" val="3174941510"/>
                  </a:ext>
                </a:extLst>
              </a:tr>
              <a:tr h="407015">
                <a:tc vMerge="1">
                  <a:txBody>
                    <a:bodyPr/>
                    <a:lstStyle/>
                    <a:p>
                      <a:endParaRPr lang="en-US" sz="1800" dirty="0"/>
                    </a:p>
                  </a:txBody>
                  <a:tcPr/>
                </a:tc>
                <a:tc>
                  <a:txBody>
                    <a:bodyPr/>
                    <a:lstStyle/>
                    <a:p>
                      <a:r>
                        <a:rPr lang="en-US" sz="1800" dirty="0"/>
                        <a:t>PFS (11)</a:t>
                      </a:r>
                    </a:p>
                  </a:txBody>
                  <a:tcPr>
                    <a:solidFill>
                      <a:srgbClr val="E7ECF7"/>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Information about page allocation and free space available on pages</a:t>
                      </a:r>
                    </a:p>
                  </a:txBody>
                  <a:tcPr>
                    <a:solidFill>
                      <a:srgbClr val="E7ECF7"/>
                    </a:solidFill>
                  </a:tcPr>
                </a:tc>
                <a:extLst>
                  <a:ext uri="{0D108BD9-81ED-4DB2-BD59-A6C34878D82A}">
                    <a16:rowId xmlns:a16="http://schemas.microsoft.com/office/drawing/2014/main" val="420272656"/>
                  </a:ext>
                </a:extLst>
              </a:tr>
              <a:tr h="283805">
                <a:tc vMerge="1">
                  <a:txBody>
                    <a:bodyPr/>
                    <a:lstStyle/>
                    <a:p>
                      <a:endParaRPr lang="en-US" sz="1800" dirty="0"/>
                    </a:p>
                  </a:txBody>
                  <a:tcPr/>
                </a:tc>
                <a:tc>
                  <a:txBody>
                    <a:bodyPr/>
                    <a:lstStyle/>
                    <a:p>
                      <a:r>
                        <a:rPr lang="en-US" sz="1800" dirty="0"/>
                        <a:t>IAM (10)</a:t>
                      </a:r>
                    </a:p>
                  </a:txBody>
                  <a:tcPr>
                    <a:solidFill>
                      <a:srgbClr val="E7ECF7"/>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Information about extents used by a table or index per allocation unit</a:t>
                      </a:r>
                      <a:endParaRPr lang="en-US" sz="1800" dirty="0"/>
                    </a:p>
                  </a:txBody>
                  <a:tcPr>
                    <a:solidFill>
                      <a:srgbClr val="E7ECF7"/>
                    </a:solidFill>
                  </a:tcPr>
                </a:tc>
                <a:extLst>
                  <a:ext uri="{0D108BD9-81ED-4DB2-BD59-A6C34878D82A}">
                    <a16:rowId xmlns:a16="http://schemas.microsoft.com/office/drawing/2014/main" val="2562197781"/>
                  </a:ext>
                </a:extLst>
              </a:tr>
              <a:tr h="703025">
                <a:tc rowSpan="2">
                  <a:txBody>
                    <a:bodyPr/>
                    <a:lstStyle/>
                    <a:p>
                      <a:pPr algn="ctr"/>
                      <a:r>
                        <a:rPr lang="en-US" sz="1200" dirty="0"/>
                        <a:t>Restore</a:t>
                      </a:r>
                    </a:p>
                  </a:txBody>
                  <a:tcPr vert="vert270">
                    <a:solidFill>
                      <a:schemeClr val="tx2">
                        <a:lumMod val="20000"/>
                        <a:lumOff val="80000"/>
                      </a:schemeClr>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Bulk Changed Map (17)</a:t>
                      </a:r>
                    </a:p>
                    <a:p>
                      <a:endParaRPr lang="en-US" sz="1800" dirty="0"/>
                    </a:p>
                  </a:txBody>
                  <a:tcPr>
                    <a:solidFill>
                      <a:schemeClr val="tx2">
                        <a:lumMod val="20000"/>
                        <a:lumOff val="80000"/>
                      </a:schemeClr>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Information about extents modified by bulk operations since the last BACKUP LOG statement per allocation unit</a:t>
                      </a:r>
                      <a:endParaRPr lang="en-US" sz="1800" dirty="0"/>
                    </a:p>
                  </a:txBody>
                  <a:tcPr>
                    <a:solidFill>
                      <a:schemeClr val="tx2">
                        <a:lumMod val="20000"/>
                        <a:lumOff val="80000"/>
                      </a:schemeClr>
                    </a:solidFill>
                  </a:tcPr>
                </a:tc>
                <a:extLst>
                  <a:ext uri="{0D108BD9-81ED-4DB2-BD59-A6C34878D82A}">
                    <a16:rowId xmlns:a16="http://schemas.microsoft.com/office/drawing/2014/main" val="4153643319"/>
                  </a:ext>
                </a:extLst>
              </a:tr>
              <a:tr h="0">
                <a:tc vMerge="1">
                  <a:txBody>
                    <a:bodyPr/>
                    <a:lstStyle/>
                    <a:p>
                      <a:endParaRPr lang="en-US" sz="1800" dirty="0"/>
                    </a:p>
                  </a:txBody>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Differential Changed Map (16)</a:t>
                      </a:r>
                    </a:p>
                    <a:p>
                      <a:endParaRPr lang="en-US" sz="1800" dirty="0"/>
                    </a:p>
                  </a:txBody>
                  <a:tcPr>
                    <a:solidFill>
                      <a:schemeClr val="tx2">
                        <a:lumMod val="20000"/>
                        <a:lumOff val="80000"/>
                      </a:schemeClr>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Information about extents that have changed since the last BACKUP DATABASE statement per allocation unit</a:t>
                      </a:r>
                    </a:p>
                  </a:txBody>
                  <a:tcPr>
                    <a:solidFill>
                      <a:schemeClr val="tx2">
                        <a:lumMod val="20000"/>
                        <a:lumOff val="80000"/>
                      </a:schemeClr>
                    </a:solidFill>
                  </a:tcPr>
                </a:tc>
                <a:extLst>
                  <a:ext uri="{0D108BD9-81ED-4DB2-BD59-A6C34878D82A}">
                    <a16:rowId xmlns:a16="http://schemas.microsoft.com/office/drawing/2014/main" val="1493542476"/>
                  </a:ext>
                </a:extLst>
              </a:tr>
              <a:tr h="407015">
                <a:tc rowSpan="2">
                  <a:txBody>
                    <a:bodyPr/>
                    <a:lstStyle/>
                    <a:p>
                      <a:pPr algn="ctr"/>
                      <a:r>
                        <a:rPr lang="en-US" sz="1200" dirty="0"/>
                        <a:t>Metadata</a:t>
                      </a:r>
                    </a:p>
                  </a:txBody>
                  <a:tcPr vert="vert270">
                    <a:solidFill>
                      <a:srgbClr val="E7ECF7"/>
                    </a:solidFill>
                  </a:tcPr>
                </a:tc>
                <a:tc>
                  <a:txBody>
                    <a:bodyPr/>
                    <a:lstStyle/>
                    <a:p>
                      <a:r>
                        <a:rPr lang="en-US" sz="1800" dirty="0"/>
                        <a:t>Boot (13)</a:t>
                      </a:r>
                    </a:p>
                  </a:txBody>
                  <a:tcPr>
                    <a:solidFill>
                      <a:srgbClr val="E7ECF7"/>
                    </a:solidFill>
                  </a:tcPr>
                </a:tc>
                <a:tc>
                  <a:txBody>
                    <a:bodyPr/>
                    <a:lstStyle/>
                    <a:p>
                      <a:r>
                        <a:rPr lang="en-US" sz="1800" u="none" strike="noStrike" dirty="0">
                          <a:effectLst/>
                        </a:rPr>
                        <a:t>Information about the database; Each database has only one Boot page</a:t>
                      </a:r>
                      <a:endParaRPr lang="en-US" sz="1800" dirty="0"/>
                    </a:p>
                  </a:txBody>
                  <a:tcPr>
                    <a:solidFill>
                      <a:srgbClr val="E7ECF7"/>
                    </a:solidFill>
                  </a:tcPr>
                </a:tc>
                <a:extLst>
                  <a:ext uri="{0D108BD9-81ED-4DB2-BD59-A6C34878D82A}">
                    <a16:rowId xmlns:a16="http://schemas.microsoft.com/office/drawing/2014/main" val="1945886157"/>
                  </a:ext>
                </a:extLst>
              </a:tr>
              <a:tr h="392133">
                <a:tc vMerge="1">
                  <a:txBody>
                    <a:bodyPr/>
                    <a:lstStyle/>
                    <a:p>
                      <a:pPr algn="ctr"/>
                      <a:endParaRPr lang="en-US" sz="1800" dirty="0"/>
                    </a:p>
                  </a:txBody>
                  <a:tcPr/>
                </a:tc>
                <a:tc>
                  <a:txBody>
                    <a:bodyPr/>
                    <a:lstStyle/>
                    <a:p>
                      <a:r>
                        <a:rPr lang="en-US" sz="1800" dirty="0"/>
                        <a:t>File Header (15)</a:t>
                      </a:r>
                    </a:p>
                  </a:txBody>
                  <a:tcPr>
                    <a:solidFill>
                      <a:srgbClr val="E7ECF7"/>
                    </a:solidFill>
                  </a:tcPr>
                </a:tc>
                <a:tc>
                  <a:txBody>
                    <a:bodyPr/>
                    <a:lstStyle/>
                    <a:p>
                      <a:r>
                        <a:rPr lang="en-US" sz="1800" u="none" strike="noStrike" dirty="0">
                          <a:effectLst/>
                        </a:rPr>
                        <a:t>Information about the file. It is the first page (page 0) in every file</a:t>
                      </a:r>
                      <a:endParaRPr lang="en-US" sz="1800" dirty="0"/>
                    </a:p>
                  </a:txBody>
                  <a:tcPr>
                    <a:solidFill>
                      <a:srgbClr val="E7ECF7"/>
                    </a:solidFill>
                  </a:tcPr>
                </a:tc>
                <a:extLst>
                  <a:ext uri="{0D108BD9-81ED-4DB2-BD59-A6C34878D82A}">
                    <a16:rowId xmlns:a16="http://schemas.microsoft.com/office/drawing/2014/main" val="2155685844"/>
                  </a:ext>
                </a:extLst>
              </a:tr>
            </a:tbl>
          </a:graphicData>
        </a:graphic>
      </p:graphicFrame>
    </p:spTree>
    <p:extLst>
      <p:ext uri="{BB962C8B-B14F-4D97-AF65-F5344CB8AC3E}">
        <p14:creationId xmlns:p14="http://schemas.microsoft.com/office/powerpoint/2010/main" val="18767580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7E203-A9C4-41C1-9510-FE21FB54D7C6}"/>
              </a:ext>
            </a:extLst>
          </p:cNvPr>
          <p:cNvSpPr>
            <a:spLocks noGrp="1"/>
          </p:cNvSpPr>
          <p:nvPr>
            <p:ph type="title"/>
          </p:nvPr>
        </p:nvSpPr>
        <p:spPr>
          <a:xfrm>
            <a:off x="212401" y="178280"/>
            <a:ext cx="10971244" cy="1142838"/>
          </a:xfrm>
        </p:spPr>
        <p:txBody>
          <a:bodyPr/>
          <a:lstStyle/>
          <a:p>
            <a:r>
              <a:rPr lang="en-US" dirty="0"/>
              <a:t>Row Storage</a:t>
            </a:r>
          </a:p>
        </p:txBody>
      </p:sp>
      <p:graphicFrame>
        <p:nvGraphicFramePr>
          <p:cNvPr id="4" name="Diagram 3">
            <a:extLst>
              <a:ext uri="{FF2B5EF4-FFF2-40B4-BE49-F238E27FC236}">
                <a16:creationId xmlns:a16="http://schemas.microsoft.com/office/drawing/2014/main" id="{A4003F08-C0DD-4678-9370-E4CC7A8401CE}"/>
              </a:ext>
            </a:extLst>
          </p:cNvPr>
          <p:cNvGraphicFramePr/>
          <p:nvPr>
            <p:extLst>
              <p:ext uri="{D42A27DB-BD31-4B8C-83A1-F6EECF244321}">
                <p14:modId xmlns:p14="http://schemas.microsoft.com/office/powerpoint/2010/main" val="1754896276"/>
              </p:ext>
            </p:extLst>
          </p:nvPr>
        </p:nvGraphicFramePr>
        <p:xfrm>
          <a:off x="240666" y="1113236"/>
          <a:ext cx="11504118" cy="52492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776234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SQL Server Disk I/O</a:t>
            </a:r>
          </a:p>
          <a:p>
            <a:r>
              <a:rPr lang="en-US" dirty="0"/>
              <a:t>Lesson 2: SQL Server Page Structure</a:t>
            </a:r>
          </a:p>
          <a:p>
            <a:r>
              <a:rPr lang="en-US" dirty="0"/>
              <a:t>Lesson 3: SQL Server Data File Structure</a:t>
            </a:r>
          </a:p>
          <a:p>
            <a:r>
              <a:rPr lang="en-US" dirty="0"/>
              <a:t>Lesson 4: SQL Server Log File Structure</a:t>
            </a:r>
          </a:p>
          <a:p>
            <a:r>
              <a:rPr lang="en-US" dirty="0"/>
              <a:t>Lesson 5: SQL Server TempDB File Structure</a:t>
            </a:r>
          </a:p>
        </p:txBody>
      </p:sp>
    </p:spTree>
    <p:extLst>
      <p:ext uri="{BB962C8B-B14F-4D97-AF65-F5344CB8AC3E}">
        <p14:creationId xmlns:p14="http://schemas.microsoft.com/office/powerpoint/2010/main" val="16155601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13350-DDA6-4577-877F-6EF08387131E}"/>
              </a:ext>
            </a:extLst>
          </p:cNvPr>
          <p:cNvSpPr>
            <a:spLocks noGrp="1"/>
          </p:cNvSpPr>
          <p:nvPr>
            <p:ph type="title"/>
          </p:nvPr>
        </p:nvSpPr>
        <p:spPr>
          <a:xfrm>
            <a:off x="324033" y="167523"/>
            <a:ext cx="10971244" cy="461665"/>
          </a:xfrm>
        </p:spPr>
        <p:txBody>
          <a:bodyPr/>
          <a:lstStyle/>
          <a:p>
            <a:r>
              <a:rPr lang="en-US" dirty="0"/>
              <a:t>DBCC IND</a:t>
            </a:r>
          </a:p>
        </p:txBody>
      </p:sp>
      <p:pic>
        <p:nvPicPr>
          <p:cNvPr id="3" name="Picture 2">
            <a:extLst>
              <a:ext uri="{FF2B5EF4-FFF2-40B4-BE49-F238E27FC236}">
                <a16:creationId xmlns:a16="http://schemas.microsoft.com/office/drawing/2014/main" id="{2B258257-4F29-4E77-BA4D-A52EEAE187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4034" y="936271"/>
            <a:ext cx="11663611" cy="5227473"/>
          </a:xfrm>
          <a:prstGeom prst="rect">
            <a:avLst/>
          </a:prstGeom>
        </p:spPr>
      </p:pic>
    </p:spTree>
    <p:extLst>
      <p:ext uri="{BB962C8B-B14F-4D97-AF65-F5344CB8AC3E}">
        <p14:creationId xmlns:p14="http://schemas.microsoft.com/office/powerpoint/2010/main" val="25549987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7E203-A9C4-41C1-9510-FE21FB54D7C6}"/>
              </a:ext>
            </a:extLst>
          </p:cNvPr>
          <p:cNvSpPr>
            <a:spLocks noGrp="1"/>
          </p:cNvSpPr>
          <p:nvPr>
            <p:ph type="title"/>
          </p:nvPr>
        </p:nvSpPr>
        <p:spPr>
          <a:xfrm>
            <a:off x="212401" y="178280"/>
            <a:ext cx="10971244" cy="461665"/>
          </a:xfrm>
        </p:spPr>
        <p:txBody>
          <a:bodyPr/>
          <a:lstStyle/>
          <a:p>
            <a:r>
              <a:rPr lang="en-US" dirty="0"/>
              <a:t>DBCC PAGE</a:t>
            </a:r>
          </a:p>
        </p:txBody>
      </p:sp>
      <p:pic>
        <p:nvPicPr>
          <p:cNvPr id="3" name="Picture 2">
            <a:extLst>
              <a:ext uri="{FF2B5EF4-FFF2-40B4-BE49-F238E27FC236}">
                <a16:creationId xmlns:a16="http://schemas.microsoft.com/office/drawing/2014/main" id="{0DC0808B-1442-47F6-A731-2CF02ADABF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8355" y="925422"/>
            <a:ext cx="9944069" cy="5294605"/>
          </a:xfrm>
          <a:prstGeom prst="rect">
            <a:avLst/>
          </a:prstGeom>
        </p:spPr>
      </p:pic>
    </p:spTree>
    <p:extLst>
      <p:ext uri="{BB962C8B-B14F-4D97-AF65-F5344CB8AC3E}">
        <p14:creationId xmlns:p14="http://schemas.microsoft.com/office/powerpoint/2010/main" val="23313947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8C0A7B-81E0-4AD6-8CB1-79618B186971}"/>
              </a:ext>
            </a:extLst>
          </p:cNvPr>
          <p:cNvSpPr>
            <a:spLocks noGrp="1"/>
          </p:cNvSpPr>
          <p:nvPr>
            <p:ph type="title"/>
          </p:nvPr>
        </p:nvSpPr>
        <p:spPr/>
        <p:txBody>
          <a:bodyPr/>
          <a:lstStyle/>
          <a:p>
            <a:r>
              <a:rPr lang="en-US" dirty="0"/>
              <a:t>New DMF</a:t>
            </a:r>
          </a:p>
        </p:txBody>
      </p:sp>
      <p:sp>
        <p:nvSpPr>
          <p:cNvPr id="3" name="Subtitle 2">
            <a:extLst>
              <a:ext uri="{FF2B5EF4-FFF2-40B4-BE49-F238E27FC236}">
                <a16:creationId xmlns:a16="http://schemas.microsoft.com/office/drawing/2014/main" id="{80079579-A2FF-4181-B21D-2CF51E5D6122}"/>
              </a:ext>
            </a:extLst>
          </p:cNvPr>
          <p:cNvSpPr>
            <a:spLocks noGrp="1"/>
          </p:cNvSpPr>
          <p:nvPr>
            <p:ph type="subTitle" idx="1"/>
          </p:nvPr>
        </p:nvSpPr>
        <p:spPr/>
        <p:txBody>
          <a:bodyPr/>
          <a:lstStyle/>
          <a:p>
            <a:r>
              <a:rPr lang="en-US" dirty="0">
                <a:solidFill>
                  <a:srgbClr val="107C10"/>
                </a:solidFill>
              </a:rPr>
              <a:t>sys.dm_db_page_info</a:t>
            </a:r>
          </a:p>
        </p:txBody>
      </p:sp>
      <p:sp>
        <p:nvSpPr>
          <p:cNvPr id="4" name="Content Placeholder 3">
            <a:extLst>
              <a:ext uri="{FF2B5EF4-FFF2-40B4-BE49-F238E27FC236}">
                <a16:creationId xmlns:a16="http://schemas.microsoft.com/office/drawing/2014/main" id="{8FE185CA-318A-471D-BC96-F43921339391}"/>
              </a:ext>
            </a:extLst>
          </p:cNvPr>
          <p:cNvSpPr>
            <a:spLocks noGrp="1"/>
          </p:cNvSpPr>
          <p:nvPr>
            <p:ph sz="quarter" idx="13"/>
          </p:nvPr>
        </p:nvSpPr>
        <p:spPr/>
        <p:txBody>
          <a:bodyPr/>
          <a:lstStyle/>
          <a:p>
            <a:r>
              <a:rPr lang="en-US" dirty="0"/>
              <a:t>Returns information about a page in a database. </a:t>
            </a:r>
          </a:p>
          <a:p>
            <a:r>
              <a:rPr lang="en-US" dirty="0"/>
              <a:t>The function returns one row that contains the </a:t>
            </a:r>
            <a:r>
              <a:rPr lang="en-US" b="1" dirty="0"/>
              <a:t>header</a:t>
            </a:r>
            <a:r>
              <a:rPr lang="en-US" dirty="0"/>
              <a:t> information from the page, including the object_id, index_id, and partition_id. </a:t>
            </a:r>
          </a:p>
          <a:p>
            <a:r>
              <a:rPr lang="en-US" dirty="0"/>
              <a:t>This function replaces the need to use DBCC PAGE in most cases.</a:t>
            </a:r>
          </a:p>
          <a:p>
            <a:r>
              <a:rPr lang="en-US" dirty="0"/>
              <a:t>Output sample:</a:t>
            </a:r>
          </a:p>
        </p:txBody>
      </p:sp>
      <p:graphicFrame>
        <p:nvGraphicFramePr>
          <p:cNvPr id="7" name="Diagram 6">
            <a:extLst>
              <a:ext uri="{FF2B5EF4-FFF2-40B4-BE49-F238E27FC236}">
                <a16:creationId xmlns:a16="http://schemas.microsoft.com/office/drawing/2014/main" id="{2B65C78B-CE07-4797-B221-0ED002C91B89}"/>
              </a:ext>
            </a:extLst>
          </p:cNvPr>
          <p:cNvGraphicFramePr/>
          <p:nvPr>
            <p:extLst>
              <p:ext uri="{D42A27DB-BD31-4B8C-83A1-F6EECF244321}">
                <p14:modId xmlns:p14="http://schemas.microsoft.com/office/powerpoint/2010/main" val="3966244673"/>
              </p:ext>
            </p:extLst>
          </p:nvPr>
        </p:nvGraphicFramePr>
        <p:xfrm>
          <a:off x="1717430" y="5136400"/>
          <a:ext cx="8208964" cy="4616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a:extLst>
              <a:ext uri="{FF2B5EF4-FFF2-40B4-BE49-F238E27FC236}">
                <a16:creationId xmlns:a16="http://schemas.microsoft.com/office/drawing/2014/main" id="{A4A8EB61-1353-4292-B3A9-312105526473}"/>
              </a:ext>
            </a:extLst>
          </p:cNvPr>
          <p:cNvPicPr>
            <a:picLocks noChangeAspect="1"/>
          </p:cNvPicPr>
          <p:nvPr/>
        </p:nvPicPr>
        <p:blipFill>
          <a:blip r:embed="rId8"/>
          <a:stretch>
            <a:fillRect/>
          </a:stretch>
        </p:blipFill>
        <p:spPr>
          <a:xfrm>
            <a:off x="441170" y="3817939"/>
            <a:ext cx="11309658" cy="353427"/>
          </a:xfrm>
          <a:prstGeom prst="rect">
            <a:avLst/>
          </a:prstGeom>
        </p:spPr>
      </p:pic>
    </p:spTree>
    <p:extLst>
      <p:ext uri="{BB962C8B-B14F-4D97-AF65-F5344CB8AC3E}">
        <p14:creationId xmlns:p14="http://schemas.microsoft.com/office/powerpoint/2010/main" val="31510147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Examining Data Page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006523152"/>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76975876"/>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fr-FR" dirty="0"/>
              <a:t>Lesson 3: SQL Server Data File Structure</a:t>
            </a:r>
            <a:endParaRPr lang="en-US" dirty="0"/>
          </a:p>
        </p:txBody>
      </p:sp>
    </p:spTree>
    <p:extLst>
      <p:ext uri="{BB962C8B-B14F-4D97-AF65-F5344CB8AC3E}">
        <p14:creationId xmlns:p14="http://schemas.microsoft.com/office/powerpoint/2010/main" val="32650423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the data file structure.</a:t>
            </a:r>
          </a:p>
          <a:p>
            <a:r>
              <a:rPr lang="en-US" dirty="0"/>
              <a:t>Describe SQL Server allocation objects, and object allocation proces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258136525"/>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C78D2B-E078-4374-9A00-8BE599CDC800}"/>
              </a:ext>
            </a:extLst>
          </p:cNvPr>
          <p:cNvSpPr>
            <a:spLocks noGrp="1"/>
          </p:cNvSpPr>
          <p:nvPr>
            <p:ph type="title"/>
          </p:nvPr>
        </p:nvSpPr>
        <p:spPr/>
        <p:txBody>
          <a:bodyPr/>
          <a:lstStyle/>
          <a:p>
            <a:r>
              <a:rPr lang="en-US" dirty="0"/>
              <a:t>SQL Server object allocation</a:t>
            </a:r>
          </a:p>
        </p:txBody>
      </p:sp>
      <p:sp>
        <p:nvSpPr>
          <p:cNvPr id="4" name="Content Placeholder 3">
            <a:extLst>
              <a:ext uri="{FF2B5EF4-FFF2-40B4-BE49-F238E27FC236}">
                <a16:creationId xmlns:a16="http://schemas.microsoft.com/office/drawing/2014/main" id="{DEE7FFCE-48C3-4FF3-AEAD-B2A2EDD4C621}"/>
              </a:ext>
            </a:extLst>
          </p:cNvPr>
          <p:cNvSpPr>
            <a:spLocks noGrp="1"/>
          </p:cNvSpPr>
          <p:nvPr>
            <p:ph sz="quarter" idx="13"/>
          </p:nvPr>
        </p:nvSpPr>
        <p:spPr>
          <a:xfrm>
            <a:off x="457675" y="1511809"/>
            <a:ext cx="10880726" cy="4819650"/>
          </a:xfrm>
        </p:spPr>
        <p:txBody>
          <a:bodyPr/>
          <a:lstStyle/>
          <a:p>
            <a:r>
              <a:rPr lang="en-US" dirty="0"/>
              <a:t>Data files are structured in extents. </a:t>
            </a:r>
          </a:p>
          <a:p>
            <a:r>
              <a:rPr lang="en-US" dirty="0"/>
              <a:t>Each extent (64 KB) has eight pages of 8 KB each.</a:t>
            </a:r>
          </a:p>
          <a:p>
            <a:r>
              <a:rPr lang="en-US" dirty="0"/>
              <a:t>Two types of extents:</a:t>
            </a:r>
          </a:p>
          <a:p>
            <a:pPr lvl="1"/>
            <a:r>
              <a:rPr lang="en-US" dirty="0"/>
              <a:t>Mixed extents</a:t>
            </a:r>
          </a:p>
          <a:p>
            <a:pPr lvl="2"/>
            <a:r>
              <a:rPr lang="en-US" dirty="0"/>
              <a:t>Up to 8 distinct objects can reside in the same Mixed Extent.</a:t>
            </a:r>
          </a:p>
          <a:p>
            <a:pPr lvl="2"/>
            <a:r>
              <a:rPr lang="en-US" dirty="0"/>
              <a:t>Controlled by SGAM (Shared Global Allocation Map) Object.</a:t>
            </a:r>
          </a:p>
          <a:p>
            <a:pPr lvl="1"/>
            <a:r>
              <a:rPr lang="en-US" dirty="0"/>
              <a:t>Uniform extents</a:t>
            </a:r>
          </a:p>
          <a:p>
            <a:pPr lvl="2"/>
            <a:r>
              <a:rPr lang="en-US" dirty="0"/>
              <a:t>All pages belong to the same object.</a:t>
            </a:r>
          </a:p>
          <a:p>
            <a:pPr lvl="2"/>
            <a:r>
              <a:rPr lang="en-US" dirty="0"/>
              <a:t>Controlled by GAM (Global Allocation Map) object.</a:t>
            </a:r>
          </a:p>
          <a:p>
            <a:endParaRPr lang="en-US" dirty="0"/>
          </a:p>
        </p:txBody>
      </p:sp>
      <p:pic>
        <p:nvPicPr>
          <p:cNvPr id="11" name="Picture 10">
            <a:extLst>
              <a:ext uri="{FF2B5EF4-FFF2-40B4-BE49-F238E27FC236}">
                <a16:creationId xmlns:a16="http://schemas.microsoft.com/office/drawing/2014/main" id="{51ADF6DC-D03B-4CE8-921F-59147DE93FA8}"/>
              </a:ext>
            </a:extLst>
          </p:cNvPr>
          <p:cNvPicPr>
            <a:picLocks noChangeAspect="1"/>
          </p:cNvPicPr>
          <p:nvPr/>
        </p:nvPicPr>
        <p:blipFill>
          <a:blip r:embed="rId3"/>
          <a:stretch>
            <a:fillRect/>
          </a:stretch>
        </p:blipFill>
        <p:spPr>
          <a:xfrm>
            <a:off x="7166442" y="2621610"/>
            <a:ext cx="4726610" cy="2135418"/>
          </a:xfrm>
          <a:prstGeom prst="rect">
            <a:avLst/>
          </a:prstGeom>
        </p:spPr>
      </p:pic>
    </p:spTree>
    <p:extLst>
      <p:ext uri="{BB962C8B-B14F-4D97-AF65-F5344CB8AC3E}">
        <p14:creationId xmlns:p14="http://schemas.microsoft.com/office/powerpoint/2010/main" val="4776902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defTabSz="456937">
              <a:lnSpc>
                <a:spcPts val="3500"/>
              </a:lnSpc>
            </a:pPr>
            <a:r>
              <a:rPr lang="en-US" sz="3600" spc="0">
                <a:ln>
                  <a:noFill/>
                </a:ln>
                <a:solidFill>
                  <a:srgbClr val="44546A"/>
                </a:solidFill>
                <a:ea typeface="+mj-ea"/>
                <a:cs typeface="Segoe UI Light"/>
              </a:rPr>
              <a:t>The Role of Allocation Pages in Object Allocation</a:t>
            </a:r>
            <a:endParaRPr lang="en-US" sz="3600" spc="0" dirty="0">
              <a:ln>
                <a:noFill/>
              </a:ln>
              <a:solidFill>
                <a:srgbClr val="44546A"/>
              </a:solidFill>
              <a:ea typeface="+mj-ea"/>
              <a:cs typeface="Segoe UI Light"/>
            </a:endParaRPr>
          </a:p>
        </p:txBody>
      </p:sp>
      <p:graphicFrame>
        <p:nvGraphicFramePr>
          <p:cNvPr id="5" name="Content Placeholder 5"/>
          <p:cNvGraphicFramePr>
            <a:graphicFrameLocks/>
          </p:cNvGraphicFramePr>
          <p:nvPr>
            <p:extLst>
              <p:ext uri="{D42A27DB-BD31-4B8C-83A1-F6EECF244321}">
                <p14:modId xmlns:p14="http://schemas.microsoft.com/office/powerpoint/2010/main" val="927190097"/>
              </p:ext>
            </p:extLst>
          </p:nvPr>
        </p:nvGraphicFramePr>
        <p:xfrm>
          <a:off x="570653" y="889491"/>
          <a:ext cx="11050695" cy="551938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08737598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18096-EFAF-4F0A-9A03-DAA18150F937}"/>
              </a:ext>
            </a:extLst>
          </p:cNvPr>
          <p:cNvSpPr>
            <a:spLocks noGrp="1"/>
          </p:cNvSpPr>
          <p:nvPr>
            <p:ph type="title"/>
          </p:nvPr>
        </p:nvSpPr>
        <p:spPr/>
        <p:txBody>
          <a:bodyPr/>
          <a:lstStyle/>
          <a:p>
            <a:r>
              <a:rPr lang="en-US" dirty="0"/>
              <a:t>Allocation objects</a:t>
            </a:r>
          </a:p>
        </p:txBody>
      </p:sp>
      <p:graphicFrame>
        <p:nvGraphicFramePr>
          <p:cNvPr id="5" name="Content Placeholder 4">
            <a:extLst>
              <a:ext uri="{FF2B5EF4-FFF2-40B4-BE49-F238E27FC236}">
                <a16:creationId xmlns:a16="http://schemas.microsoft.com/office/drawing/2014/main" id="{FD07C3D9-32E8-4A8D-BBB5-CAF64E36BFD8}"/>
              </a:ext>
            </a:extLst>
          </p:cNvPr>
          <p:cNvGraphicFramePr>
            <a:graphicFrameLocks noGrp="1"/>
          </p:cNvGraphicFramePr>
          <p:nvPr>
            <p:ph sz="quarter" idx="13"/>
            <p:extLst>
              <p:ext uri="{D42A27DB-BD31-4B8C-83A1-F6EECF244321}">
                <p14:modId xmlns:p14="http://schemas.microsoft.com/office/powerpoint/2010/main" val="2818132564"/>
              </p:ext>
            </p:extLst>
          </p:nvPr>
        </p:nvGraphicFramePr>
        <p:xfrm>
          <a:off x="655638" y="1181100"/>
          <a:ext cx="10880725" cy="40138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a:extLst>
              <a:ext uri="{FF2B5EF4-FFF2-40B4-BE49-F238E27FC236}">
                <a16:creationId xmlns:a16="http://schemas.microsoft.com/office/drawing/2014/main" id="{AFCC59C7-4FAE-47C2-9722-E61138D159A7}"/>
              </a:ext>
            </a:extLst>
          </p:cNvPr>
          <p:cNvPicPr>
            <a:picLocks noChangeAspect="1"/>
          </p:cNvPicPr>
          <p:nvPr/>
        </p:nvPicPr>
        <p:blipFill>
          <a:blip r:embed="rId8"/>
          <a:stretch>
            <a:fillRect/>
          </a:stretch>
        </p:blipFill>
        <p:spPr>
          <a:xfrm>
            <a:off x="2805027" y="5415971"/>
            <a:ext cx="6783716" cy="1121989"/>
          </a:xfrm>
          <a:prstGeom prst="rect">
            <a:avLst/>
          </a:prstGeom>
        </p:spPr>
      </p:pic>
    </p:spTree>
    <p:extLst>
      <p:ext uri="{BB962C8B-B14F-4D97-AF65-F5344CB8AC3E}">
        <p14:creationId xmlns:p14="http://schemas.microsoft.com/office/powerpoint/2010/main" val="40193568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SQL Server Disk I/O</a:t>
            </a:r>
          </a:p>
        </p:txBody>
      </p:sp>
    </p:spTree>
    <p:extLst>
      <p:ext uri="{BB962C8B-B14F-4D97-AF65-F5344CB8AC3E}">
        <p14:creationId xmlns:p14="http://schemas.microsoft.com/office/powerpoint/2010/main" val="40837460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E61D67-A463-43BA-8449-EB2E0ACE2C31}"/>
              </a:ext>
            </a:extLst>
          </p:cNvPr>
          <p:cNvSpPr>
            <a:spLocks noGrp="1"/>
          </p:cNvSpPr>
          <p:nvPr>
            <p:ph type="title"/>
          </p:nvPr>
        </p:nvSpPr>
        <p:spPr/>
        <p:txBody>
          <a:bodyPr/>
          <a:lstStyle/>
          <a:p>
            <a:r>
              <a:rPr lang="en-US" dirty="0"/>
              <a:t>Database File page layout</a:t>
            </a:r>
          </a:p>
        </p:txBody>
      </p:sp>
      <p:graphicFrame>
        <p:nvGraphicFramePr>
          <p:cNvPr id="5" name="Table 4">
            <a:extLst>
              <a:ext uri="{FF2B5EF4-FFF2-40B4-BE49-F238E27FC236}">
                <a16:creationId xmlns:a16="http://schemas.microsoft.com/office/drawing/2014/main" id="{1C6A2CE6-B3C5-4112-8DF3-F608BD55F582}"/>
              </a:ext>
            </a:extLst>
          </p:cNvPr>
          <p:cNvGraphicFramePr>
            <a:graphicFrameLocks noGrp="1"/>
          </p:cNvGraphicFramePr>
          <p:nvPr>
            <p:extLst>
              <p:ext uri="{D42A27DB-BD31-4B8C-83A1-F6EECF244321}">
                <p14:modId xmlns:p14="http://schemas.microsoft.com/office/powerpoint/2010/main" val="3915708973"/>
              </p:ext>
            </p:extLst>
          </p:nvPr>
        </p:nvGraphicFramePr>
        <p:xfrm>
          <a:off x="1401310" y="1723012"/>
          <a:ext cx="2362200" cy="4079240"/>
        </p:xfrm>
        <a:graphic>
          <a:graphicData uri="http://schemas.openxmlformats.org/drawingml/2006/table">
            <a:tbl>
              <a:tblPr firstRow="1" bandRow="1"/>
              <a:tblGrid>
                <a:gridCol w="1066800">
                  <a:extLst>
                    <a:ext uri="{9D8B030D-6E8A-4147-A177-3AD203B41FA5}">
                      <a16:colId xmlns:a16="http://schemas.microsoft.com/office/drawing/2014/main" val="20000"/>
                    </a:ext>
                  </a:extLst>
                </a:gridCol>
                <a:gridCol w="1295400">
                  <a:extLst>
                    <a:ext uri="{9D8B030D-6E8A-4147-A177-3AD203B41FA5}">
                      <a16:colId xmlns:a16="http://schemas.microsoft.com/office/drawing/2014/main" val="20001"/>
                    </a:ext>
                  </a:extLst>
                </a:gridCol>
              </a:tblGrid>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0</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2</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3</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416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8088</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7416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511232</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511233</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6" name="Rounded Rectangle 72">
            <a:extLst>
              <a:ext uri="{FF2B5EF4-FFF2-40B4-BE49-F238E27FC236}">
                <a16:creationId xmlns:a16="http://schemas.microsoft.com/office/drawing/2014/main" id="{A28BFD51-2AC6-47C7-A73C-FA75CAE1A2BE}"/>
              </a:ext>
            </a:extLst>
          </p:cNvPr>
          <p:cNvSpPr/>
          <p:nvPr/>
        </p:nvSpPr>
        <p:spPr>
          <a:xfrm>
            <a:off x="2468111" y="2088150"/>
            <a:ext cx="1273629" cy="369332"/>
          </a:xfrm>
          <a:prstGeom prst="roundRect">
            <a:avLst/>
          </a:prstGeom>
          <a:solidFill>
            <a:srgbClr val="129038">
              <a:lumMod val="40000"/>
              <a:lumOff val="60000"/>
            </a:srgbClr>
          </a:solidFill>
          <a:ln w="25400" cap="flat" cmpd="sng" algn="ctr">
            <a:solidFill>
              <a:srgbClr val="129038"/>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7" name="TextBox 6">
            <a:extLst>
              <a:ext uri="{FF2B5EF4-FFF2-40B4-BE49-F238E27FC236}">
                <a16:creationId xmlns:a16="http://schemas.microsoft.com/office/drawing/2014/main" id="{CE46CDA2-3218-40AC-94A4-C0647161DE5E}"/>
              </a:ext>
            </a:extLst>
          </p:cNvPr>
          <p:cNvSpPr txBox="1"/>
          <p:nvPr/>
        </p:nvSpPr>
        <p:spPr>
          <a:xfrm>
            <a:off x="1401310" y="1321023"/>
            <a:ext cx="23622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MyDBFile1.mdf</a:t>
            </a:r>
          </a:p>
        </p:txBody>
      </p:sp>
      <p:sp>
        <p:nvSpPr>
          <p:cNvPr id="8" name="TextBox 7">
            <a:extLst>
              <a:ext uri="{FF2B5EF4-FFF2-40B4-BE49-F238E27FC236}">
                <a16:creationId xmlns:a16="http://schemas.microsoft.com/office/drawing/2014/main" id="{5D4C0554-ECE6-47D6-A8D2-F598B4F0AF0A}"/>
              </a:ext>
            </a:extLst>
          </p:cNvPr>
          <p:cNvSpPr txBox="1"/>
          <p:nvPr/>
        </p:nvSpPr>
        <p:spPr>
          <a:xfrm>
            <a:off x="2468110" y="1718818"/>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Header</a:t>
            </a:r>
          </a:p>
        </p:txBody>
      </p:sp>
      <p:sp>
        <p:nvSpPr>
          <p:cNvPr id="9" name="TextBox 8">
            <a:extLst>
              <a:ext uri="{FF2B5EF4-FFF2-40B4-BE49-F238E27FC236}">
                <a16:creationId xmlns:a16="http://schemas.microsoft.com/office/drawing/2014/main" id="{4B9938E2-B9E0-4512-8721-A1BF05EC5846}"/>
              </a:ext>
            </a:extLst>
          </p:cNvPr>
          <p:cNvSpPr txBox="1"/>
          <p:nvPr/>
        </p:nvSpPr>
        <p:spPr>
          <a:xfrm>
            <a:off x="2468110" y="2457482"/>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GAM</a:t>
            </a:r>
          </a:p>
        </p:txBody>
      </p:sp>
      <p:sp>
        <p:nvSpPr>
          <p:cNvPr id="10" name="TextBox 9">
            <a:extLst>
              <a:ext uri="{FF2B5EF4-FFF2-40B4-BE49-F238E27FC236}">
                <a16:creationId xmlns:a16="http://schemas.microsoft.com/office/drawing/2014/main" id="{B22F8EC4-2719-4049-89D2-302B50052F15}"/>
              </a:ext>
            </a:extLst>
          </p:cNvPr>
          <p:cNvSpPr txBox="1"/>
          <p:nvPr/>
        </p:nvSpPr>
        <p:spPr>
          <a:xfrm>
            <a:off x="2468110" y="2088150"/>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PFS</a:t>
            </a:r>
          </a:p>
        </p:txBody>
      </p:sp>
      <p:sp>
        <p:nvSpPr>
          <p:cNvPr id="11" name="TextBox 10">
            <a:extLst>
              <a:ext uri="{FF2B5EF4-FFF2-40B4-BE49-F238E27FC236}">
                <a16:creationId xmlns:a16="http://schemas.microsoft.com/office/drawing/2014/main" id="{4D49CB41-447D-4C48-994F-D342AB6F72EF}"/>
              </a:ext>
            </a:extLst>
          </p:cNvPr>
          <p:cNvSpPr txBox="1"/>
          <p:nvPr/>
        </p:nvSpPr>
        <p:spPr>
          <a:xfrm>
            <a:off x="2468110" y="2831941"/>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SGAM</a:t>
            </a:r>
          </a:p>
        </p:txBody>
      </p:sp>
      <p:sp>
        <p:nvSpPr>
          <p:cNvPr id="12" name="TextBox 11">
            <a:extLst>
              <a:ext uri="{FF2B5EF4-FFF2-40B4-BE49-F238E27FC236}">
                <a16:creationId xmlns:a16="http://schemas.microsoft.com/office/drawing/2014/main" id="{B0FECDD6-8553-41B3-BF35-AD48813C9BAA}"/>
              </a:ext>
            </a:extLst>
          </p:cNvPr>
          <p:cNvSpPr txBox="1"/>
          <p:nvPr/>
        </p:nvSpPr>
        <p:spPr>
          <a:xfrm>
            <a:off x="2468111" y="3227456"/>
            <a:ext cx="1273629" cy="646331"/>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IAM/Data /Index/etc.</a:t>
            </a:r>
          </a:p>
        </p:txBody>
      </p:sp>
      <p:sp>
        <p:nvSpPr>
          <p:cNvPr id="13" name="TextBox 12">
            <a:extLst>
              <a:ext uri="{FF2B5EF4-FFF2-40B4-BE49-F238E27FC236}">
                <a16:creationId xmlns:a16="http://schemas.microsoft.com/office/drawing/2014/main" id="{7B78F416-3286-411B-AA53-363CCCBBF0BD}"/>
              </a:ext>
            </a:extLst>
          </p:cNvPr>
          <p:cNvSpPr txBox="1"/>
          <p:nvPr/>
        </p:nvSpPr>
        <p:spPr>
          <a:xfrm>
            <a:off x="2468110" y="3923491"/>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PFS</a:t>
            </a:r>
          </a:p>
        </p:txBody>
      </p:sp>
      <p:sp>
        <p:nvSpPr>
          <p:cNvPr id="14" name="TextBox 13">
            <a:extLst>
              <a:ext uri="{FF2B5EF4-FFF2-40B4-BE49-F238E27FC236}">
                <a16:creationId xmlns:a16="http://schemas.microsoft.com/office/drawing/2014/main" id="{53C48E06-F927-45E9-BEB1-43324A860659}"/>
              </a:ext>
            </a:extLst>
          </p:cNvPr>
          <p:cNvSpPr txBox="1"/>
          <p:nvPr/>
        </p:nvSpPr>
        <p:spPr>
          <a:xfrm>
            <a:off x="2468111" y="4369024"/>
            <a:ext cx="1273629" cy="523220"/>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400" b="0" i="0" u="none" strike="noStrike" kern="0" cap="none" spc="0" normalizeH="0" baseline="0" noProof="0" dirty="0">
                <a:ln>
                  <a:noFill/>
                </a:ln>
                <a:solidFill>
                  <a:srgbClr val="000000"/>
                </a:solidFill>
                <a:effectLst/>
                <a:uLnTx/>
                <a:uFillTx/>
              </a:rPr>
              <a:t>IAM/Data /Index/others</a:t>
            </a:r>
          </a:p>
        </p:txBody>
      </p:sp>
      <p:sp>
        <p:nvSpPr>
          <p:cNvPr id="15" name="TextBox 14">
            <a:extLst>
              <a:ext uri="{FF2B5EF4-FFF2-40B4-BE49-F238E27FC236}">
                <a16:creationId xmlns:a16="http://schemas.microsoft.com/office/drawing/2014/main" id="{9886952C-36D4-43F6-851F-8D4DCF098EA3}"/>
              </a:ext>
            </a:extLst>
          </p:cNvPr>
          <p:cNvSpPr txBox="1"/>
          <p:nvPr/>
        </p:nvSpPr>
        <p:spPr>
          <a:xfrm>
            <a:off x="2457224" y="5066491"/>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GAM</a:t>
            </a:r>
          </a:p>
        </p:txBody>
      </p:sp>
      <p:sp>
        <p:nvSpPr>
          <p:cNvPr id="16" name="TextBox 15">
            <a:extLst>
              <a:ext uri="{FF2B5EF4-FFF2-40B4-BE49-F238E27FC236}">
                <a16:creationId xmlns:a16="http://schemas.microsoft.com/office/drawing/2014/main" id="{507280C5-6C11-4E62-9AF0-DAD2C83D1627}"/>
              </a:ext>
            </a:extLst>
          </p:cNvPr>
          <p:cNvSpPr txBox="1"/>
          <p:nvPr/>
        </p:nvSpPr>
        <p:spPr>
          <a:xfrm>
            <a:off x="2457224" y="5435823"/>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SGAM</a:t>
            </a:r>
          </a:p>
        </p:txBody>
      </p:sp>
      <p:sp>
        <p:nvSpPr>
          <p:cNvPr id="17" name="Right Brace 16">
            <a:extLst>
              <a:ext uri="{FF2B5EF4-FFF2-40B4-BE49-F238E27FC236}">
                <a16:creationId xmlns:a16="http://schemas.microsoft.com/office/drawing/2014/main" id="{1E05067F-F2A2-4F61-A8CB-718B2C413B5F}"/>
              </a:ext>
            </a:extLst>
          </p:cNvPr>
          <p:cNvSpPr/>
          <p:nvPr/>
        </p:nvSpPr>
        <p:spPr>
          <a:xfrm>
            <a:off x="3763510" y="2457483"/>
            <a:ext cx="457200" cy="1466009"/>
          </a:xfrm>
          <a:prstGeom prst="rightBrace">
            <a:avLst>
              <a:gd name="adj1" fmla="val 8333"/>
              <a:gd name="adj2" fmla="val 48020"/>
            </a:avLst>
          </a:prstGeom>
          <a:noFill/>
          <a:ln w="25400" cap="flat" cmpd="sng" algn="ctr">
            <a:solidFill>
              <a:srgbClr val="129038"/>
            </a:solidFill>
            <a:prstDash val="solid"/>
          </a:ln>
          <a:effectLst>
            <a:outerShdw blurRad="40000" dist="20000" dir="5400000" rotWithShape="0">
              <a:srgbClr val="000000">
                <a:alpha val="38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8" name="TextBox 17">
            <a:extLst>
              <a:ext uri="{FF2B5EF4-FFF2-40B4-BE49-F238E27FC236}">
                <a16:creationId xmlns:a16="http://schemas.microsoft.com/office/drawing/2014/main" id="{0889B0EA-1F5D-44C0-8A1B-F49E883396CC}"/>
              </a:ext>
            </a:extLst>
          </p:cNvPr>
          <p:cNvSpPr txBox="1"/>
          <p:nvPr/>
        </p:nvSpPr>
        <p:spPr>
          <a:xfrm>
            <a:off x="4220710" y="3016608"/>
            <a:ext cx="1905000" cy="646331"/>
          </a:xfrm>
          <a:prstGeom prst="rect">
            <a:avLst/>
          </a:prstGeom>
          <a:solidFill>
            <a:sysClr val="window" lastClr="FFFFFF"/>
          </a:solidFill>
          <a:ln w="25400" cap="flat" cmpd="sng" algn="ctr">
            <a:solidFill>
              <a:srgbClr val="129038"/>
            </a:solidFill>
            <a:prstDash val="solid"/>
          </a:ln>
          <a:effectLst/>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Page Free Space</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8,087 Pages</a:t>
            </a:r>
          </a:p>
        </p:txBody>
      </p:sp>
      <p:sp>
        <p:nvSpPr>
          <p:cNvPr id="19" name="Right Brace 18">
            <a:extLst>
              <a:ext uri="{FF2B5EF4-FFF2-40B4-BE49-F238E27FC236}">
                <a16:creationId xmlns:a16="http://schemas.microsoft.com/office/drawing/2014/main" id="{82B753F8-5D03-4C1C-BB58-85DDC76F72BF}"/>
              </a:ext>
            </a:extLst>
          </p:cNvPr>
          <p:cNvSpPr/>
          <p:nvPr/>
        </p:nvSpPr>
        <p:spPr>
          <a:xfrm>
            <a:off x="3763510" y="2817615"/>
            <a:ext cx="457200" cy="2248876"/>
          </a:xfrm>
          <a:prstGeom prst="rightBrace">
            <a:avLst>
              <a:gd name="adj1" fmla="val 8333"/>
              <a:gd name="adj2" fmla="val 48020"/>
            </a:avLst>
          </a:prstGeom>
          <a:noFill/>
          <a:ln w="25400" cap="flat" cmpd="sng" algn="ctr">
            <a:solidFill>
              <a:srgbClr val="15AEEF"/>
            </a:solidFill>
            <a:prstDash val="solid"/>
          </a:ln>
          <a:effectLst>
            <a:outerShdw blurRad="40000" dist="20000" dir="5400000" rotWithShape="0">
              <a:srgbClr val="000000">
                <a:alpha val="38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20" name="Right Brace 19">
            <a:extLst>
              <a:ext uri="{FF2B5EF4-FFF2-40B4-BE49-F238E27FC236}">
                <a16:creationId xmlns:a16="http://schemas.microsoft.com/office/drawing/2014/main" id="{D66C67C5-A15F-4184-875D-7D8631723D38}"/>
              </a:ext>
            </a:extLst>
          </p:cNvPr>
          <p:cNvSpPr/>
          <p:nvPr/>
        </p:nvSpPr>
        <p:spPr>
          <a:xfrm>
            <a:off x="3785281" y="3205919"/>
            <a:ext cx="457200" cy="2248876"/>
          </a:xfrm>
          <a:prstGeom prst="rightBrace">
            <a:avLst>
              <a:gd name="adj1" fmla="val 8333"/>
              <a:gd name="adj2" fmla="val 48020"/>
            </a:avLst>
          </a:prstGeom>
          <a:noFill/>
          <a:ln w="25400" cap="flat" cmpd="sng" algn="ctr">
            <a:solidFill>
              <a:srgbClr val="0E715F"/>
            </a:solidFill>
            <a:prstDash val="solid"/>
          </a:ln>
          <a:effectLst>
            <a:outerShdw blurRad="40000" dist="20000" dir="5400000" rotWithShape="0">
              <a:srgbClr val="000000">
                <a:alpha val="38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graphicFrame>
        <p:nvGraphicFramePr>
          <p:cNvPr id="21" name="Table 20">
            <a:extLst>
              <a:ext uri="{FF2B5EF4-FFF2-40B4-BE49-F238E27FC236}">
                <a16:creationId xmlns:a16="http://schemas.microsoft.com/office/drawing/2014/main" id="{E60390AE-1BC0-4F62-986C-B0D028F3A489}"/>
              </a:ext>
            </a:extLst>
          </p:cNvPr>
          <p:cNvGraphicFramePr>
            <a:graphicFrameLocks noGrp="1"/>
          </p:cNvGraphicFramePr>
          <p:nvPr>
            <p:extLst>
              <p:ext uri="{D42A27DB-BD31-4B8C-83A1-F6EECF244321}">
                <p14:modId xmlns:p14="http://schemas.microsoft.com/office/powerpoint/2010/main" val="3464366556"/>
              </p:ext>
            </p:extLst>
          </p:nvPr>
        </p:nvGraphicFramePr>
        <p:xfrm>
          <a:off x="7971291" y="1543538"/>
          <a:ext cx="2362200" cy="4424680"/>
        </p:xfrm>
        <a:graphic>
          <a:graphicData uri="http://schemas.openxmlformats.org/drawingml/2006/table">
            <a:tbl>
              <a:tblPr firstRow="1" bandRow="1"/>
              <a:tblGrid>
                <a:gridCol w="1066800">
                  <a:extLst>
                    <a:ext uri="{9D8B030D-6E8A-4147-A177-3AD203B41FA5}">
                      <a16:colId xmlns:a16="http://schemas.microsoft.com/office/drawing/2014/main" val="20000"/>
                    </a:ext>
                  </a:extLst>
                </a:gridCol>
                <a:gridCol w="1295400">
                  <a:extLst>
                    <a:ext uri="{9D8B030D-6E8A-4147-A177-3AD203B41FA5}">
                      <a16:colId xmlns:a16="http://schemas.microsoft.com/office/drawing/2014/main" val="20001"/>
                    </a:ext>
                  </a:extLst>
                </a:gridCol>
              </a:tblGrid>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0</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2</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GAM</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3</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SGAM</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416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IAM/Data /Index/other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8088</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7416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IAM/Data /Index/other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511232</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GAM</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511233</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SGAM</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22" name="TextBox 21">
            <a:extLst>
              <a:ext uri="{FF2B5EF4-FFF2-40B4-BE49-F238E27FC236}">
                <a16:creationId xmlns:a16="http://schemas.microsoft.com/office/drawing/2014/main" id="{C0CC01CE-D736-4B12-905D-DBF78C7882A8}"/>
              </a:ext>
            </a:extLst>
          </p:cNvPr>
          <p:cNvSpPr txBox="1"/>
          <p:nvPr/>
        </p:nvSpPr>
        <p:spPr>
          <a:xfrm>
            <a:off x="7971291" y="1156454"/>
            <a:ext cx="23622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MyDBFile2.ndf</a:t>
            </a:r>
          </a:p>
        </p:txBody>
      </p:sp>
      <p:sp>
        <p:nvSpPr>
          <p:cNvPr id="23" name="TextBox 22">
            <a:extLst>
              <a:ext uri="{FF2B5EF4-FFF2-40B4-BE49-F238E27FC236}">
                <a16:creationId xmlns:a16="http://schemas.microsoft.com/office/drawing/2014/main" id="{523ABDFA-4E0E-44DD-83C5-F65B6D34CB04}"/>
              </a:ext>
            </a:extLst>
          </p:cNvPr>
          <p:cNvSpPr txBox="1"/>
          <p:nvPr/>
        </p:nvSpPr>
        <p:spPr>
          <a:xfrm>
            <a:off x="4220710" y="3668053"/>
            <a:ext cx="2438400" cy="923330"/>
          </a:xfrm>
          <a:prstGeom prst="rect">
            <a:avLst/>
          </a:prstGeom>
          <a:solidFill>
            <a:sysClr val="window" lastClr="FFFFFF"/>
          </a:solidFill>
          <a:ln w="25400" cap="flat" cmpd="sng" algn="ctr">
            <a:solidFill>
              <a:srgbClr val="15AEEF"/>
            </a:solidFill>
            <a:prstDash val="solid"/>
          </a:ln>
          <a:effectLst/>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Global Allocation Map</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Uniform Extents</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63,904 Extents</a:t>
            </a:r>
          </a:p>
        </p:txBody>
      </p:sp>
      <p:sp>
        <p:nvSpPr>
          <p:cNvPr id="24" name="TextBox 23">
            <a:extLst>
              <a:ext uri="{FF2B5EF4-FFF2-40B4-BE49-F238E27FC236}">
                <a16:creationId xmlns:a16="http://schemas.microsoft.com/office/drawing/2014/main" id="{34741F57-93FC-4537-8A09-20EC5A1C7332}"/>
              </a:ext>
            </a:extLst>
          </p:cNvPr>
          <p:cNvSpPr txBox="1"/>
          <p:nvPr/>
        </p:nvSpPr>
        <p:spPr>
          <a:xfrm>
            <a:off x="4242481" y="4056358"/>
            <a:ext cx="2438400" cy="1200329"/>
          </a:xfrm>
          <a:prstGeom prst="rect">
            <a:avLst/>
          </a:prstGeom>
          <a:solidFill>
            <a:sysClr val="window" lastClr="FFFFFF"/>
          </a:solidFill>
          <a:ln w="25400" cap="flat" cmpd="sng" algn="ctr">
            <a:solidFill>
              <a:srgbClr val="0E715F"/>
            </a:solidFill>
            <a:prstDash val="solid"/>
          </a:ln>
          <a:effectLst/>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Shared Global Allocation Map</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Mixed Extents</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63,904 Extents</a:t>
            </a:r>
          </a:p>
        </p:txBody>
      </p:sp>
      <p:sp>
        <p:nvSpPr>
          <p:cNvPr id="25" name="Rectangle 24">
            <a:extLst>
              <a:ext uri="{FF2B5EF4-FFF2-40B4-BE49-F238E27FC236}">
                <a16:creationId xmlns:a16="http://schemas.microsoft.com/office/drawing/2014/main" id="{A3E2592D-CBBC-45FD-94E8-D632116DB080}"/>
              </a:ext>
            </a:extLst>
          </p:cNvPr>
          <p:cNvSpPr/>
          <p:nvPr/>
        </p:nvSpPr>
        <p:spPr>
          <a:xfrm>
            <a:off x="4547281" y="953533"/>
            <a:ext cx="2133600" cy="928457"/>
          </a:xfrm>
          <a:prstGeom prst="rect">
            <a:avLst/>
          </a:prstGeom>
          <a:solidFill>
            <a:sysClr val="window" lastClr="FFFFFF"/>
          </a:solidFill>
          <a:ln w="25400" cap="flat" cmpd="sng" algn="ctr">
            <a:solidFill>
              <a:srgbClr val="129038"/>
            </a:solid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Page Address is</a:t>
            </a:r>
          </a:p>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DBID:FileID:Page#</a:t>
            </a:r>
          </a:p>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5:1:1</a:t>
            </a:r>
          </a:p>
        </p:txBody>
      </p:sp>
      <p:cxnSp>
        <p:nvCxnSpPr>
          <p:cNvPr id="26" name="Straight Arrow Connector 25">
            <a:extLst>
              <a:ext uri="{FF2B5EF4-FFF2-40B4-BE49-F238E27FC236}">
                <a16:creationId xmlns:a16="http://schemas.microsoft.com/office/drawing/2014/main" id="{3BEF68C5-82B0-43EE-9C13-8DDF8E7F84B7}"/>
              </a:ext>
            </a:extLst>
          </p:cNvPr>
          <p:cNvCxnSpPr>
            <a:stCxn id="10" idx="3"/>
            <a:endCxn id="25" idx="1"/>
          </p:cNvCxnSpPr>
          <p:nvPr/>
        </p:nvCxnSpPr>
        <p:spPr>
          <a:xfrm flipV="1">
            <a:off x="3763510" y="1417762"/>
            <a:ext cx="783771" cy="855054"/>
          </a:xfrm>
          <a:prstGeom prst="straightConnector1">
            <a:avLst/>
          </a:prstGeom>
          <a:noFill/>
          <a:ln w="25400" cap="flat" cmpd="sng" algn="ctr">
            <a:solidFill>
              <a:srgbClr val="0C6126"/>
            </a:solidFill>
            <a:prstDash val="solid"/>
            <a:tailEnd type="arrow"/>
          </a:ln>
          <a:effectLst>
            <a:outerShdw blurRad="40000" dist="20000" dir="5400000" rotWithShape="0">
              <a:srgbClr val="000000">
                <a:alpha val="38000"/>
              </a:srgbClr>
            </a:outerShdw>
          </a:effectLst>
        </p:spPr>
      </p:cxnSp>
    </p:spTree>
    <p:extLst>
      <p:ext uri="{BB962C8B-B14F-4D97-AF65-F5344CB8AC3E}">
        <p14:creationId xmlns:p14="http://schemas.microsoft.com/office/powerpoint/2010/main" val="291468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500" fill="hold"/>
                                        <p:tgtEl>
                                          <p:spTgt spid="10"/>
                                        </p:tgtEl>
                                        <p:attrNameLst>
                                          <p:attrName>ppt_x</p:attrName>
                                        </p:attrNameLst>
                                      </p:cBhvr>
                                      <p:tavLst>
                                        <p:tav tm="0">
                                          <p:val>
                                            <p:strVal val="1+#ppt_w/2"/>
                                          </p:val>
                                        </p:tav>
                                        <p:tav tm="100000">
                                          <p:val>
                                            <p:strVal val="#ppt_x"/>
                                          </p:val>
                                        </p:tav>
                                      </p:tavLst>
                                    </p:anim>
                                    <p:anim calcmode="lin" valueType="num">
                                      <p:cBhvr additive="base">
                                        <p:cTn id="14"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ntr" presetSubtype="1"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anim calcmode="lin" valueType="num">
                                      <p:cBhvr additive="base">
                                        <p:cTn id="27" dur="500" fill="hold"/>
                                        <p:tgtEl>
                                          <p:spTgt spid="17"/>
                                        </p:tgtEl>
                                        <p:attrNameLst>
                                          <p:attrName>ppt_x</p:attrName>
                                        </p:attrNameLst>
                                      </p:cBhvr>
                                      <p:tavLst>
                                        <p:tav tm="0">
                                          <p:val>
                                            <p:strVal val="#ppt_x"/>
                                          </p:val>
                                        </p:tav>
                                        <p:tav tm="100000">
                                          <p:val>
                                            <p:strVal val="#ppt_x"/>
                                          </p:val>
                                        </p:tav>
                                      </p:tavLst>
                                    </p:anim>
                                    <p:anim calcmode="lin" valueType="num">
                                      <p:cBhvr additive="base">
                                        <p:cTn id="28" dur="500" fill="hold"/>
                                        <p:tgtEl>
                                          <p:spTgt spid="17"/>
                                        </p:tgtEl>
                                        <p:attrNameLst>
                                          <p:attrName>ppt_y</p:attrName>
                                        </p:attrNameLst>
                                      </p:cBhvr>
                                      <p:tavLst>
                                        <p:tav tm="0">
                                          <p:val>
                                            <p:strVal val="0-#ppt_h/2"/>
                                          </p:val>
                                        </p:tav>
                                        <p:tav tm="100000">
                                          <p:val>
                                            <p:strVal val="#ppt_y"/>
                                          </p:val>
                                        </p:tav>
                                      </p:tavLst>
                                    </p:anim>
                                  </p:childTnLst>
                                </p:cTn>
                              </p:par>
                              <p:par>
                                <p:cTn id="29" presetID="2" presetClass="entr" presetSubtype="1" fill="hold" grpId="0" nodeType="with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500" fill="hold"/>
                                        <p:tgtEl>
                                          <p:spTgt spid="18"/>
                                        </p:tgtEl>
                                        <p:attrNameLst>
                                          <p:attrName>ppt_x</p:attrName>
                                        </p:attrNameLst>
                                      </p:cBhvr>
                                      <p:tavLst>
                                        <p:tav tm="0">
                                          <p:val>
                                            <p:strVal val="#ppt_x"/>
                                          </p:val>
                                        </p:tav>
                                        <p:tav tm="100000">
                                          <p:val>
                                            <p:strVal val="#ppt_x"/>
                                          </p:val>
                                        </p:tav>
                                      </p:tavLst>
                                    </p:anim>
                                    <p:anim calcmode="lin" valueType="num">
                                      <p:cBhvr additive="base">
                                        <p:cTn id="32" dur="500" fill="hold"/>
                                        <p:tgtEl>
                                          <p:spTgt spid="18"/>
                                        </p:tgtEl>
                                        <p:attrNameLst>
                                          <p:attrName>ppt_y</p:attrName>
                                        </p:attrNameLst>
                                      </p:cBhvr>
                                      <p:tavLst>
                                        <p:tav tm="0">
                                          <p:val>
                                            <p:strVal val="0-#ppt_h/2"/>
                                          </p:val>
                                        </p:tav>
                                        <p:tav tm="100000">
                                          <p:val>
                                            <p:strVal val="#ppt_y"/>
                                          </p:val>
                                        </p:tav>
                                      </p:tavLst>
                                    </p:anim>
                                  </p:childTnLst>
                                </p:cTn>
                              </p:par>
                              <p:par>
                                <p:cTn id="33" presetID="1" presetClass="exit" presetSubtype="0" fill="hold" grpId="1" nodeType="withEffect">
                                  <p:stCondLst>
                                    <p:cond delay="0"/>
                                  </p:stCondLst>
                                  <p:childTnLst>
                                    <p:set>
                                      <p:cBhvr>
                                        <p:cTn id="34" dur="1" fill="hold">
                                          <p:stCondLst>
                                            <p:cond delay="0"/>
                                          </p:stCondLst>
                                        </p:cTn>
                                        <p:tgtEl>
                                          <p:spTgt spid="6"/>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26"/>
                                        </p:tgtEl>
                                        <p:attrNameLst>
                                          <p:attrName>style.visibility</p:attrName>
                                        </p:attrNameLst>
                                      </p:cBhvr>
                                      <p:to>
                                        <p:strVal val="hidden"/>
                                      </p:to>
                                    </p:set>
                                  </p:childTnLst>
                                </p:cTn>
                              </p:par>
                              <p:par>
                                <p:cTn id="37" presetID="1" presetClass="exit" presetSubtype="0" fill="hold" grpId="1" nodeType="withEffect">
                                  <p:stCondLst>
                                    <p:cond delay="0"/>
                                  </p:stCondLst>
                                  <p:childTnLst>
                                    <p:set>
                                      <p:cBhvr>
                                        <p:cTn id="38" dur="1" fill="hold">
                                          <p:stCondLst>
                                            <p:cond delay="0"/>
                                          </p:stCondLst>
                                        </p:cTn>
                                        <p:tgtEl>
                                          <p:spTgt spid="25"/>
                                        </p:tgtEl>
                                        <p:attrNameLst>
                                          <p:attrName>style.visibility</p:attrName>
                                        </p:attrNameLst>
                                      </p:cBhvr>
                                      <p:to>
                                        <p:strVal val="hidden"/>
                                      </p:to>
                                    </p:set>
                                  </p:childTnLst>
                                </p:cTn>
                              </p:par>
                            </p:childTnLst>
                          </p:cTn>
                        </p:par>
                      </p:childTnLst>
                    </p:cTn>
                  </p:par>
                  <p:par>
                    <p:cTn id="39" fill="hold">
                      <p:stCondLst>
                        <p:cond delay="indefinite"/>
                      </p:stCondLst>
                      <p:childTnLst>
                        <p:par>
                          <p:cTn id="40" fill="hold">
                            <p:stCondLst>
                              <p:cond delay="0"/>
                            </p:stCondLst>
                            <p:childTnLst>
                              <p:par>
                                <p:cTn id="41" presetID="2" presetClass="entr" presetSubtype="2" fill="hold" grpId="0" nodeType="clickEffect">
                                  <p:stCondLst>
                                    <p:cond delay="0"/>
                                  </p:stCondLst>
                                  <p:childTnLst>
                                    <p:set>
                                      <p:cBhvr>
                                        <p:cTn id="42" dur="1" fill="hold">
                                          <p:stCondLst>
                                            <p:cond delay="0"/>
                                          </p:stCondLst>
                                        </p:cTn>
                                        <p:tgtEl>
                                          <p:spTgt spid="13"/>
                                        </p:tgtEl>
                                        <p:attrNameLst>
                                          <p:attrName>style.visibility</p:attrName>
                                        </p:attrNameLst>
                                      </p:cBhvr>
                                      <p:to>
                                        <p:strVal val="visible"/>
                                      </p:to>
                                    </p:set>
                                    <p:anim calcmode="lin" valueType="num">
                                      <p:cBhvr additive="base">
                                        <p:cTn id="43" dur="500" fill="hold"/>
                                        <p:tgtEl>
                                          <p:spTgt spid="13"/>
                                        </p:tgtEl>
                                        <p:attrNameLst>
                                          <p:attrName>ppt_x</p:attrName>
                                        </p:attrNameLst>
                                      </p:cBhvr>
                                      <p:tavLst>
                                        <p:tav tm="0">
                                          <p:val>
                                            <p:strVal val="1+#ppt_w/2"/>
                                          </p:val>
                                        </p:tav>
                                        <p:tav tm="100000">
                                          <p:val>
                                            <p:strVal val="#ppt_x"/>
                                          </p:val>
                                        </p:tav>
                                      </p:tavLst>
                                    </p:anim>
                                    <p:anim calcmode="lin" valueType="num">
                                      <p:cBhvr additive="base">
                                        <p:cTn id="44" dur="50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2" fill="hold" grpId="0" nodeType="clickEffect">
                                  <p:stCondLst>
                                    <p:cond delay="0"/>
                                  </p:stCondLst>
                                  <p:childTnLst>
                                    <p:set>
                                      <p:cBhvr>
                                        <p:cTn id="48" dur="1" fill="hold">
                                          <p:stCondLst>
                                            <p:cond delay="0"/>
                                          </p:stCondLst>
                                        </p:cTn>
                                        <p:tgtEl>
                                          <p:spTgt spid="9"/>
                                        </p:tgtEl>
                                        <p:attrNameLst>
                                          <p:attrName>style.visibility</p:attrName>
                                        </p:attrNameLst>
                                      </p:cBhvr>
                                      <p:to>
                                        <p:strVal val="visible"/>
                                      </p:to>
                                    </p:set>
                                    <p:anim calcmode="lin" valueType="num">
                                      <p:cBhvr additive="base">
                                        <p:cTn id="49" dur="500" fill="hold"/>
                                        <p:tgtEl>
                                          <p:spTgt spid="9"/>
                                        </p:tgtEl>
                                        <p:attrNameLst>
                                          <p:attrName>ppt_x</p:attrName>
                                        </p:attrNameLst>
                                      </p:cBhvr>
                                      <p:tavLst>
                                        <p:tav tm="0">
                                          <p:val>
                                            <p:strVal val="1+#ppt_w/2"/>
                                          </p:val>
                                        </p:tav>
                                        <p:tav tm="100000">
                                          <p:val>
                                            <p:strVal val="#ppt_x"/>
                                          </p:val>
                                        </p:tav>
                                      </p:tavLst>
                                    </p:anim>
                                    <p:anim calcmode="lin" valueType="num">
                                      <p:cBhvr additive="base">
                                        <p:cTn id="50" dur="500" fill="hold"/>
                                        <p:tgtEl>
                                          <p:spTgt spid="9"/>
                                        </p:tgtEl>
                                        <p:attrNameLst>
                                          <p:attrName>ppt_y</p:attrName>
                                        </p:attrNameLst>
                                      </p:cBhvr>
                                      <p:tavLst>
                                        <p:tav tm="0">
                                          <p:val>
                                            <p:strVal val="#ppt_y"/>
                                          </p:val>
                                        </p:tav>
                                        <p:tav tm="100000">
                                          <p:val>
                                            <p:strVal val="#ppt_y"/>
                                          </p:val>
                                        </p:tav>
                                      </p:tavLst>
                                    </p:anim>
                                  </p:childTnLst>
                                </p:cTn>
                              </p:par>
                              <p:par>
                                <p:cTn id="51" presetID="1" presetClass="exit" presetSubtype="0" fill="hold" grpId="1" nodeType="withEffect">
                                  <p:stCondLst>
                                    <p:cond delay="0"/>
                                  </p:stCondLst>
                                  <p:childTnLst>
                                    <p:set>
                                      <p:cBhvr>
                                        <p:cTn id="52" dur="1" fill="hold">
                                          <p:stCondLst>
                                            <p:cond delay="0"/>
                                          </p:stCondLst>
                                        </p:cTn>
                                        <p:tgtEl>
                                          <p:spTgt spid="17"/>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18"/>
                                        </p:tgtEl>
                                        <p:attrNameLst>
                                          <p:attrName>style.visibility</p:attrName>
                                        </p:attrNameLst>
                                      </p:cBhvr>
                                      <p:to>
                                        <p:strVal val="hidden"/>
                                      </p:to>
                                    </p:set>
                                  </p:childTnLst>
                                </p:cTn>
                              </p:par>
                            </p:childTnLst>
                          </p:cTn>
                        </p:par>
                      </p:childTnLst>
                    </p:cTn>
                  </p:par>
                  <p:par>
                    <p:cTn id="55" fill="hold">
                      <p:stCondLst>
                        <p:cond delay="indefinite"/>
                      </p:stCondLst>
                      <p:childTnLst>
                        <p:par>
                          <p:cTn id="56" fill="hold">
                            <p:stCondLst>
                              <p:cond delay="0"/>
                            </p:stCondLst>
                            <p:childTnLst>
                              <p:par>
                                <p:cTn id="57" presetID="2" presetClass="entr" presetSubtype="1" fill="hold" grpId="0" nodeType="clickEffect">
                                  <p:stCondLst>
                                    <p:cond delay="0"/>
                                  </p:stCondLst>
                                  <p:childTnLst>
                                    <p:set>
                                      <p:cBhvr>
                                        <p:cTn id="58" dur="1" fill="hold">
                                          <p:stCondLst>
                                            <p:cond delay="0"/>
                                          </p:stCondLst>
                                        </p:cTn>
                                        <p:tgtEl>
                                          <p:spTgt spid="23"/>
                                        </p:tgtEl>
                                        <p:attrNameLst>
                                          <p:attrName>style.visibility</p:attrName>
                                        </p:attrNameLst>
                                      </p:cBhvr>
                                      <p:to>
                                        <p:strVal val="visible"/>
                                      </p:to>
                                    </p:set>
                                    <p:anim calcmode="lin" valueType="num">
                                      <p:cBhvr additive="base">
                                        <p:cTn id="59" dur="500" fill="hold"/>
                                        <p:tgtEl>
                                          <p:spTgt spid="23"/>
                                        </p:tgtEl>
                                        <p:attrNameLst>
                                          <p:attrName>ppt_x</p:attrName>
                                        </p:attrNameLst>
                                      </p:cBhvr>
                                      <p:tavLst>
                                        <p:tav tm="0">
                                          <p:val>
                                            <p:strVal val="#ppt_x"/>
                                          </p:val>
                                        </p:tav>
                                        <p:tav tm="100000">
                                          <p:val>
                                            <p:strVal val="#ppt_x"/>
                                          </p:val>
                                        </p:tav>
                                      </p:tavLst>
                                    </p:anim>
                                    <p:anim calcmode="lin" valueType="num">
                                      <p:cBhvr additive="base">
                                        <p:cTn id="60" dur="500" fill="hold"/>
                                        <p:tgtEl>
                                          <p:spTgt spid="23"/>
                                        </p:tgtEl>
                                        <p:attrNameLst>
                                          <p:attrName>ppt_y</p:attrName>
                                        </p:attrNameLst>
                                      </p:cBhvr>
                                      <p:tavLst>
                                        <p:tav tm="0">
                                          <p:val>
                                            <p:strVal val="0-#ppt_h/2"/>
                                          </p:val>
                                        </p:tav>
                                        <p:tav tm="100000">
                                          <p:val>
                                            <p:strVal val="#ppt_y"/>
                                          </p:val>
                                        </p:tav>
                                      </p:tavLst>
                                    </p:anim>
                                  </p:childTnLst>
                                </p:cTn>
                              </p:par>
                              <p:par>
                                <p:cTn id="61" presetID="2" presetClass="entr" presetSubtype="1" fill="hold" grpId="0" nodeType="withEffect">
                                  <p:stCondLst>
                                    <p:cond delay="0"/>
                                  </p:stCondLst>
                                  <p:childTnLst>
                                    <p:set>
                                      <p:cBhvr>
                                        <p:cTn id="62" dur="1" fill="hold">
                                          <p:stCondLst>
                                            <p:cond delay="0"/>
                                          </p:stCondLst>
                                        </p:cTn>
                                        <p:tgtEl>
                                          <p:spTgt spid="19"/>
                                        </p:tgtEl>
                                        <p:attrNameLst>
                                          <p:attrName>style.visibility</p:attrName>
                                        </p:attrNameLst>
                                      </p:cBhvr>
                                      <p:to>
                                        <p:strVal val="visible"/>
                                      </p:to>
                                    </p:set>
                                    <p:anim calcmode="lin" valueType="num">
                                      <p:cBhvr additive="base">
                                        <p:cTn id="63" dur="500" fill="hold"/>
                                        <p:tgtEl>
                                          <p:spTgt spid="19"/>
                                        </p:tgtEl>
                                        <p:attrNameLst>
                                          <p:attrName>ppt_x</p:attrName>
                                        </p:attrNameLst>
                                      </p:cBhvr>
                                      <p:tavLst>
                                        <p:tav tm="0">
                                          <p:val>
                                            <p:strVal val="#ppt_x"/>
                                          </p:val>
                                        </p:tav>
                                        <p:tav tm="100000">
                                          <p:val>
                                            <p:strVal val="#ppt_x"/>
                                          </p:val>
                                        </p:tav>
                                      </p:tavLst>
                                    </p:anim>
                                    <p:anim calcmode="lin" valueType="num">
                                      <p:cBhvr additive="base">
                                        <p:cTn id="64" dur="500" fill="hold"/>
                                        <p:tgtEl>
                                          <p:spTgt spid="19"/>
                                        </p:tgtEl>
                                        <p:attrNameLst>
                                          <p:attrName>ppt_y</p:attrName>
                                        </p:attrNameLst>
                                      </p:cBhvr>
                                      <p:tavLst>
                                        <p:tav tm="0">
                                          <p:val>
                                            <p:strVal val="0-#ppt_h/2"/>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2" presetClass="entr" presetSubtype="2" fill="hold" grpId="0" nodeType="clickEffect">
                                  <p:stCondLst>
                                    <p:cond delay="0"/>
                                  </p:stCondLst>
                                  <p:childTnLst>
                                    <p:set>
                                      <p:cBhvr>
                                        <p:cTn id="68" dur="1" fill="hold">
                                          <p:stCondLst>
                                            <p:cond delay="0"/>
                                          </p:stCondLst>
                                        </p:cTn>
                                        <p:tgtEl>
                                          <p:spTgt spid="15"/>
                                        </p:tgtEl>
                                        <p:attrNameLst>
                                          <p:attrName>style.visibility</p:attrName>
                                        </p:attrNameLst>
                                      </p:cBhvr>
                                      <p:to>
                                        <p:strVal val="visible"/>
                                      </p:to>
                                    </p:set>
                                    <p:anim calcmode="lin" valueType="num">
                                      <p:cBhvr additive="base">
                                        <p:cTn id="69" dur="500" fill="hold"/>
                                        <p:tgtEl>
                                          <p:spTgt spid="15"/>
                                        </p:tgtEl>
                                        <p:attrNameLst>
                                          <p:attrName>ppt_x</p:attrName>
                                        </p:attrNameLst>
                                      </p:cBhvr>
                                      <p:tavLst>
                                        <p:tav tm="0">
                                          <p:val>
                                            <p:strVal val="1+#ppt_w/2"/>
                                          </p:val>
                                        </p:tav>
                                        <p:tav tm="100000">
                                          <p:val>
                                            <p:strVal val="#ppt_x"/>
                                          </p:val>
                                        </p:tav>
                                      </p:tavLst>
                                    </p:anim>
                                    <p:anim calcmode="lin" valueType="num">
                                      <p:cBhvr additive="base">
                                        <p:cTn id="70" dur="5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2" presetClass="entr" presetSubtype="2" fill="hold" grpId="0" nodeType="clickEffect">
                                  <p:stCondLst>
                                    <p:cond delay="0"/>
                                  </p:stCondLst>
                                  <p:childTnLst>
                                    <p:set>
                                      <p:cBhvr>
                                        <p:cTn id="74" dur="1" fill="hold">
                                          <p:stCondLst>
                                            <p:cond delay="0"/>
                                          </p:stCondLst>
                                        </p:cTn>
                                        <p:tgtEl>
                                          <p:spTgt spid="11"/>
                                        </p:tgtEl>
                                        <p:attrNameLst>
                                          <p:attrName>style.visibility</p:attrName>
                                        </p:attrNameLst>
                                      </p:cBhvr>
                                      <p:to>
                                        <p:strVal val="visible"/>
                                      </p:to>
                                    </p:set>
                                    <p:anim calcmode="lin" valueType="num">
                                      <p:cBhvr additive="base">
                                        <p:cTn id="75" dur="500" fill="hold"/>
                                        <p:tgtEl>
                                          <p:spTgt spid="11"/>
                                        </p:tgtEl>
                                        <p:attrNameLst>
                                          <p:attrName>ppt_x</p:attrName>
                                        </p:attrNameLst>
                                      </p:cBhvr>
                                      <p:tavLst>
                                        <p:tav tm="0">
                                          <p:val>
                                            <p:strVal val="1+#ppt_w/2"/>
                                          </p:val>
                                        </p:tav>
                                        <p:tav tm="100000">
                                          <p:val>
                                            <p:strVal val="#ppt_x"/>
                                          </p:val>
                                        </p:tav>
                                      </p:tavLst>
                                    </p:anim>
                                    <p:anim calcmode="lin" valueType="num">
                                      <p:cBhvr additive="base">
                                        <p:cTn id="76" dur="500" fill="hold"/>
                                        <p:tgtEl>
                                          <p:spTgt spid="11"/>
                                        </p:tgtEl>
                                        <p:attrNameLst>
                                          <p:attrName>ppt_y</p:attrName>
                                        </p:attrNameLst>
                                      </p:cBhvr>
                                      <p:tavLst>
                                        <p:tav tm="0">
                                          <p:val>
                                            <p:strVal val="#ppt_y"/>
                                          </p:val>
                                        </p:tav>
                                        <p:tav tm="100000">
                                          <p:val>
                                            <p:strVal val="#ppt_y"/>
                                          </p:val>
                                        </p:tav>
                                      </p:tavLst>
                                    </p:anim>
                                  </p:childTnLst>
                                </p:cTn>
                              </p:par>
                              <p:par>
                                <p:cTn id="77" presetID="1" presetClass="exit" presetSubtype="0" fill="hold" grpId="1" nodeType="withEffect">
                                  <p:stCondLst>
                                    <p:cond delay="0"/>
                                  </p:stCondLst>
                                  <p:childTnLst>
                                    <p:set>
                                      <p:cBhvr>
                                        <p:cTn id="78" dur="1" fill="hold">
                                          <p:stCondLst>
                                            <p:cond delay="0"/>
                                          </p:stCondLst>
                                        </p:cTn>
                                        <p:tgtEl>
                                          <p:spTgt spid="23"/>
                                        </p:tgtEl>
                                        <p:attrNameLst>
                                          <p:attrName>style.visibility</p:attrName>
                                        </p:attrNameLst>
                                      </p:cBhvr>
                                      <p:to>
                                        <p:strVal val="hidden"/>
                                      </p:to>
                                    </p:set>
                                  </p:childTnLst>
                                </p:cTn>
                              </p:par>
                              <p:par>
                                <p:cTn id="79" presetID="1" presetClass="exit" presetSubtype="0" fill="hold" grpId="1" nodeType="withEffect">
                                  <p:stCondLst>
                                    <p:cond delay="0"/>
                                  </p:stCondLst>
                                  <p:childTnLst>
                                    <p:set>
                                      <p:cBhvr>
                                        <p:cTn id="80" dur="1" fill="hold">
                                          <p:stCondLst>
                                            <p:cond delay="0"/>
                                          </p:stCondLst>
                                        </p:cTn>
                                        <p:tgtEl>
                                          <p:spTgt spid="19"/>
                                        </p:tgtEl>
                                        <p:attrNameLst>
                                          <p:attrName>style.visibility</p:attrName>
                                        </p:attrNameLst>
                                      </p:cBhvr>
                                      <p:to>
                                        <p:strVal val="hidden"/>
                                      </p:to>
                                    </p:set>
                                  </p:childTnLst>
                                </p:cTn>
                              </p:par>
                            </p:childTnLst>
                          </p:cTn>
                        </p:par>
                      </p:childTnLst>
                    </p:cTn>
                  </p:par>
                  <p:par>
                    <p:cTn id="81" fill="hold">
                      <p:stCondLst>
                        <p:cond delay="indefinite"/>
                      </p:stCondLst>
                      <p:childTnLst>
                        <p:par>
                          <p:cTn id="82" fill="hold">
                            <p:stCondLst>
                              <p:cond delay="0"/>
                            </p:stCondLst>
                            <p:childTnLst>
                              <p:par>
                                <p:cTn id="83" presetID="2" presetClass="entr" presetSubtype="1" fill="hold" grpId="0" nodeType="clickEffect">
                                  <p:stCondLst>
                                    <p:cond delay="0"/>
                                  </p:stCondLst>
                                  <p:childTnLst>
                                    <p:set>
                                      <p:cBhvr>
                                        <p:cTn id="84" dur="1" fill="hold">
                                          <p:stCondLst>
                                            <p:cond delay="0"/>
                                          </p:stCondLst>
                                        </p:cTn>
                                        <p:tgtEl>
                                          <p:spTgt spid="24"/>
                                        </p:tgtEl>
                                        <p:attrNameLst>
                                          <p:attrName>style.visibility</p:attrName>
                                        </p:attrNameLst>
                                      </p:cBhvr>
                                      <p:to>
                                        <p:strVal val="visible"/>
                                      </p:to>
                                    </p:set>
                                    <p:anim calcmode="lin" valueType="num">
                                      <p:cBhvr additive="base">
                                        <p:cTn id="85" dur="500" fill="hold"/>
                                        <p:tgtEl>
                                          <p:spTgt spid="24"/>
                                        </p:tgtEl>
                                        <p:attrNameLst>
                                          <p:attrName>ppt_x</p:attrName>
                                        </p:attrNameLst>
                                      </p:cBhvr>
                                      <p:tavLst>
                                        <p:tav tm="0">
                                          <p:val>
                                            <p:strVal val="#ppt_x"/>
                                          </p:val>
                                        </p:tav>
                                        <p:tav tm="100000">
                                          <p:val>
                                            <p:strVal val="#ppt_x"/>
                                          </p:val>
                                        </p:tav>
                                      </p:tavLst>
                                    </p:anim>
                                    <p:anim calcmode="lin" valueType="num">
                                      <p:cBhvr additive="base">
                                        <p:cTn id="86" dur="500" fill="hold"/>
                                        <p:tgtEl>
                                          <p:spTgt spid="24"/>
                                        </p:tgtEl>
                                        <p:attrNameLst>
                                          <p:attrName>ppt_y</p:attrName>
                                        </p:attrNameLst>
                                      </p:cBhvr>
                                      <p:tavLst>
                                        <p:tav tm="0">
                                          <p:val>
                                            <p:strVal val="0-#ppt_h/2"/>
                                          </p:val>
                                        </p:tav>
                                        <p:tav tm="100000">
                                          <p:val>
                                            <p:strVal val="#ppt_y"/>
                                          </p:val>
                                        </p:tav>
                                      </p:tavLst>
                                    </p:anim>
                                  </p:childTnLst>
                                </p:cTn>
                              </p:par>
                              <p:par>
                                <p:cTn id="87" presetID="2" presetClass="entr" presetSubtype="1" fill="hold" grpId="0" nodeType="withEffect">
                                  <p:stCondLst>
                                    <p:cond delay="0"/>
                                  </p:stCondLst>
                                  <p:childTnLst>
                                    <p:set>
                                      <p:cBhvr>
                                        <p:cTn id="88" dur="1" fill="hold">
                                          <p:stCondLst>
                                            <p:cond delay="0"/>
                                          </p:stCondLst>
                                        </p:cTn>
                                        <p:tgtEl>
                                          <p:spTgt spid="20"/>
                                        </p:tgtEl>
                                        <p:attrNameLst>
                                          <p:attrName>style.visibility</p:attrName>
                                        </p:attrNameLst>
                                      </p:cBhvr>
                                      <p:to>
                                        <p:strVal val="visible"/>
                                      </p:to>
                                    </p:set>
                                    <p:anim calcmode="lin" valueType="num">
                                      <p:cBhvr additive="base">
                                        <p:cTn id="89" dur="500" fill="hold"/>
                                        <p:tgtEl>
                                          <p:spTgt spid="20"/>
                                        </p:tgtEl>
                                        <p:attrNameLst>
                                          <p:attrName>ppt_x</p:attrName>
                                        </p:attrNameLst>
                                      </p:cBhvr>
                                      <p:tavLst>
                                        <p:tav tm="0">
                                          <p:val>
                                            <p:strVal val="#ppt_x"/>
                                          </p:val>
                                        </p:tav>
                                        <p:tav tm="100000">
                                          <p:val>
                                            <p:strVal val="#ppt_x"/>
                                          </p:val>
                                        </p:tav>
                                      </p:tavLst>
                                    </p:anim>
                                    <p:anim calcmode="lin" valueType="num">
                                      <p:cBhvr additive="base">
                                        <p:cTn id="90" dur="500" fill="hold"/>
                                        <p:tgtEl>
                                          <p:spTgt spid="20"/>
                                        </p:tgtEl>
                                        <p:attrNameLst>
                                          <p:attrName>ppt_y</p:attrName>
                                        </p:attrNameLst>
                                      </p:cBhvr>
                                      <p:tavLst>
                                        <p:tav tm="0">
                                          <p:val>
                                            <p:strVal val="0-#ppt_h/2"/>
                                          </p:val>
                                        </p:tav>
                                        <p:tav tm="100000">
                                          <p:val>
                                            <p:strVal val="#ppt_y"/>
                                          </p:val>
                                        </p:tav>
                                      </p:tavLst>
                                    </p:anim>
                                  </p:childTnLst>
                                </p:cTn>
                              </p:par>
                            </p:childTnLst>
                          </p:cTn>
                        </p:par>
                      </p:childTnLst>
                    </p:cTn>
                  </p:par>
                  <p:par>
                    <p:cTn id="91" fill="hold">
                      <p:stCondLst>
                        <p:cond delay="indefinite"/>
                      </p:stCondLst>
                      <p:childTnLst>
                        <p:par>
                          <p:cTn id="92" fill="hold">
                            <p:stCondLst>
                              <p:cond delay="0"/>
                            </p:stCondLst>
                            <p:childTnLst>
                              <p:par>
                                <p:cTn id="93" presetID="2" presetClass="entr" presetSubtype="2" fill="hold" grpId="0" nodeType="clickEffect">
                                  <p:stCondLst>
                                    <p:cond delay="0"/>
                                  </p:stCondLst>
                                  <p:childTnLst>
                                    <p:set>
                                      <p:cBhvr>
                                        <p:cTn id="94" dur="1" fill="hold">
                                          <p:stCondLst>
                                            <p:cond delay="0"/>
                                          </p:stCondLst>
                                        </p:cTn>
                                        <p:tgtEl>
                                          <p:spTgt spid="16"/>
                                        </p:tgtEl>
                                        <p:attrNameLst>
                                          <p:attrName>style.visibility</p:attrName>
                                        </p:attrNameLst>
                                      </p:cBhvr>
                                      <p:to>
                                        <p:strVal val="visible"/>
                                      </p:to>
                                    </p:set>
                                    <p:anim calcmode="lin" valueType="num">
                                      <p:cBhvr additive="base">
                                        <p:cTn id="95" dur="500" fill="hold"/>
                                        <p:tgtEl>
                                          <p:spTgt spid="16"/>
                                        </p:tgtEl>
                                        <p:attrNameLst>
                                          <p:attrName>ppt_x</p:attrName>
                                        </p:attrNameLst>
                                      </p:cBhvr>
                                      <p:tavLst>
                                        <p:tav tm="0">
                                          <p:val>
                                            <p:strVal val="1+#ppt_w/2"/>
                                          </p:val>
                                        </p:tav>
                                        <p:tav tm="100000">
                                          <p:val>
                                            <p:strVal val="#ppt_x"/>
                                          </p:val>
                                        </p:tav>
                                      </p:tavLst>
                                    </p:anim>
                                    <p:anim calcmode="lin" valueType="num">
                                      <p:cBhvr additive="base">
                                        <p:cTn id="96" dur="500" fill="hold"/>
                                        <p:tgtEl>
                                          <p:spTgt spid="16"/>
                                        </p:tgtEl>
                                        <p:attrNameLst>
                                          <p:attrName>ppt_y</p:attrName>
                                        </p:attrNameLst>
                                      </p:cBhvr>
                                      <p:tavLst>
                                        <p:tav tm="0">
                                          <p:val>
                                            <p:strVal val="#ppt_y"/>
                                          </p:val>
                                        </p:tav>
                                        <p:tav tm="100000">
                                          <p:val>
                                            <p:strVal val="#ppt_y"/>
                                          </p:val>
                                        </p:tav>
                                      </p:tavLst>
                                    </p:anim>
                                  </p:childTnLst>
                                </p:cTn>
                              </p:par>
                            </p:childTnLst>
                          </p:cTn>
                        </p:par>
                      </p:childTnLst>
                    </p:cTn>
                  </p:par>
                  <p:par>
                    <p:cTn id="97" fill="hold">
                      <p:stCondLst>
                        <p:cond delay="indefinite"/>
                      </p:stCondLst>
                      <p:childTnLst>
                        <p:par>
                          <p:cTn id="98" fill="hold">
                            <p:stCondLst>
                              <p:cond delay="0"/>
                            </p:stCondLst>
                            <p:childTnLst>
                              <p:par>
                                <p:cTn id="99" presetID="2" presetClass="entr" presetSubtype="2" fill="hold" grpId="0" nodeType="clickEffect">
                                  <p:stCondLst>
                                    <p:cond delay="0"/>
                                  </p:stCondLst>
                                  <p:childTnLst>
                                    <p:set>
                                      <p:cBhvr>
                                        <p:cTn id="100" dur="1" fill="hold">
                                          <p:stCondLst>
                                            <p:cond delay="0"/>
                                          </p:stCondLst>
                                        </p:cTn>
                                        <p:tgtEl>
                                          <p:spTgt spid="12"/>
                                        </p:tgtEl>
                                        <p:attrNameLst>
                                          <p:attrName>style.visibility</p:attrName>
                                        </p:attrNameLst>
                                      </p:cBhvr>
                                      <p:to>
                                        <p:strVal val="visible"/>
                                      </p:to>
                                    </p:set>
                                    <p:anim calcmode="lin" valueType="num">
                                      <p:cBhvr additive="base">
                                        <p:cTn id="101" dur="500" fill="hold"/>
                                        <p:tgtEl>
                                          <p:spTgt spid="12"/>
                                        </p:tgtEl>
                                        <p:attrNameLst>
                                          <p:attrName>ppt_x</p:attrName>
                                        </p:attrNameLst>
                                      </p:cBhvr>
                                      <p:tavLst>
                                        <p:tav tm="0">
                                          <p:val>
                                            <p:strVal val="1+#ppt_w/2"/>
                                          </p:val>
                                        </p:tav>
                                        <p:tav tm="100000">
                                          <p:val>
                                            <p:strVal val="#ppt_x"/>
                                          </p:val>
                                        </p:tav>
                                      </p:tavLst>
                                    </p:anim>
                                    <p:anim calcmode="lin" valueType="num">
                                      <p:cBhvr additive="base">
                                        <p:cTn id="102" dur="500" fill="hold"/>
                                        <p:tgtEl>
                                          <p:spTgt spid="12"/>
                                        </p:tgtEl>
                                        <p:attrNameLst>
                                          <p:attrName>ppt_y</p:attrName>
                                        </p:attrNameLst>
                                      </p:cBhvr>
                                      <p:tavLst>
                                        <p:tav tm="0">
                                          <p:val>
                                            <p:strVal val="#ppt_y"/>
                                          </p:val>
                                        </p:tav>
                                        <p:tav tm="100000">
                                          <p:val>
                                            <p:strVal val="#ppt_y"/>
                                          </p:val>
                                        </p:tav>
                                      </p:tavLst>
                                    </p:anim>
                                  </p:childTnLst>
                                </p:cTn>
                              </p:par>
                              <p:par>
                                <p:cTn id="103" presetID="2" presetClass="entr" presetSubtype="2" fill="hold" grpId="0" nodeType="withEffect">
                                  <p:stCondLst>
                                    <p:cond delay="0"/>
                                  </p:stCondLst>
                                  <p:childTnLst>
                                    <p:set>
                                      <p:cBhvr>
                                        <p:cTn id="104" dur="1" fill="hold">
                                          <p:stCondLst>
                                            <p:cond delay="0"/>
                                          </p:stCondLst>
                                        </p:cTn>
                                        <p:tgtEl>
                                          <p:spTgt spid="14"/>
                                        </p:tgtEl>
                                        <p:attrNameLst>
                                          <p:attrName>style.visibility</p:attrName>
                                        </p:attrNameLst>
                                      </p:cBhvr>
                                      <p:to>
                                        <p:strVal val="visible"/>
                                      </p:to>
                                    </p:set>
                                    <p:anim calcmode="lin" valueType="num">
                                      <p:cBhvr additive="base">
                                        <p:cTn id="105" dur="500" fill="hold"/>
                                        <p:tgtEl>
                                          <p:spTgt spid="14"/>
                                        </p:tgtEl>
                                        <p:attrNameLst>
                                          <p:attrName>ppt_x</p:attrName>
                                        </p:attrNameLst>
                                      </p:cBhvr>
                                      <p:tavLst>
                                        <p:tav tm="0">
                                          <p:val>
                                            <p:strVal val="1+#ppt_w/2"/>
                                          </p:val>
                                        </p:tav>
                                        <p:tav tm="100000">
                                          <p:val>
                                            <p:strVal val="#ppt_x"/>
                                          </p:val>
                                        </p:tav>
                                      </p:tavLst>
                                    </p:anim>
                                    <p:anim calcmode="lin" valueType="num">
                                      <p:cBhvr additive="base">
                                        <p:cTn id="106" dur="500" fill="hold"/>
                                        <p:tgtEl>
                                          <p:spTgt spid="14"/>
                                        </p:tgtEl>
                                        <p:attrNameLst>
                                          <p:attrName>ppt_y</p:attrName>
                                        </p:attrNameLst>
                                      </p:cBhvr>
                                      <p:tavLst>
                                        <p:tav tm="0">
                                          <p:val>
                                            <p:strVal val="#ppt_y"/>
                                          </p:val>
                                        </p:tav>
                                        <p:tav tm="100000">
                                          <p:val>
                                            <p:strVal val="#ppt_y"/>
                                          </p:val>
                                        </p:tav>
                                      </p:tavLst>
                                    </p:anim>
                                  </p:childTnLst>
                                </p:cTn>
                              </p:par>
                            </p:childTnLst>
                          </p:cTn>
                        </p:par>
                      </p:childTnLst>
                    </p:cTn>
                  </p:par>
                  <p:par>
                    <p:cTn id="107" fill="hold">
                      <p:stCondLst>
                        <p:cond delay="indefinite"/>
                      </p:stCondLst>
                      <p:childTnLst>
                        <p:par>
                          <p:cTn id="108" fill="hold">
                            <p:stCondLst>
                              <p:cond delay="0"/>
                            </p:stCondLst>
                            <p:childTnLst>
                              <p:par>
                                <p:cTn id="109" presetID="2" presetClass="entr" presetSubtype="2" fill="hold" nodeType="clickEffect">
                                  <p:stCondLst>
                                    <p:cond delay="0"/>
                                  </p:stCondLst>
                                  <p:childTnLst>
                                    <p:set>
                                      <p:cBhvr>
                                        <p:cTn id="110" dur="1" fill="hold">
                                          <p:stCondLst>
                                            <p:cond delay="0"/>
                                          </p:stCondLst>
                                        </p:cTn>
                                        <p:tgtEl>
                                          <p:spTgt spid="21"/>
                                        </p:tgtEl>
                                        <p:attrNameLst>
                                          <p:attrName>style.visibility</p:attrName>
                                        </p:attrNameLst>
                                      </p:cBhvr>
                                      <p:to>
                                        <p:strVal val="visible"/>
                                      </p:to>
                                    </p:set>
                                    <p:anim calcmode="lin" valueType="num">
                                      <p:cBhvr additive="base">
                                        <p:cTn id="111" dur="500" fill="hold"/>
                                        <p:tgtEl>
                                          <p:spTgt spid="21"/>
                                        </p:tgtEl>
                                        <p:attrNameLst>
                                          <p:attrName>ppt_x</p:attrName>
                                        </p:attrNameLst>
                                      </p:cBhvr>
                                      <p:tavLst>
                                        <p:tav tm="0">
                                          <p:val>
                                            <p:strVal val="1+#ppt_w/2"/>
                                          </p:val>
                                        </p:tav>
                                        <p:tav tm="100000">
                                          <p:val>
                                            <p:strVal val="#ppt_x"/>
                                          </p:val>
                                        </p:tav>
                                      </p:tavLst>
                                    </p:anim>
                                    <p:anim calcmode="lin" valueType="num">
                                      <p:cBhvr additive="base">
                                        <p:cTn id="112" dur="500" fill="hold"/>
                                        <p:tgtEl>
                                          <p:spTgt spid="21"/>
                                        </p:tgtEl>
                                        <p:attrNameLst>
                                          <p:attrName>ppt_y</p:attrName>
                                        </p:attrNameLst>
                                      </p:cBhvr>
                                      <p:tavLst>
                                        <p:tav tm="0">
                                          <p:val>
                                            <p:strVal val="#ppt_y"/>
                                          </p:val>
                                        </p:tav>
                                        <p:tav tm="100000">
                                          <p:val>
                                            <p:strVal val="#ppt_y"/>
                                          </p:val>
                                        </p:tav>
                                      </p:tavLst>
                                    </p:anim>
                                  </p:childTnLst>
                                </p:cTn>
                              </p:par>
                              <p:par>
                                <p:cTn id="113" presetID="2" presetClass="entr" presetSubtype="2" fill="hold" grpId="0" nodeType="withEffect">
                                  <p:stCondLst>
                                    <p:cond delay="0"/>
                                  </p:stCondLst>
                                  <p:childTnLst>
                                    <p:set>
                                      <p:cBhvr>
                                        <p:cTn id="114" dur="1" fill="hold">
                                          <p:stCondLst>
                                            <p:cond delay="0"/>
                                          </p:stCondLst>
                                        </p:cTn>
                                        <p:tgtEl>
                                          <p:spTgt spid="22"/>
                                        </p:tgtEl>
                                        <p:attrNameLst>
                                          <p:attrName>style.visibility</p:attrName>
                                        </p:attrNameLst>
                                      </p:cBhvr>
                                      <p:to>
                                        <p:strVal val="visible"/>
                                      </p:to>
                                    </p:set>
                                    <p:anim calcmode="lin" valueType="num">
                                      <p:cBhvr additive="base">
                                        <p:cTn id="115" dur="500" fill="hold"/>
                                        <p:tgtEl>
                                          <p:spTgt spid="22"/>
                                        </p:tgtEl>
                                        <p:attrNameLst>
                                          <p:attrName>ppt_x</p:attrName>
                                        </p:attrNameLst>
                                      </p:cBhvr>
                                      <p:tavLst>
                                        <p:tav tm="0">
                                          <p:val>
                                            <p:strVal val="1+#ppt_w/2"/>
                                          </p:val>
                                        </p:tav>
                                        <p:tav tm="100000">
                                          <p:val>
                                            <p:strVal val="#ppt_x"/>
                                          </p:val>
                                        </p:tav>
                                      </p:tavLst>
                                    </p:anim>
                                    <p:anim calcmode="lin" valueType="num">
                                      <p:cBhvr additive="base">
                                        <p:cTn id="116" dur="500" fill="hold"/>
                                        <p:tgtEl>
                                          <p:spTgt spid="22"/>
                                        </p:tgtEl>
                                        <p:attrNameLst>
                                          <p:attrName>ppt_y</p:attrName>
                                        </p:attrNameLst>
                                      </p:cBhvr>
                                      <p:tavLst>
                                        <p:tav tm="0">
                                          <p:val>
                                            <p:strVal val="#ppt_y"/>
                                          </p:val>
                                        </p:tav>
                                        <p:tav tm="100000">
                                          <p:val>
                                            <p:strVal val="#ppt_y"/>
                                          </p:val>
                                        </p:tav>
                                      </p:tavLst>
                                    </p:anim>
                                  </p:childTnLst>
                                </p:cTn>
                              </p:par>
                              <p:par>
                                <p:cTn id="117" presetID="1" presetClass="exit" presetSubtype="0" fill="hold" grpId="1" nodeType="withEffect">
                                  <p:stCondLst>
                                    <p:cond delay="0"/>
                                  </p:stCondLst>
                                  <p:childTnLst>
                                    <p:set>
                                      <p:cBhvr>
                                        <p:cTn id="118" dur="1" fill="hold">
                                          <p:stCondLst>
                                            <p:cond delay="0"/>
                                          </p:stCondLst>
                                        </p:cTn>
                                        <p:tgtEl>
                                          <p:spTgt spid="24"/>
                                        </p:tgtEl>
                                        <p:attrNameLst>
                                          <p:attrName>style.visibility</p:attrName>
                                        </p:attrNameLst>
                                      </p:cBhvr>
                                      <p:to>
                                        <p:strVal val="hidden"/>
                                      </p:to>
                                    </p:set>
                                  </p:childTnLst>
                                </p:cTn>
                              </p:par>
                              <p:par>
                                <p:cTn id="119" presetID="1" presetClass="exit" presetSubtype="0" fill="hold" grpId="1" nodeType="withEffect">
                                  <p:stCondLst>
                                    <p:cond delay="0"/>
                                  </p:stCondLst>
                                  <p:childTnLst>
                                    <p:set>
                                      <p:cBhvr>
                                        <p:cTn id="120" dur="1" fill="hold">
                                          <p:stCondLst>
                                            <p:cond delay="0"/>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8" grpId="0"/>
      <p:bldP spid="9" grpId="0"/>
      <p:bldP spid="10" grpId="0"/>
      <p:bldP spid="11" grpId="0"/>
      <p:bldP spid="12" grpId="0"/>
      <p:bldP spid="13" grpId="0"/>
      <p:bldP spid="14" grpId="0"/>
      <p:bldP spid="15" grpId="0"/>
      <p:bldP spid="16" grpId="0"/>
      <p:bldP spid="17" grpId="0" animBg="1"/>
      <p:bldP spid="17" grpId="1" animBg="1"/>
      <p:bldP spid="18" grpId="0" animBg="1"/>
      <p:bldP spid="18" grpId="1" animBg="1"/>
      <p:bldP spid="19" grpId="0" animBg="1"/>
      <p:bldP spid="19" grpId="1" animBg="1"/>
      <p:bldP spid="20" grpId="0" animBg="1"/>
      <p:bldP spid="20" grpId="1" animBg="1"/>
      <p:bldP spid="22" grpId="0"/>
      <p:bldP spid="23" grpId="0" animBg="1"/>
      <p:bldP spid="23" grpId="1" animBg="1"/>
      <p:bldP spid="24" grpId="0" animBg="1"/>
      <p:bldP spid="24" grpId="1" animBg="1"/>
      <p:bldP spid="25" grpId="0" animBg="1"/>
      <p:bldP spid="25"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4751D6-A0D5-48CB-8132-0BD0278E0AFB}"/>
              </a:ext>
            </a:extLst>
          </p:cNvPr>
          <p:cNvSpPr>
            <a:spLocks noGrp="1"/>
          </p:cNvSpPr>
          <p:nvPr>
            <p:ph type="title"/>
          </p:nvPr>
        </p:nvSpPr>
        <p:spPr/>
        <p:txBody>
          <a:bodyPr/>
          <a:lstStyle/>
          <a:p>
            <a:r>
              <a:rPr lang="en-US" dirty="0"/>
              <a:t>SQL Server object allocation</a:t>
            </a:r>
          </a:p>
        </p:txBody>
      </p:sp>
      <p:graphicFrame>
        <p:nvGraphicFramePr>
          <p:cNvPr id="5" name="Content Placeholder 4">
            <a:extLst>
              <a:ext uri="{FF2B5EF4-FFF2-40B4-BE49-F238E27FC236}">
                <a16:creationId xmlns:a16="http://schemas.microsoft.com/office/drawing/2014/main" id="{DBC46F64-1AA7-4968-9494-241F95F9231B}"/>
              </a:ext>
            </a:extLst>
          </p:cNvPr>
          <p:cNvGraphicFramePr>
            <a:graphicFrameLocks noGrp="1"/>
          </p:cNvGraphicFramePr>
          <p:nvPr>
            <p:ph sz="quarter" idx="13"/>
            <p:extLst>
              <p:ext uri="{D42A27DB-BD31-4B8C-83A1-F6EECF244321}">
                <p14:modId xmlns:p14="http://schemas.microsoft.com/office/powerpoint/2010/main" val="3449401396"/>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797230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C78D2B-E078-4374-9A00-8BE599CDC800}"/>
              </a:ext>
            </a:extLst>
          </p:cNvPr>
          <p:cNvSpPr>
            <a:spLocks noGrp="1"/>
          </p:cNvSpPr>
          <p:nvPr>
            <p:ph type="title"/>
          </p:nvPr>
        </p:nvSpPr>
        <p:spPr/>
        <p:txBody>
          <a:bodyPr/>
          <a:lstStyle/>
          <a:p>
            <a:r>
              <a:rPr lang="en-US" dirty="0"/>
              <a:t>SQL Server object allocation (Trace Flag 1118)</a:t>
            </a:r>
          </a:p>
        </p:txBody>
      </p:sp>
      <p:graphicFrame>
        <p:nvGraphicFramePr>
          <p:cNvPr id="5" name="Content Placeholder 4">
            <a:extLst>
              <a:ext uri="{FF2B5EF4-FFF2-40B4-BE49-F238E27FC236}">
                <a16:creationId xmlns:a16="http://schemas.microsoft.com/office/drawing/2014/main" id="{951F87FE-A7DB-4594-9534-11EE3F5DEE97}"/>
              </a:ext>
            </a:extLst>
          </p:cNvPr>
          <p:cNvGraphicFramePr>
            <a:graphicFrameLocks noGrp="1"/>
          </p:cNvGraphicFramePr>
          <p:nvPr>
            <p:ph sz="quarter" idx="13"/>
            <p:extLst>
              <p:ext uri="{D42A27DB-BD31-4B8C-83A1-F6EECF244321}">
                <p14:modId xmlns:p14="http://schemas.microsoft.com/office/powerpoint/2010/main" val="1110099414"/>
              </p:ext>
            </p:extLst>
          </p:nvPr>
        </p:nvGraphicFramePr>
        <p:xfrm>
          <a:off x="655638" y="1408114"/>
          <a:ext cx="10880726" cy="40782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361562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A92A9-B175-485F-8685-C452F3711619}"/>
              </a:ext>
            </a:extLst>
          </p:cNvPr>
          <p:cNvSpPr>
            <a:spLocks noGrp="1"/>
          </p:cNvSpPr>
          <p:nvPr>
            <p:ph type="title"/>
          </p:nvPr>
        </p:nvSpPr>
        <p:spPr/>
        <p:txBody>
          <a:bodyPr/>
          <a:lstStyle/>
          <a:p>
            <a:r>
              <a:rPr lang="en-US" dirty="0"/>
              <a:t>Tying it all together</a:t>
            </a:r>
          </a:p>
        </p:txBody>
      </p:sp>
      <p:grpSp>
        <p:nvGrpSpPr>
          <p:cNvPr id="29" name="Group 28">
            <a:extLst>
              <a:ext uri="{FF2B5EF4-FFF2-40B4-BE49-F238E27FC236}">
                <a16:creationId xmlns:a16="http://schemas.microsoft.com/office/drawing/2014/main" id="{42989DF0-FAE2-4C8B-A193-D4B9EA0C9E3E}"/>
              </a:ext>
            </a:extLst>
          </p:cNvPr>
          <p:cNvGrpSpPr/>
          <p:nvPr/>
        </p:nvGrpSpPr>
        <p:grpSpPr>
          <a:xfrm>
            <a:off x="456210" y="1288795"/>
            <a:ext cx="10395322" cy="5249165"/>
            <a:chOff x="883640" y="1439550"/>
            <a:chExt cx="10395322" cy="5249165"/>
          </a:xfrm>
        </p:grpSpPr>
        <p:sp>
          <p:nvSpPr>
            <p:cNvPr id="5" name="Rectangle 4">
              <a:extLst>
                <a:ext uri="{FF2B5EF4-FFF2-40B4-BE49-F238E27FC236}">
                  <a16:creationId xmlns:a16="http://schemas.microsoft.com/office/drawing/2014/main" id="{3CB5B914-3015-484B-ACBD-760ED964BB0F}"/>
                </a:ext>
              </a:extLst>
            </p:cNvPr>
            <p:cNvSpPr/>
            <p:nvPr/>
          </p:nvSpPr>
          <p:spPr>
            <a:xfrm>
              <a:off x="883640" y="1439550"/>
              <a:ext cx="1651000" cy="1029587"/>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Calculate the Record Size</a:t>
              </a:r>
            </a:p>
          </p:txBody>
        </p:sp>
        <p:sp>
          <p:nvSpPr>
            <p:cNvPr id="6" name="Rectangle 5">
              <a:extLst>
                <a:ext uri="{FF2B5EF4-FFF2-40B4-BE49-F238E27FC236}">
                  <a16:creationId xmlns:a16="http://schemas.microsoft.com/office/drawing/2014/main" id="{FF34C0F2-9F38-44DB-8CB6-74AADAC0EF1D}"/>
                </a:ext>
              </a:extLst>
            </p:cNvPr>
            <p:cNvSpPr/>
            <p:nvPr/>
          </p:nvSpPr>
          <p:spPr>
            <a:xfrm>
              <a:off x="3329510" y="1461072"/>
              <a:ext cx="2108200" cy="986543"/>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Check if Table has pages (IAM Page)</a:t>
              </a:r>
            </a:p>
          </p:txBody>
        </p:sp>
        <p:sp>
          <p:nvSpPr>
            <p:cNvPr id="7" name="TextBox 6">
              <a:extLst>
                <a:ext uri="{FF2B5EF4-FFF2-40B4-BE49-F238E27FC236}">
                  <a16:creationId xmlns:a16="http://schemas.microsoft.com/office/drawing/2014/main" id="{4EFC8324-1291-4FAF-AB9C-6748FE847A62}"/>
                </a:ext>
              </a:extLst>
            </p:cNvPr>
            <p:cNvSpPr txBox="1"/>
            <p:nvPr/>
          </p:nvSpPr>
          <p:spPr>
            <a:xfrm>
              <a:off x="5506914" y="1483947"/>
              <a:ext cx="540533" cy="369332"/>
            </a:xfrm>
            <a:prstGeom prst="rect">
              <a:avLst/>
            </a:prstGeom>
            <a:noFill/>
          </p:spPr>
          <p:txBody>
            <a:bodyPr wrap="none" rtlCol="0">
              <a:spAutoFit/>
            </a:bodyPr>
            <a:lstStyle/>
            <a:p>
              <a:pPr defTabSz="457200">
                <a:buSzPct val="110000"/>
              </a:pPr>
              <a:r>
                <a:rPr lang="en-US" b="1" dirty="0">
                  <a:solidFill>
                    <a:srgbClr val="000000"/>
                  </a:solidFill>
                  <a:latin typeface="Segoe UI Light" panose="020B0502040204020203" pitchFamily="34" charset="0"/>
                </a:rPr>
                <a:t>YES</a:t>
              </a:r>
            </a:p>
          </p:txBody>
        </p:sp>
        <p:sp>
          <p:nvSpPr>
            <p:cNvPr id="8" name="TextBox 7">
              <a:extLst>
                <a:ext uri="{FF2B5EF4-FFF2-40B4-BE49-F238E27FC236}">
                  <a16:creationId xmlns:a16="http://schemas.microsoft.com/office/drawing/2014/main" id="{DF54302E-71CE-4D64-9074-C59BA760A62A}"/>
                </a:ext>
              </a:extLst>
            </p:cNvPr>
            <p:cNvSpPr txBox="1"/>
            <p:nvPr/>
          </p:nvSpPr>
          <p:spPr>
            <a:xfrm>
              <a:off x="3039263" y="2815279"/>
              <a:ext cx="542136" cy="369332"/>
            </a:xfrm>
            <a:prstGeom prst="rect">
              <a:avLst/>
            </a:prstGeom>
            <a:noFill/>
          </p:spPr>
          <p:txBody>
            <a:bodyPr wrap="none" rtlCol="0">
              <a:spAutoFit/>
            </a:bodyPr>
            <a:lstStyle/>
            <a:p>
              <a:pPr defTabSz="457200">
                <a:buSzPct val="110000"/>
              </a:pPr>
              <a:r>
                <a:rPr lang="en-US" b="1" dirty="0">
                  <a:solidFill>
                    <a:srgbClr val="000000"/>
                  </a:solidFill>
                  <a:latin typeface="Segoe UI Light" panose="020B0502040204020203" pitchFamily="34" charset="0"/>
                </a:rPr>
                <a:t>NO</a:t>
              </a:r>
            </a:p>
          </p:txBody>
        </p:sp>
        <p:sp>
          <p:nvSpPr>
            <p:cNvPr id="9" name="Rectangle 8">
              <a:extLst>
                <a:ext uri="{FF2B5EF4-FFF2-40B4-BE49-F238E27FC236}">
                  <a16:creationId xmlns:a16="http://schemas.microsoft.com/office/drawing/2014/main" id="{E5058D62-FB17-4694-A1C6-B36D45FDD0C8}"/>
                </a:ext>
              </a:extLst>
            </p:cNvPr>
            <p:cNvSpPr/>
            <p:nvPr/>
          </p:nvSpPr>
          <p:spPr>
            <a:xfrm>
              <a:off x="6249762" y="1461072"/>
              <a:ext cx="2108200" cy="986543"/>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Do these pages have unallocated space (PFS Page)</a:t>
              </a:r>
            </a:p>
          </p:txBody>
        </p:sp>
        <p:sp>
          <p:nvSpPr>
            <p:cNvPr id="10" name="TextBox 9">
              <a:extLst>
                <a:ext uri="{FF2B5EF4-FFF2-40B4-BE49-F238E27FC236}">
                  <a16:creationId xmlns:a16="http://schemas.microsoft.com/office/drawing/2014/main" id="{E2482903-3BBA-420C-B198-15D84081C464}"/>
                </a:ext>
              </a:extLst>
            </p:cNvPr>
            <p:cNvSpPr txBox="1"/>
            <p:nvPr/>
          </p:nvSpPr>
          <p:spPr>
            <a:xfrm>
              <a:off x="8443909" y="1483947"/>
              <a:ext cx="577402" cy="369332"/>
            </a:xfrm>
            <a:prstGeom prst="rect">
              <a:avLst/>
            </a:prstGeom>
            <a:noFill/>
          </p:spPr>
          <p:txBody>
            <a:bodyPr wrap="square" rtlCol="0">
              <a:spAutoFit/>
            </a:bodyPr>
            <a:lstStyle/>
            <a:p>
              <a:pPr defTabSz="457200">
                <a:buSzPct val="110000"/>
              </a:pPr>
              <a:r>
                <a:rPr lang="en-US" b="1" dirty="0">
                  <a:solidFill>
                    <a:srgbClr val="000000"/>
                  </a:solidFill>
                  <a:latin typeface="Segoe UI Light" panose="020B0502040204020203" pitchFamily="34" charset="0"/>
                </a:rPr>
                <a:t>YES</a:t>
              </a:r>
            </a:p>
          </p:txBody>
        </p:sp>
        <p:sp>
          <p:nvSpPr>
            <p:cNvPr id="11" name="Rectangle 10">
              <a:extLst>
                <a:ext uri="{FF2B5EF4-FFF2-40B4-BE49-F238E27FC236}">
                  <a16:creationId xmlns:a16="http://schemas.microsoft.com/office/drawing/2014/main" id="{B12C833F-B396-447C-ADF5-8EC267733730}"/>
                </a:ext>
              </a:extLst>
            </p:cNvPr>
            <p:cNvSpPr/>
            <p:nvPr/>
          </p:nvSpPr>
          <p:spPr>
            <a:xfrm>
              <a:off x="9170762" y="1461072"/>
              <a:ext cx="2108200" cy="986543"/>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Insert record Update the PFS Page</a:t>
              </a:r>
            </a:p>
          </p:txBody>
        </p:sp>
        <p:sp>
          <p:nvSpPr>
            <p:cNvPr id="12" name="Rectangle 11">
              <a:extLst>
                <a:ext uri="{FF2B5EF4-FFF2-40B4-BE49-F238E27FC236}">
                  <a16:creationId xmlns:a16="http://schemas.microsoft.com/office/drawing/2014/main" id="{10E11364-C040-45CD-9E17-3F55CC393258}"/>
                </a:ext>
              </a:extLst>
            </p:cNvPr>
            <p:cNvSpPr/>
            <p:nvPr/>
          </p:nvSpPr>
          <p:spPr>
            <a:xfrm>
              <a:off x="4126400" y="2817935"/>
              <a:ext cx="2151589" cy="966839"/>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Allocate New Page</a:t>
              </a:r>
            </a:p>
          </p:txBody>
        </p:sp>
        <p:sp>
          <p:nvSpPr>
            <p:cNvPr id="13" name="Rectangle 12">
              <a:extLst>
                <a:ext uri="{FF2B5EF4-FFF2-40B4-BE49-F238E27FC236}">
                  <a16:creationId xmlns:a16="http://schemas.microsoft.com/office/drawing/2014/main" id="{82D72875-7182-4238-9EDA-317BF9B8B222}"/>
                </a:ext>
              </a:extLst>
            </p:cNvPr>
            <p:cNvSpPr/>
            <p:nvPr/>
          </p:nvSpPr>
          <p:spPr>
            <a:xfrm>
              <a:off x="4101127" y="5019286"/>
              <a:ext cx="2151589" cy="966839"/>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Is TF 1118 Enabled?</a:t>
              </a:r>
            </a:p>
            <a:p>
              <a:pPr algn="ctr" defTabSz="914400">
                <a:defRPr/>
              </a:pPr>
              <a:r>
                <a:rPr lang="en-US" kern="0" dirty="0">
                  <a:solidFill>
                    <a:srgbClr val="000000"/>
                  </a:solidFill>
                  <a:latin typeface="Segoe UI Light" panose="020B0502040204020203" pitchFamily="34" charset="0"/>
                </a:rPr>
                <a:t>More than 8 Pages?</a:t>
              </a:r>
            </a:p>
            <a:p>
              <a:pPr algn="ctr" defTabSz="914400">
                <a:defRPr/>
              </a:pPr>
              <a:r>
                <a:rPr lang="en-US" kern="0" dirty="0">
                  <a:solidFill>
                    <a:srgbClr val="000000"/>
                  </a:solidFill>
                  <a:latin typeface="Segoe UI Light" panose="020B0502040204020203" pitchFamily="34" charset="0"/>
                </a:rPr>
                <a:t>SQL Server&gt;=13.X ?</a:t>
              </a:r>
            </a:p>
          </p:txBody>
        </p:sp>
        <p:sp>
          <p:nvSpPr>
            <p:cNvPr id="14" name="Rectangle 13">
              <a:extLst>
                <a:ext uri="{FF2B5EF4-FFF2-40B4-BE49-F238E27FC236}">
                  <a16:creationId xmlns:a16="http://schemas.microsoft.com/office/drawing/2014/main" id="{2F72227D-9C23-480A-A002-BCE3E33AAA46}"/>
                </a:ext>
              </a:extLst>
            </p:cNvPr>
            <p:cNvSpPr/>
            <p:nvPr/>
          </p:nvSpPr>
          <p:spPr>
            <a:xfrm>
              <a:off x="8034652" y="3962400"/>
              <a:ext cx="3114483" cy="1119774"/>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Allocate a page from Mixed Extent (SGAM)</a:t>
              </a:r>
            </a:p>
            <a:p>
              <a:pPr algn="ctr" defTabSz="914400">
                <a:defRPr/>
              </a:pPr>
              <a:r>
                <a:rPr lang="en-US" kern="0" dirty="0">
                  <a:solidFill>
                    <a:srgbClr val="000000"/>
                  </a:solidFill>
                  <a:latin typeface="Segoe UI Light" panose="020B0502040204020203" pitchFamily="34" charset="0"/>
                </a:rPr>
                <a:t>Update the allocation objects</a:t>
              </a:r>
            </a:p>
          </p:txBody>
        </p:sp>
        <p:sp>
          <p:nvSpPr>
            <p:cNvPr id="15" name="Rectangle 14">
              <a:extLst>
                <a:ext uri="{FF2B5EF4-FFF2-40B4-BE49-F238E27FC236}">
                  <a16:creationId xmlns:a16="http://schemas.microsoft.com/office/drawing/2014/main" id="{372B8850-522E-44C1-8333-629503D60242}"/>
                </a:ext>
              </a:extLst>
            </p:cNvPr>
            <p:cNvSpPr/>
            <p:nvPr/>
          </p:nvSpPr>
          <p:spPr>
            <a:xfrm>
              <a:off x="8024058" y="5649411"/>
              <a:ext cx="3098065" cy="1039304"/>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Allocate a Uniform Extent (GAM)</a:t>
              </a:r>
            </a:p>
            <a:p>
              <a:pPr algn="ctr" defTabSz="914400">
                <a:defRPr/>
              </a:pPr>
              <a:r>
                <a:rPr lang="en-US" kern="0" dirty="0">
                  <a:solidFill>
                    <a:srgbClr val="000000"/>
                  </a:solidFill>
                  <a:latin typeface="Segoe UI Light" panose="020B0502040204020203" pitchFamily="34" charset="0"/>
                </a:rPr>
                <a:t>Update the allocation objects.</a:t>
              </a:r>
            </a:p>
          </p:txBody>
        </p:sp>
        <p:sp>
          <p:nvSpPr>
            <p:cNvPr id="16" name="TextBox 15">
              <a:extLst>
                <a:ext uri="{FF2B5EF4-FFF2-40B4-BE49-F238E27FC236}">
                  <a16:creationId xmlns:a16="http://schemas.microsoft.com/office/drawing/2014/main" id="{684C04E9-90C9-4A11-80EF-74601E509AC9}"/>
                </a:ext>
              </a:extLst>
            </p:cNvPr>
            <p:cNvSpPr txBox="1"/>
            <p:nvPr/>
          </p:nvSpPr>
          <p:spPr>
            <a:xfrm>
              <a:off x="6261213" y="5742390"/>
              <a:ext cx="540533" cy="369332"/>
            </a:xfrm>
            <a:prstGeom prst="rect">
              <a:avLst/>
            </a:prstGeom>
            <a:noFill/>
          </p:spPr>
          <p:txBody>
            <a:bodyPr wrap="none" rtlCol="0">
              <a:spAutoFit/>
            </a:bodyPr>
            <a:lstStyle/>
            <a:p>
              <a:pPr defTabSz="457200">
                <a:buSzPct val="110000"/>
              </a:pPr>
              <a:r>
                <a:rPr lang="en-US" b="1" dirty="0">
                  <a:solidFill>
                    <a:srgbClr val="000000"/>
                  </a:solidFill>
                  <a:latin typeface="Segoe UI Light" panose="020B0502040204020203" pitchFamily="34" charset="0"/>
                </a:rPr>
                <a:t>YES</a:t>
              </a:r>
            </a:p>
          </p:txBody>
        </p:sp>
        <p:sp>
          <p:nvSpPr>
            <p:cNvPr id="17" name="TextBox 16">
              <a:extLst>
                <a:ext uri="{FF2B5EF4-FFF2-40B4-BE49-F238E27FC236}">
                  <a16:creationId xmlns:a16="http://schemas.microsoft.com/office/drawing/2014/main" id="{0D122531-2C10-4262-A724-DC3337F7CD8F}"/>
                </a:ext>
              </a:extLst>
            </p:cNvPr>
            <p:cNvSpPr txBox="1"/>
            <p:nvPr/>
          </p:nvSpPr>
          <p:spPr>
            <a:xfrm>
              <a:off x="6419410" y="4876800"/>
              <a:ext cx="524503" cy="369332"/>
            </a:xfrm>
            <a:prstGeom prst="rect">
              <a:avLst/>
            </a:prstGeom>
            <a:noFill/>
          </p:spPr>
          <p:txBody>
            <a:bodyPr wrap="none" rtlCol="0">
              <a:spAutoFit/>
            </a:bodyPr>
            <a:lstStyle/>
            <a:p>
              <a:pPr defTabSz="457200">
                <a:buSzPct val="110000"/>
              </a:pPr>
              <a:r>
                <a:rPr lang="en-US" b="1" dirty="0">
                  <a:solidFill>
                    <a:srgbClr val="000000"/>
                  </a:solidFill>
                  <a:latin typeface="Segoe UI Light" panose="020B0502040204020203" pitchFamily="34" charset="0"/>
                </a:rPr>
                <a:t>NO</a:t>
              </a:r>
            </a:p>
          </p:txBody>
        </p:sp>
        <p:cxnSp>
          <p:nvCxnSpPr>
            <p:cNvPr id="18" name="Elbow Connector 44">
              <a:extLst>
                <a:ext uri="{FF2B5EF4-FFF2-40B4-BE49-F238E27FC236}">
                  <a16:creationId xmlns:a16="http://schemas.microsoft.com/office/drawing/2014/main" id="{E7DCFDE6-29FE-4FC9-B704-61846DC67762}"/>
                </a:ext>
              </a:extLst>
            </p:cNvPr>
            <p:cNvCxnSpPr/>
            <p:nvPr/>
          </p:nvCxnSpPr>
          <p:spPr>
            <a:xfrm rot="16200000" flipH="1">
              <a:off x="3467503" y="2559439"/>
              <a:ext cx="830865" cy="545000"/>
            </a:xfrm>
            <a:prstGeom prst="bentConnector2">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19" name="Elbow Connector 45">
              <a:extLst>
                <a:ext uri="{FF2B5EF4-FFF2-40B4-BE49-F238E27FC236}">
                  <a16:creationId xmlns:a16="http://schemas.microsoft.com/office/drawing/2014/main" id="{264FEA76-9EB6-4BE5-BDCF-220C1CE3667D}"/>
                </a:ext>
              </a:extLst>
            </p:cNvPr>
            <p:cNvCxnSpPr>
              <a:endCxn id="12" idx="3"/>
            </p:cNvCxnSpPr>
            <p:nvPr/>
          </p:nvCxnSpPr>
          <p:spPr>
            <a:xfrm rot="10800000" flipV="1">
              <a:off x="6277989" y="2448277"/>
              <a:ext cx="1176132" cy="853078"/>
            </a:xfrm>
            <a:prstGeom prst="bentConnector3">
              <a:avLst>
                <a:gd name="adj1" fmla="val 960"/>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0" name="Elbow Connector 46">
              <a:extLst>
                <a:ext uri="{FF2B5EF4-FFF2-40B4-BE49-F238E27FC236}">
                  <a16:creationId xmlns:a16="http://schemas.microsoft.com/office/drawing/2014/main" id="{F517FCC7-1498-4B4D-A287-9D7020DB32CB}"/>
                </a:ext>
              </a:extLst>
            </p:cNvPr>
            <p:cNvCxnSpPr>
              <a:endCxn id="14" idx="1"/>
            </p:cNvCxnSpPr>
            <p:nvPr/>
          </p:nvCxnSpPr>
          <p:spPr>
            <a:xfrm flipV="1">
              <a:off x="6242259" y="4522287"/>
              <a:ext cx="1792393" cy="788090"/>
            </a:xfrm>
            <a:prstGeom prst="bentConnector3">
              <a:avLst>
                <a:gd name="adj1" fmla="val 50000"/>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1" name="Elbow Connector 47">
              <a:extLst>
                <a:ext uri="{FF2B5EF4-FFF2-40B4-BE49-F238E27FC236}">
                  <a16:creationId xmlns:a16="http://schemas.microsoft.com/office/drawing/2014/main" id="{A1C0782F-5675-4389-8D6D-8E1730DC546F}"/>
                </a:ext>
              </a:extLst>
            </p:cNvPr>
            <p:cNvCxnSpPr>
              <a:endCxn id="15" idx="1"/>
            </p:cNvCxnSpPr>
            <p:nvPr/>
          </p:nvCxnSpPr>
          <p:spPr>
            <a:xfrm>
              <a:off x="6252716" y="5559636"/>
              <a:ext cx="1771342" cy="609427"/>
            </a:xfrm>
            <a:prstGeom prst="bentConnector3">
              <a:avLst>
                <a:gd name="adj1" fmla="val 50000"/>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2" name="Elbow Connector 44">
              <a:extLst>
                <a:ext uri="{FF2B5EF4-FFF2-40B4-BE49-F238E27FC236}">
                  <a16:creationId xmlns:a16="http://schemas.microsoft.com/office/drawing/2014/main" id="{005B7A68-0522-453A-A4F7-024C23065906}"/>
                </a:ext>
              </a:extLst>
            </p:cNvPr>
            <p:cNvCxnSpPr>
              <a:stCxn id="5" idx="3"/>
              <a:endCxn id="6" idx="1"/>
            </p:cNvCxnSpPr>
            <p:nvPr/>
          </p:nvCxnSpPr>
          <p:spPr>
            <a:xfrm>
              <a:off x="2534640" y="1954344"/>
              <a:ext cx="794870" cy="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3" name="Elbow Connector 47">
              <a:extLst>
                <a:ext uri="{FF2B5EF4-FFF2-40B4-BE49-F238E27FC236}">
                  <a16:creationId xmlns:a16="http://schemas.microsoft.com/office/drawing/2014/main" id="{1E417F6F-B514-4D3E-A550-6C6B36B18CEC}"/>
                </a:ext>
              </a:extLst>
            </p:cNvPr>
            <p:cNvCxnSpPr>
              <a:stCxn id="6" idx="3"/>
              <a:endCxn id="9" idx="1"/>
            </p:cNvCxnSpPr>
            <p:nvPr/>
          </p:nvCxnSpPr>
          <p:spPr>
            <a:xfrm>
              <a:off x="5437710" y="1954344"/>
              <a:ext cx="812052" cy="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4" name="Elbow Connector 47">
              <a:extLst>
                <a:ext uri="{FF2B5EF4-FFF2-40B4-BE49-F238E27FC236}">
                  <a16:creationId xmlns:a16="http://schemas.microsoft.com/office/drawing/2014/main" id="{C9273110-0C74-49BE-A442-080A57E315F5}"/>
                </a:ext>
              </a:extLst>
            </p:cNvPr>
            <p:cNvCxnSpPr>
              <a:stCxn id="9" idx="3"/>
              <a:endCxn id="11" idx="1"/>
            </p:cNvCxnSpPr>
            <p:nvPr/>
          </p:nvCxnSpPr>
          <p:spPr>
            <a:xfrm>
              <a:off x="8357962" y="1954344"/>
              <a:ext cx="812800" cy="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5" name="Elbow Connector 51">
              <a:extLst>
                <a:ext uri="{FF2B5EF4-FFF2-40B4-BE49-F238E27FC236}">
                  <a16:creationId xmlns:a16="http://schemas.microsoft.com/office/drawing/2014/main" id="{A195E8FC-03B1-4231-9E96-BE6B4F48E359}"/>
                </a:ext>
              </a:extLst>
            </p:cNvPr>
            <p:cNvCxnSpPr>
              <a:stCxn id="12" idx="2"/>
            </p:cNvCxnSpPr>
            <p:nvPr/>
          </p:nvCxnSpPr>
          <p:spPr>
            <a:xfrm rot="16200000" flipH="1">
              <a:off x="4553495" y="4433473"/>
              <a:ext cx="1297401" cy="1"/>
            </a:xfrm>
            <a:prstGeom prst="bentConnector3">
              <a:avLst>
                <a:gd name="adj1" fmla="val 50000"/>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sp>
          <p:nvSpPr>
            <p:cNvPr id="26" name="TextBox 25">
              <a:extLst>
                <a:ext uri="{FF2B5EF4-FFF2-40B4-BE49-F238E27FC236}">
                  <a16:creationId xmlns:a16="http://schemas.microsoft.com/office/drawing/2014/main" id="{E9378F33-8BDC-450C-8825-7815AD777584}"/>
                </a:ext>
              </a:extLst>
            </p:cNvPr>
            <p:cNvSpPr txBox="1"/>
            <p:nvPr/>
          </p:nvSpPr>
          <p:spPr>
            <a:xfrm>
              <a:off x="7553944" y="2814281"/>
              <a:ext cx="542136" cy="369332"/>
            </a:xfrm>
            <a:prstGeom prst="rect">
              <a:avLst/>
            </a:prstGeom>
            <a:noFill/>
          </p:spPr>
          <p:txBody>
            <a:bodyPr wrap="none" rtlCol="0">
              <a:spAutoFit/>
            </a:bodyPr>
            <a:lstStyle/>
            <a:p>
              <a:pPr defTabSz="457200">
                <a:buSzPct val="110000"/>
              </a:pPr>
              <a:r>
                <a:rPr lang="en-US" b="1" dirty="0">
                  <a:solidFill>
                    <a:srgbClr val="000000"/>
                  </a:solidFill>
                  <a:latin typeface="Segoe UI Light" panose="020B0502040204020203" pitchFamily="34" charset="0"/>
                </a:rPr>
                <a:t>NO</a:t>
              </a:r>
            </a:p>
          </p:txBody>
        </p:sp>
        <p:cxnSp>
          <p:nvCxnSpPr>
            <p:cNvPr id="27" name="Elbow Connector 53">
              <a:extLst>
                <a:ext uri="{FF2B5EF4-FFF2-40B4-BE49-F238E27FC236}">
                  <a16:creationId xmlns:a16="http://schemas.microsoft.com/office/drawing/2014/main" id="{4A23D5D7-7B2D-4AAA-9978-D5BA84094ABA}"/>
                </a:ext>
              </a:extLst>
            </p:cNvPr>
            <p:cNvCxnSpPr>
              <a:stCxn id="14" idx="0"/>
              <a:endCxn id="11" idx="2"/>
            </p:cNvCxnSpPr>
            <p:nvPr/>
          </p:nvCxnSpPr>
          <p:spPr>
            <a:xfrm rot="5400000" flipH="1" flipV="1">
              <a:off x="9150986" y="2888524"/>
              <a:ext cx="1514785" cy="632968"/>
            </a:xfrm>
            <a:prstGeom prst="bentConnector3">
              <a:avLst>
                <a:gd name="adj1" fmla="val 50000"/>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8" name="Elbow Connector 54">
              <a:extLst>
                <a:ext uri="{FF2B5EF4-FFF2-40B4-BE49-F238E27FC236}">
                  <a16:creationId xmlns:a16="http://schemas.microsoft.com/office/drawing/2014/main" id="{D21B5062-5C3E-4C0C-B498-3A2F324621E2}"/>
                </a:ext>
              </a:extLst>
            </p:cNvPr>
            <p:cNvCxnSpPr>
              <a:stCxn id="15" idx="3"/>
              <a:endCxn id="11" idx="3"/>
            </p:cNvCxnSpPr>
            <p:nvPr/>
          </p:nvCxnSpPr>
          <p:spPr>
            <a:xfrm flipV="1">
              <a:off x="11122123" y="1954344"/>
              <a:ext cx="156839" cy="4214719"/>
            </a:xfrm>
            <a:prstGeom prst="bentConnector3">
              <a:avLst>
                <a:gd name="adj1" fmla="val 51484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grpSp>
    </p:spTree>
    <p:extLst>
      <p:ext uri="{BB962C8B-B14F-4D97-AF65-F5344CB8AC3E}">
        <p14:creationId xmlns:p14="http://schemas.microsoft.com/office/powerpoint/2010/main" val="37091938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1A5D9-963C-4317-B356-4A7E1A8D7D74}"/>
              </a:ext>
            </a:extLst>
          </p:cNvPr>
          <p:cNvSpPr>
            <a:spLocks noGrp="1"/>
          </p:cNvSpPr>
          <p:nvPr>
            <p:ph type="title"/>
          </p:nvPr>
        </p:nvSpPr>
        <p:spPr/>
        <p:txBody>
          <a:bodyPr/>
          <a:lstStyle/>
          <a:p>
            <a:r>
              <a:rPr lang="en-US" dirty="0"/>
              <a:t>Differential Changed Map (DCM)</a:t>
            </a:r>
          </a:p>
        </p:txBody>
      </p:sp>
      <p:sp>
        <p:nvSpPr>
          <p:cNvPr id="4" name="Content Placeholder 3">
            <a:extLst>
              <a:ext uri="{FF2B5EF4-FFF2-40B4-BE49-F238E27FC236}">
                <a16:creationId xmlns:a16="http://schemas.microsoft.com/office/drawing/2014/main" id="{9E5F6C3F-32FD-41B0-AA7E-62673DD37149}"/>
              </a:ext>
            </a:extLst>
          </p:cNvPr>
          <p:cNvSpPr>
            <a:spLocks noGrp="1"/>
          </p:cNvSpPr>
          <p:nvPr>
            <p:ph sz="quarter" idx="13"/>
          </p:nvPr>
        </p:nvSpPr>
        <p:spPr/>
        <p:txBody>
          <a:bodyPr/>
          <a:lstStyle/>
          <a:p>
            <a:r>
              <a:rPr lang="en-US" dirty="0"/>
              <a:t>Differential backups read the DCM pages to determine which extents have been modified and needs to be backed up.</a:t>
            </a:r>
          </a:p>
          <a:p>
            <a:r>
              <a:rPr lang="en-US" dirty="0"/>
              <a:t>Tracks the extents that have changed since the last BACKUP DATABASE statement.</a:t>
            </a:r>
          </a:p>
          <a:p>
            <a:pPr marL="0" indent="0">
              <a:buNone/>
            </a:pPr>
            <a:endParaRPr lang="en-US" dirty="0"/>
          </a:p>
        </p:txBody>
      </p:sp>
      <p:grpSp>
        <p:nvGrpSpPr>
          <p:cNvPr id="15" name="Group 14">
            <a:extLst>
              <a:ext uri="{FF2B5EF4-FFF2-40B4-BE49-F238E27FC236}">
                <a16:creationId xmlns:a16="http://schemas.microsoft.com/office/drawing/2014/main" id="{0336FC8F-056D-4C7A-86F0-6598A24C2FAB}"/>
              </a:ext>
            </a:extLst>
          </p:cNvPr>
          <p:cNvGrpSpPr/>
          <p:nvPr/>
        </p:nvGrpSpPr>
        <p:grpSpPr>
          <a:xfrm>
            <a:off x="2406978" y="3193330"/>
            <a:ext cx="8009641" cy="2387338"/>
            <a:chOff x="4354196" y="4109859"/>
            <a:chExt cx="4104004" cy="1261548"/>
          </a:xfrm>
        </p:grpSpPr>
        <p:sp>
          <p:nvSpPr>
            <p:cNvPr id="5" name="Rectangle 4">
              <a:extLst>
                <a:ext uri="{FF2B5EF4-FFF2-40B4-BE49-F238E27FC236}">
                  <a16:creationId xmlns:a16="http://schemas.microsoft.com/office/drawing/2014/main" id="{373CB32A-F9E9-48C0-8903-65F48CC982A3}"/>
                </a:ext>
              </a:extLst>
            </p:cNvPr>
            <p:cNvSpPr/>
            <p:nvPr/>
          </p:nvSpPr>
          <p:spPr>
            <a:xfrm>
              <a:off x="4354197" y="4109859"/>
              <a:ext cx="501539" cy="1219200"/>
            </a:xfrm>
            <a:prstGeom prst="rect">
              <a:avLst/>
            </a:prstGeom>
            <a:solidFill>
              <a:srgbClr val="129038">
                <a:lumMod val="40000"/>
                <a:lumOff val="60000"/>
              </a:srgbClr>
            </a:solidFill>
            <a:ln w="25400" cap="flat" cmpd="sng" algn="ctr">
              <a:solidFill>
                <a:srgbClr val="000000"/>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GB"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40D91B3D-8DE3-459F-BD19-D1F62563E822}"/>
                </a:ext>
              </a:extLst>
            </p:cNvPr>
            <p:cNvSpPr/>
            <p:nvPr/>
          </p:nvSpPr>
          <p:spPr>
            <a:xfrm>
              <a:off x="4354197" y="4109859"/>
              <a:ext cx="501539" cy="76200"/>
            </a:xfrm>
            <a:prstGeom prst="rect">
              <a:avLst/>
            </a:prstGeom>
            <a:solidFill>
              <a:srgbClr val="FFFF00"/>
            </a:solidFill>
            <a:ln w="25400" cap="flat" cmpd="sng" algn="ctr">
              <a:solidFill>
                <a:srgbClr val="000000"/>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GB"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7" name="TextBox 6">
              <a:extLst>
                <a:ext uri="{FF2B5EF4-FFF2-40B4-BE49-F238E27FC236}">
                  <a16:creationId xmlns:a16="http://schemas.microsoft.com/office/drawing/2014/main" id="{23492DEB-9E27-43CE-98B7-FA80CD494513}"/>
                </a:ext>
              </a:extLst>
            </p:cNvPr>
            <p:cNvSpPr txBox="1"/>
            <p:nvPr/>
          </p:nvSpPr>
          <p:spPr>
            <a:xfrm>
              <a:off x="5013022" y="4751936"/>
              <a:ext cx="3445178" cy="374070"/>
            </a:xfrm>
            <a:prstGeom prst="rect">
              <a:avLst/>
            </a:prstGeom>
            <a:noFill/>
            <a:ln>
              <a:solidFill>
                <a:sysClr val="window" lastClr="FFFFFF"/>
              </a:solidFill>
            </a:ln>
          </p:spPr>
          <p:txBody>
            <a:bodyPr wrap="square" rtlCol="0">
              <a:spAutoFit/>
            </a:bodyPr>
            <a:lstStyle/>
            <a:p>
              <a:pPr lvl="0" defTabSz="457200">
                <a:buSzPct val="110000"/>
                <a:defRPr/>
              </a:pPr>
              <a:r>
                <a:rPr kumimoji="0" lang="en-GB" sz="2000" b="0" i="0" u="none" strike="noStrike" kern="0" cap="none" spc="0" normalizeH="0" baseline="0" noProof="0" dirty="0">
                  <a:ln>
                    <a:noFill/>
                  </a:ln>
                  <a:solidFill>
                    <a:srgbClr val="000000"/>
                  </a:solidFill>
                  <a:effectLst/>
                  <a:uLnTx/>
                  <a:uFillTx/>
                </a:rPr>
                <a:t>Bit = 0: Extent </a:t>
              </a:r>
              <a:r>
                <a:rPr lang="en-US" sz="2000" dirty="0"/>
                <a:t>has not been modified</a:t>
              </a:r>
              <a:endParaRPr kumimoji="0" lang="en-GB" sz="2000" b="0" i="0" u="none" strike="noStrike" kern="0" cap="none" spc="0" normalizeH="0" baseline="0" noProof="0" dirty="0">
                <a:ln>
                  <a:noFill/>
                </a:ln>
                <a:solidFill>
                  <a:srgbClr val="000000"/>
                </a:solidFill>
                <a:effectLst/>
                <a:uLnTx/>
                <a:uFillTx/>
              </a:endParaRPr>
            </a:p>
            <a:p>
              <a:pPr lvl="0" defTabSz="457200">
                <a:buSzPct val="110000"/>
                <a:defRPr/>
              </a:pPr>
              <a:r>
                <a:rPr kumimoji="0" lang="en-GB" sz="2000" b="0" i="0" u="none" strike="noStrike" kern="0" cap="none" spc="0" normalizeH="0" baseline="0" noProof="0" dirty="0">
                  <a:ln>
                    <a:noFill/>
                  </a:ln>
                  <a:solidFill>
                    <a:srgbClr val="000000"/>
                  </a:solidFill>
                  <a:effectLst/>
                  <a:uLnTx/>
                  <a:uFillTx/>
                </a:rPr>
                <a:t>Bit = 1: Extent </a:t>
              </a:r>
              <a:r>
                <a:rPr lang="en-US" sz="2000" dirty="0"/>
                <a:t>has been modified </a:t>
              </a:r>
              <a:endParaRPr kumimoji="0" lang="en-GB" sz="2000" b="0" i="0" u="none" strike="noStrike" kern="0" cap="none" spc="0" normalizeH="0" baseline="0" noProof="0" dirty="0">
                <a:ln>
                  <a:noFill/>
                </a:ln>
                <a:solidFill>
                  <a:srgbClr val="000000"/>
                </a:solidFill>
                <a:effectLst/>
                <a:uLnTx/>
                <a:uFillTx/>
              </a:endParaRPr>
            </a:p>
          </p:txBody>
        </p:sp>
        <p:sp>
          <p:nvSpPr>
            <p:cNvPr id="8" name="Rectangle 7">
              <a:extLst>
                <a:ext uri="{FF2B5EF4-FFF2-40B4-BE49-F238E27FC236}">
                  <a16:creationId xmlns:a16="http://schemas.microsoft.com/office/drawing/2014/main" id="{35F826D6-55A7-41D6-A364-810758CABF43}"/>
                </a:ext>
              </a:extLst>
            </p:cNvPr>
            <p:cNvSpPr/>
            <p:nvPr/>
          </p:nvSpPr>
          <p:spPr>
            <a:xfrm>
              <a:off x="5968995" y="4165506"/>
              <a:ext cx="324903" cy="304801"/>
            </a:xfrm>
            <a:prstGeom prst="rect">
              <a:avLst/>
            </a:prstGeom>
            <a:solidFill>
              <a:srgbClr val="99FF99"/>
            </a:solidFill>
            <a:ln w="25400" cap="flat" cmpd="sng" algn="ctr">
              <a:solidFill>
                <a:srgbClr val="000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rgbClr val="000000"/>
                  </a:solidFill>
                  <a:effectLst/>
                  <a:uLnTx/>
                  <a:uFillTx/>
                  <a:latin typeface="Segoe UI"/>
                  <a:ea typeface="+mn-ea"/>
                  <a:cs typeface="+mn-cs"/>
                </a:rPr>
                <a:t>0</a:t>
              </a:r>
            </a:p>
          </p:txBody>
        </p:sp>
        <p:sp>
          <p:nvSpPr>
            <p:cNvPr id="9" name="Rectangle 8">
              <a:extLst>
                <a:ext uri="{FF2B5EF4-FFF2-40B4-BE49-F238E27FC236}">
                  <a16:creationId xmlns:a16="http://schemas.microsoft.com/office/drawing/2014/main" id="{904F4358-D135-4C55-8DEF-6CE322CA7BB0}"/>
                </a:ext>
              </a:extLst>
            </p:cNvPr>
            <p:cNvSpPr/>
            <p:nvPr/>
          </p:nvSpPr>
          <p:spPr>
            <a:xfrm>
              <a:off x="6293898" y="4165506"/>
              <a:ext cx="324903" cy="304801"/>
            </a:xfrm>
            <a:prstGeom prst="rect">
              <a:avLst/>
            </a:prstGeom>
            <a:solidFill>
              <a:srgbClr val="99FF99"/>
            </a:solidFill>
            <a:ln w="25400" cap="flat" cmpd="sng" algn="ctr">
              <a:solidFill>
                <a:srgbClr val="000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rgbClr val="000000"/>
                  </a:solidFill>
                  <a:effectLst/>
                  <a:uLnTx/>
                  <a:uFillTx/>
                  <a:latin typeface="Segoe UI"/>
                  <a:ea typeface="+mn-ea"/>
                  <a:cs typeface="+mn-cs"/>
                </a:rPr>
                <a:t>1</a:t>
              </a:r>
            </a:p>
          </p:txBody>
        </p:sp>
        <p:sp>
          <p:nvSpPr>
            <p:cNvPr id="10" name="TextBox 9">
              <a:extLst>
                <a:ext uri="{FF2B5EF4-FFF2-40B4-BE49-F238E27FC236}">
                  <a16:creationId xmlns:a16="http://schemas.microsoft.com/office/drawing/2014/main" id="{03C26F3A-4F3C-49D7-BBF7-A075032BCFC5}"/>
                </a:ext>
              </a:extLst>
            </p:cNvPr>
            <p:cNvSpPr txBox="1"/>
            <p:nvPr/>
          </p:nvSpPr>
          <p:spPr>
            <a:xfrm>
              <a:off x="5840895" y="4485375"/>
              <a:ext cx="1022077" cy="170771"/>
            </a:xfrm>
            <a:prstGeom prst="rect">
              <a:avLst/>
            </a:prstGeom>
            <a:noFill/>
            <a:ln>
              <a:solidFill>
                <a:sysClr val="window" lastClr="FFFFFF"/>
              </a:solidFill>
            </a:ln>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lang="en-GB" sz="1500" kern="0" dirty="0">
                  <a:solidFill>
                    <a:srgbClr val="000000"/>
                  </a:solidFill>
                </a:rPr>
                <a:t>DCM</a:t>
              </a:r>
              <a:r>
                <a:rPr kumimoji="0" lang="en-GB" sz="1500" b="0" i="0" u="none" strike="noStrike" kern="0" cap="none" spc="0" normalizeH="0" baseline="0" noProof="0" dirty="0">
                  <a:ln>
                    <a:noFill/>
                  </a:ln>
                  <a:solidFill>
                    <a:srgbClr val="000000"/>
                  </a:solidFill>
                  <a:effectLst/>
                  <a:uLnTx/>
                  <a:uFillTx/>
                </a:rPr>
                <a:t> Bitmap = 1 Bit</a:t>
              </a:r>
            </a:p>
          </p:txBody>
        </p:sp>
        <p:sp>
          <p:nvSpPr>
            <p:cNvPr id="11" name="Rectangle 10">
              <a:extLst>
                <a:ext uri="{FF2B5EF4-FFF2-40B4-BE49-F238E27FC236}">
                  <a16:creationId xmlns:a16="http://schemas.microsoft.com/office/drawing/2014/main" id="{DF589DC9-3278-4FB3-BF6D-E073E115C086}"/>
                </a:ext>
              </a:extLst>
            </p:cNvPr>
            <p:cNvSpPr/>
            <p:nvPr/>
          </p:nvSpPr>
          <p:spPr>
            <a:xfrm>
              <a:off x="4355159" y="4231778"/>
              <a:ext cx="501539" cy="45719"/>
            </a:xfrm>
            <a:prstGeom prst="rect">
              <a:avLst/>
            </a:prstGeom>
            <a:solidFill>
              <a:srgbClr val="99FF99"/>
            </a:solidFill>
            <a:ln w="25400" cap="flat" cmpd="sng" algn="ctr">
              <a:solidFill>
                <a:srgbClr val="000000"/>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GB" sz="1800" b="0" i="0" u="none" strike="noStrike" kern="0" cap="none" spc="0" normalizeH="0" baseline="0" noProof="0" dirty="0">
                <a:ln>
                  <a:noFill/>
                </a:ln>
                <a:solidFill>
                  <a:srgbClr val="000000"/>
                </a:solidFill>
                <a:effectLst/>
                <a:uLnTx/>
                <a:uFillTx/>
                <a:latin typeface="Segoe UI"/>
                <a:ea typeface="+mn-ea"/>
                <a:cs typeface="+mn-cs"/>
              </a:endParaRPr>
            </a:p>
          </p:txBody>
        </p:sp>
        <p:cxnSp>
          <p:nvCxnSpPr>
            <p:cNvPr id="12" name="Straight Connector 11">
              <a:extLst>
                <a:ext uri="{FF2B5EF4-FFF2-40B4-BE49-F238E27FC236}">
                  <a16:creationId xmlns:a16="http://schemas.microsoft.com/office/drawing/2014/main" id="{82B12B57-849C-4212-8EEB-F5479702B459}"/>
                </a:ext>
              </a:extLst>
            </p:cNvPr>
            <p:cNvCxnSpPr>
              <a:endCxn id="8" idx="1"/>
            </p:cNvCxnSpPr>
            <p:nvPr/>
          </p:nvCxnSpPr>
          <p:spPr>
            <a:xfrm>
              <a:off x="4856083" y="4208916"/>
              <a:ext cx="1112912" cy="108991"/>
            </a:xfrm>
            <a:prstGeom prst="line">
              <a:avLst/>
            </a:prstGeom>
            <a:noFill/>
            <a:ln w="9525" cap="flat" cmpd="sng" algn="ctr">
              <a:solidFill>
                <a:srgbClr val="000000"/>
              </a:solidFill>
              <a:prstDash val="solid"/>
              <a:tailEnd type="triangle"/>
            </a:ln>
            <a:effectLst/>
          </p:spPr>
        </p:cxnSp>
        <p:sp>
          <p:nvSpPr>
            <p:cNvPr id="13" name="Rectangle 12">
              <a:extLst>
                <a:ext uri="{FF2B5EF4-FFF2-40B4-BE49-F238E27FC236}">
                  <a16:creationId xmlns:a16="http://schemas.microsoft.com/office/drawing/2014/main" id="{9066A386-D587-4CA5-8516-FC26C511B27A}"/>
                </a:ext>
              </a:extLst>
            </p:cNvPr>
            <p:cNvSpPr/>
            <p:nvPr/>
          </p:nvSpPr>
          <p:spPr>
            <a:xfrm>
              <a:off x="4354196" y="4186059"/>
              <a:ext cx="501539" cy="45719"/>
            </a:xfrm>
            <a:prstGeom prst="rect">
              <a:avLst/>
            </a:prstGeom>
            <a:solidFill>
              <a:srgbClr val="99FF99"/>
            </a:solidFill>
            <a:ln w="25400" cap="flat" cmpd="sng" algn="ctr">
              <a:solidFill>
                <a:srgbClr val="000000"/>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GB"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4" name="TextBox 13">
              <a:extLst>
                <a:ext uri="{FF2B5EF4-FFF2-40B4-BE49-F238E27FC236}">
                  <a16:creationId xmlns:a16="http://schemas.microsoft.com/office/drawing/2014/main" id="{E93A34FC-724E-4712-8B2E-F36DABE4A158}"/>
                </a:ext>
              </a:extLst>
            </p:cNvPr>
            <p:cNvSpPr txBox="1"/>
            <p:nvPr/>
          </p:nvSpPr>
          <p:spPr>
            <a:xfrm>
              <a:off x="4495800" y="4263411"/>
              <a:ext cx="218330" cy="1107996"/>
            </a:xfrm>
            <a:prstGeom prst="rect">
              <a:avLst/>
            </a:prstGeom>
            <a:noFill/>
            <a:ln>
              <a:solidFill>
                <a:srgbClr val="000000"/>
              </a:solidFill>
            </a:ln>
          </p:spPr>
          <p:txBody>
            <a:bodyPr wrap="non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GB" sz="1200" b="0" i="0" u="none" strike="noStrike" kern="0" cap="none" spc="0" normalizeH="0" baseline="0" noProof="0" dirty="0">
                  <a:ln>
                    <a:noFill/>
                  </a:ln>
                  <a:solidFill>
                    <a:srgbClr val="000000"/>
                  </a:solidFill>
                  <a:effectLst/>
                  <a:uLnTx/>
                  <a:uFillTx/>
                </a:rPr>
                <a:t>.</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GB" sz="1200" b="0" i="0" u="none" strike="noStrike" kern="0" cap="none" spc="0" normalizeH="0" baseline="0" noProof="0" dirty="0">
                  <a:ln>
                    <a:noFill/>
                  </a:ln>
                  <a:solidFill>
                    <a:srgbClr val="000000"/>
                  </a:solidFill>
                  <a:effectLst/>
                  <a:uLnTx/>
                  <a:uFillTx/>
                </a:rPr>
                <a:t>.</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GB" sz="1200" b="0" i="0" u="none" strike="noStrike" kern="0" cap="none" spc="0" normalizeH="0" baseline="0" noProof="0" dirty="0">
                  <a:ln>
                    <a:noFill/>
                  </a:ln>
                  <a:solidFill>
                    <a:srgbClr val="000000"/>
                  </a:solidFill>
                  <a:effectLst/>
                  <a:uLnTx/>
                  <a:uFillTx/>
                </a:rPr>
                <a:t>.</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GB" sz="1200" b="0" i="0" u="none" strike="noStrike" kern="0" cap="none" spc="0" normalizeH="0" baseline="0" noProof="0" dirty="0">
                  <a:ln>
                    <a:noFill/>
                  </a:ln>
                  <a:solidFill>
                    <a:srgbClr val="000000"/>
                  </a:solidFill>
                  <a:effectLst/>
                  <a:uLnTx/>
                  <a:uFillTx/>
                </a:rPr>
                <a:t>.</a:t>
              </a:r>
            </a:p>
            <a:p>
              <a:pPr marL="0" marR="0" lvl="0" indent="0" defTabSz="457200" eaLnBrk="1" fontAlgn="auto" latinLnBrk="0" hangingPunct="1">
                <a:lnSpc>
                  <a:spcPct val="100000"/>
                </a:lnSpc>
                <a:spcBef>
                  <a:spcPts val="0"/>
                </a:spcBef>
                <a:spcAft>
                  <a:spcPts val="0"/>
                </a:spcAft>
                <a:buClrTx/>
                <a:buSzPct val="110000"/>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34326359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81DD6B-6EA5-42DA-942A-B374042ADE57}"/>
              </a:ext>
            </a:extLst>
          </p:cNvPr>
          <p:cNvSpPr>
            <a:spLocks noGrp="1"/>
          </p:cNvSpPr>
          <p:nvPr>
            <p:ph type="title"/>
          </p:nvPr>
        </p:nvSpPr>
        <p:spPr/>
        <p:txBody>
          <a:bodyPr/>
          <a:lstStyle/>
          <a:p>
            <a:r>
              <a:rPr lang="en-US" dirty="0"/>
              <a:t>Bulk Changed Map (BCM)</a:t>
            </a:r>
          </a:p>
        </p:txBody>
      </p:sp>
      <p:sp>
        <p:nvSpPr>
          <p:cNvPr id="4" name="Content Placeholder 3">
            <a:extLst>
              <a:ext uri="{FF2B5EF4-FFF2-40B4-BE49-F238E27FC236}">
                <a16:creationId xmlns:a16="http://schemas.microsoft.com/office/drawing/2014/main" id="{89E20844-C3D7-44B5-84C1-E64B49D8A330}"/>
              </a:ext>
            </a:extLst>
          </p:cNvPr>
          <p:cNvSpPr>
            <a:spLocks noGrp="1"/>
          </p:cNvSpPr>
          <p:nvPr>
            <p:ph sz="quarter" idx="13"/>
          </p:nvPr>
        </p:nvSpPr>
        <p:spPr/>
        <p:txBody>
          <a:bodyPr/>
          <a:lstStyle/>
          <a:p>
            <a:r>
              <a:rPr lang="en-US" dirty="0"/>
              <a:t>This tracks the extents that have been modified by bulk logged operations (bcp, BULK INSERT, INSERT... SELECT, SELECT INTO, ALTER INDEX REBUILD, and others) since the last BACKUP LOG statement.</a:t>
            </a:r>
          </a:p>
        </p:txBody>
      </p:sp>
      <p:graphicFrame>
        <p:nvGraphicFramePr>
          <p:cNvPr id="7" name="Diagram 6">
            <a:extLst>
              <a:ext uri="{FF2B5EF4-FFF2-40B4-BE49-F238E27FC236}">
                <a16:creationId xmlns:a16="http://schemas.microsoft.com/office/drawing/2014/main" id="{DFA70EE5-47C2-4188-B4E4-F58C87B3B8E6}"/>
              </a:ext>
            </a:extLst>
          </p:cNvPr>
          <p:cNvGraphicFramePr/>
          <p:nvPr>
            <p:extLst>
              <p:ext uri="{D42A27DB-BD31-4B8C-83A1-F6EECF244321}">
                <p14:modId xmlns:p14="http://schemas.microsoft.com/office/powerpoint/2010/main" val="2325379868"/>
              </p:ext>
            </p:extLst>
          </p:nvPr>
        </p:nvGraphicFramePr>
        <p:xfrm>
          <a:off x="655636" y="5522976"/>
          <a:ext cx="10880726" cy="5910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8" name="Group 17">
            <a:extLst>
              <a:ext uri="{FF2B5EF4-FFF2-40B4-BE49-F238E27FC236}">
                <a16:creationId xmlns:a16="http://schemas.microsoft.com/office/drawing/2014/main" id="{DB2F157F-81AE-4B1E-A252-4773147D7D22}"/>
              </a:ext>
            </a:extLst>
          </p:cNvPr>
          <p:cNvGrpSpPr/>
          <p:nvPr/>
        </p:nvGrpSpPr>
        <p:grpSpPr>
          <a:xfrm>
            <a:off x="1404594" y="2677927"/>
            <a:ext cx="10131768" cy="2495557"/>
            <a:chOff x="4354196" y="4109859"/>
            <a:chExt cx="6085204" cy="1261548"/>
          </a:xfrm>
        </p:grpSpPr>
        <p:sp>
          <p:nvSpPr>
            <p:cNvPr id="8" name="Rectangle 7">
              <a:extLst>
                <a:ext uri="{FF2B5EF4-FFF2-40B4-BE49-F238E27FC236}">
                  <a16:creationId xmlns:a16="http://schemas.microsoft.com/office/drawing/2014/main" id="{045CCA23-C533-4C61-BBD5-F1CCB9E0306B}"/>
                </a:ext>
              </a:extLst>
            </p:cNvPr>
            <p:cNvSpPr/>
            <p:nvPr/>
          </p:nvSpPr>
          <p:spPr>
            <a:xfrm>
              <a:off x="4354197" y="4109859"/>
              <a:ext cx="501539" cy="1219200"/>
            </a:xfrm>
            <a:prstGeom prst="rect">
              <a:avLst/>
            </a:prstGeom>
            <a:solidFill>
              <a:srgbClr val="129038">
                <a:lumMod val="40000"/>
                <a:lumOff val="60000"/>
              </a:srgbClr>
            </a:solidFill>
            <a:ln w="25400" cap="flat" cmpd="sng" algn="ctr">
              <a:solidFill>
                <a:srgbClr val="000000"/>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8"/>
                </a:buBlip>
                <a:tabLst/>
                <a:defRPr/>
              </a:pPr>
              <a:endParaRPr kumimoji="0" lang="en-GB"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94CC4DB6-AE74-498A-9D85-CBB1FEC3186B}"/>
                </a:ext>
              </a:extLst>
            </p:cNvPr>
            <p:cNvSpPr/>
            <p:nvPr/>
          </p:nvSpPr>
          <p:spPr>
            <a:xfrm>
              <a:off x="4354197" y="4109859"/>
              <a:ext cx="501539" cy="76200"/>
            </a:xfrm>
            <a:prstGeom prst="rect">
              <a:avLst/>
            </a:prstGeom>
            <a:solidFill>
              <a:srgbClr val="FFFF00"/>
            </a:solidFill>
            <a:ln w="25400" cap="flat" cmpd="sng" algn="ctr">
              <a:solidFill>
                <a:srgbClr val="000000"/>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8"/>
                </a:buBlip>
                <a:tabLst/>
                <a:defRPr/>
              </a:pPr>
              <a:endParaRPr kumimoji="0" lang="en-GB"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812F8AC5-BE68-4EDB-BDF2-AB9810E2DFBC}"/>
                </a:ext>
              </a:extLst>
            </p:cNvPr>
            <p:cNvSpPr txBox="1"/>
            <p:nvPr/>
          </p:nvSpPr>
          <p:spPr>
            <a:xfrm>
              <a:off x="5013022" y="4751936"/>
              <a:ext cx="5426378" cy="513436"/>
            </a:xfrm>
            <a:prstGeom prst="rect">
              <a:avLst/>
            </a:prstGeom>
            <a:noFill/>
            <a:ln>
              <a:solidFill>
                <a:sysClr val="window" lastClr="FFFFFF"/>
              </a:solidFill>
            </a:ln>
          </p:spPr>
          <p:txBody>
            <a:bodyPr wrap="square" rtlCol="0">
              <a:spAutoFit/>
            </a:bodyPr>
            <a:lstStyle/>
            <a:p>
              <a:pPr lvl="0" defTabSz="457200">
                <a:buSzPct val="110000"/>
                <a:defRPr/>
              </a:pPr>
              <a:r>
                <a:rPr kumimoji="0" lang="en-GB" sz="2000" b="0" i="0" u="none" strike="noStrike" kern="0" cap="none" spc="0" normalizeH="0" baseline="0" noProof="0" dirty="0">
                  <a:ln>
                    <a:noFill/>
                  </a:ln>
                  <a:solidFill>
                    <a:srgbClr val="000000"/>
                  </a:solidFill>
                  <a:effectLst/>
                  <a:uLnTx/>
                  <a:uFillTx/>
                </a:rPr>
                <a:t>Bit = 0: Extent </a:t>
              </a:r>
              <a:r>
                <a:rPr lang="en-US" sz="2000" dirty="0"/>
                <a:t>has not been modified by bulk logged operations.</a:t>
              </a:r>
              <a:endParaRPr kumimoji="0" lang="en-GB" sz="2000" b="0" i="0" u="none" strike="noStrike" kern="0" cap="none" spc="0" normalizeH="0" baseline="0" noProof="0" dirty="0">
                <a:ln>
                  <a:noFill/>
                </a:ln>
                <a:solidFill>
                  <a:srgbClr val="000000"/>
                </a:solidFill>
                <a:effectLst/>
                <a:uLnTx/>
                <a:uFillTx/>
              </a:endParaRPr>
            </a:p>
            <a:p>
              <a:pPr lvl="0" defTabSz="457200">
                <a:buSzPct val="110000"/>
                <a:defRPr/>
              </a:pPr>
              <a:r>
                <a:rPr kumimoji="0" lang="en-GB" sz="2000" b="0" i="0" u="none" strike="noStrike" kern="0" cap="none" spc="0" normalizeH="0" baseline="0" noProof="0" dirty="0">
                  <a:ln>
                    <a:noFill/>
                  </a:ln>
                  <a:solidFill>
                    <a:srgbClr val="000000"/>
                  </a:solidFill>
                  <a:effectLst/>
                  <a:uLnTx/>
                  <a:uFillTx/>
                </a:rPr>
                <a:t>Bit = 1: Extent </a:t>
              </a:r>
              <a:r>
                <a:rPr lang="en-US" sz="2000" dirty="0"/>
                <a:t>has been modified by a bulk logged operation after the last BACKUP LOG statement </a:t>
              </a:r>
              <a:endParaRPr kumimoji="0" lang="en-GB" sz="2000" b="0" i="0" u="none" strike="noStrike" kern="0" cap="none" spc="0" normalizeH="0" baseline="0" noProof="0" dirty="0">
                <a:ln>
                  <a:noFill/>
                </a:ln>
                <a:solidFill>
                  <a:srgbClr val="000000"/>
                </a:solidFill>
                <a:effectLst/>
                <a:uLnTx/>
                <a:uFillTx/>
              </a:endParaRPr>
            </a:p>
          </p:txBody>
        </p:sp>
        <p:sp>
          <p:nvSpPr>
            <p:cNvPr id="11" name="Rectangle 10">
              <a:extLst>
                <a:ext uri="{FF2B5EF4-FFF2-40B4-BE49-F238E27FC236}">
                  <a16:creationId xmlns:a16="http://schemas.microsoft.com/office/drawing/2014/main" id="{073E9881-2F67-4EF1-B169-CE0531100A6E}"/>
                </a:ext>
              </a:extLst>
            </p:cNvPr>
            <p:cNvSpPr/>
            <p:nvPr/>
          </p:nvSpPr>
          <p:spPr>
            <a:xfrm>
              <a:off x="5968995" y="4165506"/>
              <a:ext cx="324903" cy="304801"/>
            </a:xfrm>
            <a:prstGeom prst="rect">
              <a:avLst/>
            </a:prstGeom>
            <a:solidFill>
              <a:srgbClr val="99FF99"/>
            </a:solidFill>
            <a:ln w="25400" cap="flat" cmpd="sng" algn="ctr">
              <a:solidFill>
                <a:srgbClr val="000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rgbClr val="000000"/>
                  </a:solidFill>
                  <a:effectLst/>
                  <a:uLnTx/>
                  <a:uFillTx/>
                  <a:latin typeface="Segoe UI"/>
                  <a:ea typeface="+mn-ea"/>
                  <a:cs typeface="+mn-cs"/>
                </a:rPr>
                <a:t>0</a:t>
              </a:r>
            </a:p>
          </p:txBody>
        </p:sp>
        <p:sp>
          <p:nvSpPr>
            <p:cNvPr id="12" name="Rectangle 11">
              <a:extLst>
                <a:ext uri="{FF2B5EF4-FFF2-40B4-BE49-F238E27FC236}">
                  <a16:creationId xmlns:a16="http://schemas.microsoft.com/office/drawing/2014/main" id="{D3E5EE39-89CF-4C7C-A48A-C7DA670EE23A}"/>
                </a:ext>
              </a:extLst>
            </p:cNvPr>
            <p:cNvSpPr/>
            <p:nvPr/>
          </p:nvSpPr>
          <p:spPr>
            <a:xfrm>
              <a:off x="6293898" y="4165506"/>
              <a:ext cx="324903" cy="304801"/>
            </a:xfrm>
            <a:prstGeom prst="rect">
              <a:avLst/>
            </a:prstGeom>
            <a:solidFill>
              <a:srgbClr val="99FF99"/>
            </a:solidFill>
            <a:ln w="25400" cap="flat" cmpd="sng" algn="ctr">
              <a:solidFill>
                <a:srgbClr val="000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rgbClr val="000000"/>
                  </a:solidFill>
                  <a:effectLst/>
                  <a:uLnTx/>
                  <a:uFillTx/>
                  <a:latin typeface="Segoe UI"/>
                  <a:ea typeface="+mn-ea"/>
                  <a:cs typeface="+mn-cs"/>
                </a:rPr>
                <a:t>1</a:t>
              </a:r>
            </a:p>
          </p:txBody>
        </p:sp>
        <p:sp>
          <p:nvSpPr>
            <p:cNvPr id="13" name="TextBox 12">
              <a:extLst>
                <a:ext uri="{FF2B5EF4-FFF2-40B4-BE49-F238E27FC236}">
                  <a16:creationId xmlns:a16="http://schemas.microsoft.com/office/drawing/2014/main" id="{7C924979-72F1-4070-BF4D-9CD165B1B760}"/>
                </a:ext>
              </a:extLst>
            </p:cNvPr>
            <p:cNvSpPr txBox="1"/>
            <p:nvPr/>
          </p:nvSpPr>
          <p:spPr>
            <a:xfrm>
              <a:off x="5411013" y="4504971"/>
              <a:ext cx="1880643" cy="323165"/>
            </a:xfrm>
            <a:prstGeom prst="rect">
              <a:avLst/>
            </a:prstGeom>
            <a:noFill/>
            <a:ln>
              <a:solidFill>
                <a:sysClr val="window" lastClr="FFFFFF"/>
              </a:solidFill>
            </a:ln>
          </p:spPr>
          <p:txBody>
            <a:bodyPr wrap="none" rtlCol="0">
              <a:spAutoFit/>
            </a:bodyPr>
            <a:lstStyle/>
            <a:p>
              <a:pPr lvl="0" defTabSz="457200">
                <a:buSzPct val="110000"/>
                <a:defRPr/>
              </a:pPr>
              <a:r>
                <a:rPr lang="en-GB" sz="1500" kern="0" dirty="0">
                  <a:solidFill>
                    <a:srgbClr val="000000"/>
                  </a:solidFill>
                </a:rPr>
                <a:t>BCM</a:t>
              </a:r>
              <a:r>
                <a:rPr kumimoji="0" lang="en-GB" sz="1500" b="0" i="0" u="none" strike="noStrike" kern="0" cap="none" spc="0" normalizeH="0" baseline="0" noProof="0" dirty="0">
                  <a:ln>
                    <a:noFill/>
                  </a:ln>
                  <a:solidFill>
                    <a:srgbClr val="000000"/>
                  </a:solidFill>
                  <a:effectLst/>
                  <a:uLnTx/>
                  <a:uFillTx/>
                </a:rPr>
                <a:t> Bitmap = 1 Bit</a:t>
              </a:r>
            </a:p>
          </p:txBody>
        </p:sp>
        <p:sp>
          <p:nvSpPr>
            <p:cNvPr id="14" name="Rectangle 13">
              <a:extLst>
                <a:ext uri="{FF2B5EF4-FFF2-40B4-BE49-F238E27FC236}">
                  <a16:creationId xmlns:a16="http://schemas.microsoft.com/office/drawing/2014/main" id="{53A445E7-3403-4336-9BAA-DA27FE615134}"/>
                </a:ext>
              </a:extLst>
            </p:cNvPr>
            <p:cNvSpPr/>
            <p:nvPr/>
          </p:nvSpPr>
          <p:spPr>
            <a:xfrm>
              <a:off x="4355159" y="4231778"/>
              <a:ext cx="501539" cy="45719"/>
            </a:xfrm>
            <a:prstGeom prst="rect">
              <a:avLst/>
            </a:prstGeom>
            <a:solidFill>
              <a:srgbClr val="99FF99"/>
            </a:solidFill>
            <a:ln w="25400" cap="flat" cmpd="sng" algn="ctr">
              <a:solidFill>
                <a:srgbClr val="000000"/>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8"/>
                </a:buBlip>
                <a:tabLst/>
                <a:defRPr/>
              </a:pPr>
              <a:endParaRPr kumimoji="0" lang="en-GB" sz="1800" b="0" i="0" u="none" strike="noStrike" kern="0" cap="none" spc="0" normalizeH="0" baseline="0" noProof="0" dirty="0">
                <a:ln>
                  <a:noFill/>
                </a:ln>
                <a:solidFill>
                  <a:srgbClr val="000000"/>
                </a:solidFill>
                <a:effectLst/>
                <a:uLnTx/>
                <a:uFillTx/>
                <a:latin typeface="Segoe UI"/>
                <a:ea typeface="+mn-ea"/>
                <a:cs typeface="+mn-cs"/>
              </a:endParaRPr>
            </a:p>
          </p:txBody>
        </p:sp>
        <p:cxnSp>
          <p:nvCxnSpPr>
            <p:cNvPr id="15" name="Straight Connector 14">
              <a:extLst>
                <a:ext uri="{FF2B5EF4-FFF2-40B4-BE49-F238E27FC236}">
                  <a16:creationId xmlns:a16="http://schemas.microsoft.com/office/drawing/2014/main" id="{2D1D3170-AE62-4DFE-8D4E-9A12FDCA7854}"/>
                </a:ext>
              </a:extLst>
            </p:cNvPr>
            <p:cNvCxnSpPr>
              <a:endCxn id="11" idx="1"/>
            </p:cNvCxnSpPr>
            <p:nvPr/>
          </p:nvCxnSpPr>
          <p:spPr>
            <a:xfrm>
              <a:off x="4856083" y="4208916"/>
              <a:ext cx="1112912" cy="108991"/>
            </a:xfrm>
            <a:prstGeom prst="line">
              <a:avLst/>
            </a:prstGeom>
            <a:noFill/>
            <a:ln w="9525" cap="flat" cmpd="sng" algn="ctr">
              <a:solidFill>
                <a:srgbClr val="000000"/>
              </a:solidFill>
              <a:prstDash val="solid"/>
              <a:tailEnd type="triangle"/>
            </a:ln>
            <a:effectLst/>
          </p:spPr>
        </p:cxnSp>
        <p:sp>
          <p:nvSpPr>
            <p:cNvPr id="16" name="Rectangle 15">
              <a:extLst>
                <a:ext uri="{FF2B5EF4-FFF2-40B4-BE49-F238E27FC236}">
                  <a16:creationId xmlns:a16="http://schemas.microsoft.com/office/drawing/2014/main" id="{C8FA5CCD-EC76-45DC-B853-F6ACAE36035E}"/>
                </a:ext>
              </a:extLst>
            </p:cNvPr>
            <p:cNvSpPr/>
            <p:nvPr/>
          </p:nvSpPr>
          <p:spPr>
            <a:xfrm>
              <a:off x="4354196" y="4186059"/>
              <a:ext cx="501539" cy="45719"/>
            </a:xfrm>
            <a:prstGeom prst="rect">
              <a:avLst/>
            </a:prstGeom>
            <a:solidFill>
              <a:srgbClr val="99FF99"/>
            </a:solidFill>
            <a:ln w="25400" cap="flat" cmpd="sng" algn="ctr">
              <a:solidFill>
                <a:srgbClr val="000000"/>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8"/>
                </a:buBlip>
                <a:tabLst/>
                <a:defRPr/>
              </a:pPr>
              <a:endParaRPr kumimoji="0" lang="en-GB"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7" name="TextBox 16">
              <a:extLst>
                <a:ext uri="{FF2B5EF4-FFF2-40B4-BE49-F238E27FC236}">
                  <a16:creationId xmlns:a16="http://schemas.microsoft.com/office/drawing/2014/main" id="{BB59E2EB-9867-4368-A03B-A35812B86B16}"/>
                </a:ext>
              </a:extLst>
            </p:cNvPr>
            <p:cNvSpPr txBox="1"/>
            <p:nvPr/>
          </p:nvSpPr>
          <p:spPr>
            <a:xfrm>
              <a:off x="4495800" y="4263411"/>
              <a:ext cx="218330" cy="1107996"/>
            </a:xfrm>
            <a:prstGeom prst="rect">
              <a:avLst/>
            </a:prstGeom>
            <a:noFill/>
            <a:ln>
              <a:solidFill>
                <a:srgbClr val="000000"/>
              </a:solidFill>
            </a:ln>
          </p:spPr>
          <p:txBody>
            <a:bodyPr wrap="non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GB" sz="1200" b="0" i="0" u="none" strike="noStrike" kern="0" cap="none" spc="0" normalizeH="0" baseline="0" noProof="0" dirty="0">
                  <a:ln>
                    <a:noFill/>
                  </a:ln>
                  <a:solidFill>
                    <a:srgbClr val="000000"/>
                  </a:solidFill>
                  <a:effectLst/>
                  <a:uLnTx/>
                  <a:uFillTx/>
                </a:rPr>
                <a:t>.</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GB" sz="1200" b="0" i="0" u="none" strike="noStrike" kern="0" cap="none" spc="0" normalizeH="0" baseline="0" noProof="0" dirty="0">
                  <a:ln>
                    <a:noFill/>
                  </a:ln>
                  <a:solidFill>
                    <a:srgbClr val="000000"/>
                  </a:solidFill>
                  <a:effectLst/>
                  <a:uLnTx/>
                  <a:uFillTx/>
                </a:rPr>
                <a:t>.</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GB" sz="1200" b="0" i="0" u="none" strike="noStrike" kern="0" cap="none" spc="0" normalizeH="0" baseline="0" noProof="0" dirty="0">
                  <a:ln>
                    <a:noFill/>
                  </a:ln>
                  <a:solidFill>
                    <a:srgbClr val="000000"/>
                  </a:solidFill>
                  <a:effectLst/>
                  <a:uLnTx/>
                  <a:uFillTx/>
                </a:rPr>
                <a:t>.</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GB" sz="1200" b="0" i="0" u="none" strike="noStrike" kern="0" cap="none" spc="0" normalizeH="0" baseline="0" noProof="0" dirty="0">
                  <a:ln>
                    <a:noFill/>
                  </a:ln>
                  <a:solidFill>
                    <a:srgbClr val="000000"/>
                  </a:solidFill>
                  <a:effectLst/>
                  <a:uLnTx/>
                  <a:uFillTx/>
                </a:rPr>
                <a:t>.</a:t>
              </a:r>
            </a:p>
            <a:p>
              <a:pPr marL="0" marR="0" lvl="0" indent="0" defTabSz="457200" eaLnBrk="1" fontAlgn="auto" latinLnBrk="0" hangingPunct="1">
                <a:lnSpc>
                  <a:spcPct val="100000"/>
                </a:lnSpc>
                <a:spcBef>
                  <a:spcPts val="0"/>
                </a:spcBef>
                <a:spcAft>
                  <a:spcPts val="0"/>
                </a:spcAft>
                <a:buClrTx/>
                <a:buSzPct val="110000"/>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14599923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844966639"/>
      </p:ext>
    </p:extLst>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fr-FR" dirty="0"/>
              <a:t>Lesson 4: SQL Server Log File Structure</a:t>
            </a:r>
            <a:endParaRPr lang="en-US" dirty="0"/>
          </a:p>
        </p:txBody>
      </p:sp>
    </p:spTree>
    <p:extLst>
      <p:ext uri="{BB962C8B-B14F-4D97-AF65-F5344CB8AC3E}">
        <p14:creationId xmlns:p14="http://schemas.microsoft.com/office/powerpoint/2010/main" val="19459480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the log file structure.</a:t>
            </a:r>
          </a:p>
          <a:p>
            <a:r>
              <a:rPr lang="en-US" dirty="0"/>
              <a:t>Explain SQL Server logging proces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1849063011"/>
      </p:ext>
    </p:extLst>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8E84C9-8B30-41BB-A3D5-77E5D711D013}"/>
              </a:ext>
            </a:extLst>
          </p:cNvPr>
          <p:cNvSpPr>
            <a:spLocks noGrp="1"/>
          </p:cNvSpPr>
          <p:nvPr>
            <p:ph type="title"/>
          </p:nvPr>
        </p:nvSpPr>
        <p:spPr/>
        <p:txBody>
          <a:bodyPr/>
          <a:lstStyle/>
          <a:p>
            <a:r>
              <a:rPr lang="en-US" dirty="0"/>
              <a:t>SQL Server disk I/O patterns: transaction log</a:t>
            </a:r>
          </a:p>
        </p:txBody>
      </p:sp>
      <p:graphicFrame>
        <p:nvGraphicFramePr>
          <p:cNvPr id="7" name="Content Placeholder 6">
            <a:extLst>
              <a:ext uri="{FF2B5EF4-FFF2-40B4-BE49-F238E27FC236}">
                <a16:creationId xmlns:a16="http://schemas.microsoft.com/office/drawing/2014/main" id="{881C9504-9679-4FA3-9D14-33E3F4FADA90}"/>
              </a:ext>
            </a:extLst>
          </p:cNvPr>
          <p:cNvGraphicFramePr>
            <a:graphicFrameLocks noGrp="1"/>
          </p:cNvGraphicFramePr>
          <p:nvPr>
            <p:ph sz="quarter" idx="13"/>
            <p:extLst>
              <p:ext uri="{D42A27DB-BD31-4B8C-83A1-F6EECF244321}">
                <p14:modId xmlns:p14="http://schemas.microsoft.com/office/powerpoint/2010/main" val="13066063"/>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a:extLst>
              <a:ext uri="{FF2B5EF4-FFF2-40B4-BE49-F238E27FC236}">
                <a16:creationId xmlns:a16="http://schemas.microsoft.com/office/drawing/2014/main" id="{FEF3C806-344F-4F8E-8683-15A730131214}"/>
              </a:ext>
            </a:extLst>
          </p:cNvPr>
          <p:cNvGraphicFramePr/>
          <p:nvPr>
            <p:extLst>
              <p:ext uri="{D42A27DB-BD31-4B8C-83A1-F6EECF244321}">
                <p14:modId xmlns:p14="http://schemas.microsoft.com/office/powerpoint/2010/main" val="2094830734"/>
              </p:ext>
            </p:extLst>
          </p:nvPr>
        </p:nvGraphicFramePr>
        <p:xfrm>
          <a:off x="655637" y="6071617"/>
          <a:ext cx="10698162" cy="60016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5037718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Identify SQL Server disk I/O operations.</a:t>
            </a:r>
          </a:p>
          <a:p>
            <a:r>
              <a:rPr lang="en-US" dirty="0"/>
              <a:t>Identify I/O patterns for data files and log files.</a:t>
            </a:r>
          </a:p>
          <a:p>
            <a:r>
              <a:rPr lang="en-US" dirty="0"/>
              <a:t>Monitor SQL Server I/O using:</a:t>
            </a:r>
          </a:p>
          <a:p>
            <a:pPr lvl="1"/>
            <a:r>
              <a:rPr lang="en-US" dirty="0"/>
              <a:t>Performance Monitor Counters</a:t>
            </a:r>
          </a:p>
          <a:p>
            <a:pPr lvl="1"/>
            <a:r>
              <a:rPr lang="en-US" dirty="0"/>
              <a:t>Dynamic Management Views</a:t>
            </a:r>
          </a:p>
          <a:p>
            <a:pPr lvl="1"/>
            <a:r>
              <a:rPr lang="en-US" dirty="0"/>
              <a:t>Wait Statistic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8D4DB0-F727-42CD-BB55-06368E4BD1DA}"/>
              </a:ext>
            </a:extLst>
          </p:cNvPr>
          <p:cNvSpPr>
            <a:spLocks noGrp="1"/>
          </p:cNvSpPr>
          <p:nvPr>
            <p:ph type="title"/>
          </p:nvPr>
        </p:nvSpPr>
        <p:spPr/>
        <p:txBody>
          <a:bodyPr/>
          <a:lstStyle/>
          <a:p>
            <a:r>
              <a:rPr lang="en-US" dirty="0"/>
              <a:t>Transaction Log</a:t>
            </a:r>
          </a:p>
        </p:txBody>
      </p:sp>
      <p:graphicFrame>
        <p:nvGraphicFramePr>
          <p:cNvPr id="6" name="Content Placeholder 5">
            <a:extLst>
              <a:ext uri="{FF2B5EF4-FFF2-40B4-BE49-F238E27FC236}">
                <a16:creationId xmlns:a16="http://schemas.microsoft.com/office/drawing/2014/main" id="{7F0E37CA-36B5-4A4B-9588-5AFF7E11045C}"/>
              </a:ext>
            </a:extLst>
          </p:cNvPr>
          <p:cNvGraphicFramePr>
            <a:graphicFrameLocks noGrp="1"/>
          </p:cNvGraphicFramePr>
          <p:nvPr>
            <p:ph sz="quarter" idx="13"/>
            <p:extLst>
              <p:ext uri="{D42A27DB-BD31-4B8C-83A1-F6EECF244321}">
                <p14:modId xmlns:p14="http://schemas.microsoft.com/office/powerpoint/2010/main" val="2229462008"/>
              </p:ext>
            </p:extLst>
          </p:nvPr>
        </p:nvGraphicFramePr>
        <p:xfrm>
          <a:off x="655638" y="90849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933874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C41FE1-60B1-41C8-A0BC-64AE4EFCFD1B}"/>
              </a:ext>
            </a:extLst>
          </p:cNvPr>
          <p:cNvSpPr>
            <a:spLocks noGrp="1"/>
          </p:cNvSpPr>
          <p:nvPr>
            <p:ph type="title"/>
          </p:nvPr>
        </p:nvSpPr>
        <p:spPr/>
        <p:txBody>
          <a:bodyPr/>
          <a:lstStyle/>
          <a:p>
            <a:r>
              <a:rPr lang="en-US" dirty="0"/>
              <a:t>Microsoft SQL Server Transaction Logging</a:t>
            </a:r>
          </a:p>
        </p:txBody>
      </p:sp>
      <p:sp>
        <p:nvSpPr>
          <p:cNvPr id="5" name="Rectangle 4">
            <a:extLst>
              <a:ext uri="{FF2B5EF4-FFF2-40B4-BE49-F238E27FC236}">
                <a16:creationId xmlns:a16="http://schemas.microsoft.com/office/drawing/2014/main" id="{9B97426A-153E-46C2-8CEC-05868B9FE9CF}"/>
              </a:ext>
            </a:extLst>
          </p:cNvPr>
          <p:cNvSpPr/>
          <p:nvPr/>
        </p:nvSpPr>
        <p:spPr>
          <a:xfrm>
            <a:off x="609600" y="1524000"/>
            <a:ext cx="2641600" cy="1219200"/>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Record the Begin Transaction in the Log Buffer</a:t>
            </a:r>
          </a:p>
        </p:txBody>
      </p:sp>
      <p:sp>
        <p:nvSpPr>
          <p:cNvPr id="6" name="Rectangle 5">
            <a:extLst>
              <a:ext uri="{FF2B5EF4-FFF2-40B4-BE49-F238E27FC236}">
                <a16:creationId xmlns:a16="http://schemas.microsoft.com/office/drawing/2014/main" id="{E6F4AC5D-AC66-4330-88B9-77C10E11FA7E}"/>
              </a:ext>
            </a:extLst>
          </p:cNvPr>
          <p:cNvSpPr/>
          <p:nvPr/>
        </p:nvSpPr>
        <p:spPr>
          <a:xfrm>
            <a:off x="4254500" y="1524000"/>
            <a:ext cx="2641600" cy="1219200"/>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Log the DML operation in the Log Buffer (INS/UPD/DEL)</a:t>
            </a:r>
          </a:p>
        </p:txBody>
      </p:sp>
      <p:sp>
        <p:nvSpPr>
          <p:cNvPr id="7" name="Rectangle 6">
            <a:extLst>
              <a:ext uri="{FF2B5EF4-FFF2-40B4-BE49-F238E27FC236}">
                <a16:creationId xmlns:a16="http://schemas.microsoft.com/office/drawing/2014/main" id="{5B6A85A9-3891-4A96-B959-8C80427FE877}"/>
              </a:ext>
            </a:extLst>
          </p:cNvPr>
          <p:cNvSpPr/>
          <p:nvPr/>
        </p:nvSpPr>
        <p:spPr>
          <a:xfrm>
            <a:off x="8051800" y="1409700"/>
            <a:ext cx="3733800" cy="1447800"/>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Read the Data/Index Pages and perform the operation in memory. </a:t>
            </a:r>
          </a:p>
        </p:txBody>
      </p:sp>
      <p:sp>
        <p:nvSpPr>
          <p:cNvPr id="8" name="Rectangle 7">
            <a:extLst>
              <a:ext uri="{FF2B5EF4-FFF2-40B4-BE49-F238E27FC236}">
                <a16:creationId xmlns:a16="http://schemas.microsoft.com/office/drawing/2014/main" id="{0D24F656-D0F8-44D3-BECA-25BAADBDEECB}"/>
              </a:ext>
            </a:extLst>
          </p:cNvPr>
          <p:cNvSpPr/>
          <p:nvPr/>
        </p:nvSpPr>
        <p:spPr>
          <a:xfrm>
            <a:off x="5082871" y="3619500"/>
            <a:ext cx="2641600" cy="1219200"/>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Commit the Transaction </a:t>
            </a:r>
          </a:p>
        </p:txBody>
      </p:sp>
      <p:sp>
        <p:nvSpPr>
          <p:cNvPr id="9" name="Rectangle 8">
            <a:extLst>
              <a:ext uri="{FF2B5EF4-FFF2-40B4-BE49-F238E27FC236}">
                <a16:creationId xmlns:a16="http://schemas.microsoft.com/office/drawing/2014/main" id="{590A5D84-62C7-462A-8919-4B755385B034}"/>
              </a:ext>
            </a:extLst>
          </p:cNvPr>
          <p:cNvSpPr/>
          <p:nvPr/>
        </p:nvSpPr>
        <p:spPr>
          <a:xfrm>
            <a:off x="1120471" y="3837351"/>
            <a:ext cx="2641600" cy="788723"/>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Report the transaction success to the user</a:t>
            </a:r>
          </a:p>
        </p:txBody>
      </p:sp>
      <p:sp>
        <p:nvSpPr>
          <p:cNvPr id="10" name="Rectangle 9">
            <a:extLst>
              <a:ext uri="{FF2B5EF4-FFF2-40B4-BE49-F238E27FC236}">
                <a16:creationId xmlns:a16="http://schemas.microsoft.com/office/drawing/2014/main" id="{935F65DA-6D32-4690-AE5F-7A9BADD6E400}"/>
              </a:ext>
            </a:extLst>
          </p:cNvPr>
          <p:cNvSpPr/>
          <p:nvPr/>
        </p:nvSpPr>
        <p:spPr>
          <a:xfrm>
            <a:off x="7899400" y="5559285"/>
            <a:ext cx="2641600" cy="780277"/>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Rollback the transaction</a:t>
            </a:r>
          </a:p>
        </p:txBody>
      </p:sp>
      <p:cxnSp>
        <p:nvCxnSpPr>
          <p:cNvPr id="11" name="Elbow Connector 47">
            <a:extLst>
              <a:ext uri="{FF2B5EF4-FFF2-40B4-BE49-F238E27FC236}">
                <a16:creationId xmlns:a16="http://schemas.microsoft.com/office/drawing/2014/main" id="{B8F23743-0035-498E-9C31-9C66F65F92D2}"/>
              </a:ext>
            </a:extLst>
          </p:cNvPr>
          <p:cNvCxnSpPr>
            <a:stCxn id="15" idx="2"/>
            <a:endCxn id="10" idx="0"/>
          </p:cNvCxnSpPr>
          <p:nvPr/>
        </p:nvCxnSpPr>
        <p:spPr>
          <a:xfrm rot="5400000">
            <a:off x="9219558" y="4829241"/>
            <a:ext cx="730686" cy="729402"/>
          </a:xfrm>
          <a:prstGeom prst="bentConnector3">
            <a:avLst>
              <a:gd name="adj1" fmla="val 50000"/>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12" name="Elbow Connector 47">
            <a:extLst>
              <a:ext uri="{FF2B5EF4-FFF2-40B4-BE49-F238E27FC236}">
                <a16:creationId xmlns:a16="http://schemas.microsoft.com/office/drawing/2014/main" id="{F5FB175A-6D8E-4D6C-97C1-778B426B304C}"/>
              </a:ext>
            </a:extLst>
          </p:cNvPr>
          <p:cNvCxnSpPr>
            <a:stCxn id="5" idx="3"/>
            <a:endCxn id="6" idx="1"/>
          </p:cNvCxnSpPr>
          <p:nvPr/>
        </p:nvCxnSpPr>
        <p:spPr>
          <a:xfrm>
            <a:off x="3251200" y="2133600"/>
            <a:ext cx="1003300" cy="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13" name="Elbow Connector 47">
            <a:extLst>
              <a:ext uri="{FF2B5EF4-FFF2-40B4-BE49-F238E27FC236}">
                <a16:creationId xmlns:a16="http://schemas.microsoft.com/office/drawing/2014/main" id="{4D259B7D-EECE-424C-98E0-0C4B78CAF69A}"/>
              </a:ext>
            </a:extLst>
          </p:cNvPr>
          <p:cNvCxnSpPr>
            <a:stCxn id="6" idx="3"/>
            <a:endCxn id="7" idx="1"/>
          </p:cNvCxnSpPr>
          <p:nvPr/>
        </p:nvCxnSpPr>
        <p:spPr>
          <a:xfrm>
            <a:off x="6896100" y="2133600"/>
            <a:ext cx="1155700" cy="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14" name="Elbow Connector 47">
            <a:extLst>
              <a:ext uri="{FF2B5EF4-FFF2-40B4-BE49-F238E27FC236}">
                <a16:creationId xmlns:a16="http://schemas.microsoft.com/office/drawing/2014/main" id="{5B82A3F1-1691-45D9-B64B-26FE8C8E6963}"/>
              </a:ext>
            </a:extLst>
          </p:cNvPr>
          <p:cNvCxnSpPr>
            <a:stCxn id="8" idx="1"/>
            <a:endCxn id="9" idx="3"/>
          </p:cNvCxnSpPr>
          <p:nvPr/>
        </p:nvCxnSpPr>
        <p:spPr>
          <a:xfrm flipH="1">
            <a:off x="3762071" y="4229100"/>
            <a:ext cx="1320800" cy="2613"/>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sp>
        <p:nvSpPr>
          <p:cNvPr id="15" name="Rectangle 14">
            <a:extLst>
              <a:ext uri="{FF2B5EF4-FFF2-40B4-BE49-F238E27FC236}">
                <a16:creationId xmlns:a16="http://schemas.microsoft.com/office/drawing/2014/main" id="{0BFAA888-F90A-43FC-9213-5A8AEE4A2BFC}"/>
              </a:ext>
            </a:extLst>
          </p:cNvPr>
          <p:cNvSpPr/>
          <p:nvPr/>
        </p:nvSpPr>
        <p:spPr>
          <a:xfrm>
            <a:off x="8628802" y="3591498"/>
            <a:ext cx="2641600" cy="1237101"/>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Flush to LDF</a:t>
            </a:r>
          </a:p>
        </p:txBody>
      </p:sp>
      <p:cxnSp>
        <p:nvCxnSpPr>
          <p:cNvPr id="16" name="Elbow Connector 47">
            <a:extLst>
              <a:ext uri="{FF2B5EF4-FFF2-40B4-BE49-F238E27FC236}">
                <a16:creationId xmlns:a16="http://schemas.microsoft.com/office/drawing/2014/main" id="{C6A816FB-4506-42A8-B9B4-0D61FA664A04}"/>
              </a:ext>
            </a:extLst>
          </p:cNvPr>
          <p:cNvCxnSpPr/>
          <p:nvPr/>
        </p:nvCxnSpPr>
        <p:spPr>
          <a:xfrm>
            <a:off x="9953346" y="2811333"/>
            <a:ext cx="0" cy="808167"/>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17" name="Elbow Connector 47">
            <a:extLst>
              <a:ext uri="{FF2B5EF4-FFF2-40B4-BE49-F238E27FC236}">
                <a16:creationId xmlns:a16="http://schemas.microsoft.com/office/drawing/2014/main" id="{F5FA547C-D5A7-4C65-82FC-E0376BB86261}"/>
              </a:ext>
            </a:extLst>
          </p:cNvPr>
          <p:cNvCxnSpPr>
            <a:stCxn id="15" idx="1"/>
          </p:cNvCxnSpPr>
          <p:nvPr/>
        </p:nvCxnSpPr>
        <p:spPr>
          <a:xfrm flipH="1">
            <a:off x="7641374" y="4210049"/>
            <a:ext cx="987428" cy="19051"/>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sp>
        <p:nvSpPr>
          <p:cNvPr id="18" name="TextBox 17">
            <a:extLst>
              <a:ext uri="{FF2B5EF4-FFF2-40B4-BE49-F238E27FC236}">
                <a16:creationId xmlns:a16="http://schemas.microsoft.com/office/drawing/2014/main" id="{6E0A38D3-AC08-4215-A42E-BC479BEA7B80}"/>
              </a:ext>
            </a:extLst>
          </p:cNvPr>
          <p:cNvSpPr txBox="1"/>
          <p:nvPr/>
        </p:nvSpPr>
        <p:spPr>
          <a:xfrm>
            <a:off x="11506200" y="5029200"/>
            <a:ext cx="184731" cy="369332"/>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sp>
        <p:nvSpPr>
          <p:cNvPr id="19" name="TextBox 18">
            <a:extLst>
              <a:ext uri="{FF2B5EF4-FFF2-40B4-BE49-F238E27FC236}">
                <a16:creationId xmlns:a16="http://schemas.microsoft.com/office/drawing/2014/main" id="{926100A6-FC18-41C4-BB2E-5D31DAE8F403}"/>
              </a:ext>
            </a:extLst>
          </p:cNvPr>
          <p:cNvSpPr txBox="1"/>
          <p:nvPr/>
        </p:nvSpPr>
        <p:spPr>
          <a:xfrm>
            <a:off x="6995790" y="3106719"/>
            <a:ext cx="2353529" cy="369332"/>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rPr>
              <a:t>If Log Flush Succeeds</a:t>
            </a:r>
          </a:p>
        </p:txBody>
      </p:sp>
      <p:sp>
        <p:nvSpPr>
          <p:cNvPr id="20" name="TextBox 19">
            <a:extLst>
              <a:ext uri="{FF2B5EF4-FFF2-40B4-BE49-F238E27FC236}">
                <a16:creationId xmlns:a16="http://schemas.microsoft.com/office/drawing/2014/main" id="{70A5EA4B-FD33-478F-9CD7-02E83D8CC356}"/>
              </a:ext>
            </a:extLst>
          </p:cNvPr>
          <p:cNvSpPr txBox="1"/>
          <p:nvPr/>
        </p:nvSpPr>
        <p:spPr>
          <a:xfrm>
            <a:off x="9572636" y="5189645"/>
            <a:ext cx="1841594" cy="369332"/>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rPr>
              <a:t>If Log Flush Fails</a:t>
            </a:r>
          </a:p>
        </p:txBody>
      </p:sp>
    </p:spTree>
    <p:extLst>
      <p:ext uri="{BB962C8B-B14F-4D97-AF65-F5344CB8AC3E}">
        <p14:creationId xmlns:p14="http://schemas.microsoft.com/office/powerpoint/2010/main" val="3473839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8"/>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5" grpId="0" animBg="1"/>
      <p:bldP spid="19" grpId="0"/>
      <p:bldP spid="20"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0E1A561-D6B6-47D7-A3CF-DF231A506A02}"/>
              </a:ext>
            </a:extLst>
          </p:cNvPr>
          <p:cNvPicPr>
            <a:picLocks noChangeAspect="1"/>
          </p:cNvPicPr>
          <p:nvPr/>
        </p:nvPicPr>
        <p:blipFill>
          <a:blip r:embed="rId3"/>
          <a:stretch>
            <a:fillRect/>
          </a:stretch>
        </p:blipFill>
        <p:spPr>
          <a:xfrm>
            <a:off x="5160823" y="1417639"/>
            <a:ext cx="6394589" cy="4525961"/>
          </a:xfrm>
          <a:prstGeom prst="rect">
            <a:avLst/>
          </a:prstGeom>
          <a:solidFill>
            <a:schemeClr val="accent1">
              <a:lumMod val="60000"/>
              <a:lumOff val="40000"/>
            </a:schemeClr>
          </a:solidFill>
        </p:spPr>
      </p:pic>
      <p:sp>
        <p:nvSpPr>
          <p:cNvPr id="2" name="Title 1">
            <a:extLst>
              <a:ext uri="{FF2B5EF4-FFF2-40B4-BE49-F238E27FC236}">
                <a16:creationId xmlns:a16="http://schemas.microsoft.com/office/drawing/2014/main" id="{DF0EF99E-7833-478B-AFB6-53D15EC85F31}"/>
              </a:ext>
            </a:extLst>
          </p:cNvPr>
          <p:cNvSpPr>
            <a:spLocks noGrp="1"/>
          </p:cNvSpPr>
          <p:nvPr>
            <p:ph type="title"/>
          </p:nvPr>
        </p:nvSpPr>
        <p:spPr/>
        <p:txBody>
          <a:bodyPr/>
          <a:lstStyle/>
          <a:p>
            <a:r>
              <a:rPr lang="en-US" dirty="0"/>
              <a:t>Page LSN and recovery</a:t>
            </a:r>
          </a:p>
        </p:txBody>
      </p:sp>
      <p:sp>
        <p:nvSpPr>
          <p:cNvPr id="4" name="Content Placeholder 3">
            <a:extLst>
              <a:ext uri="{FF2B5EF4-FFF2-40B4-BE49-F238E27FC236}">
                <a16:creationId xmlns:a16="http://schemas.microsoft.com/office/drawing/2014/main" id="{A917FD24-2EAC-48F0-BAF8-082E2FA65575}"/>
              </a:ext>
            </a:extLst>
          </p:cNvPr>
          <p:cNvSpPr>
            <a:spLocks noGrp="1"/>
          </p:cNvSpPr>
          <p:nvPr>
            <p:ph sz="quarter" idx="13"/>
          </p:nvPr>
        </p:nvSpPr>
        <p:spPr/>
        <p:txBody>
          <a:bodyPr/>
          <a:lstStyle/>
          <a:p>
            <a:r>
              <a:rPr lang="en-US" dirty="0"/>
              <a:t>Last LSN in the page header</a:t>
            </a:r>
          </a:p>
          <a:p>
            <a:r>
              <a:rPr lang="en-US" dirty="0"/>
              <a:t>Log Record has two LSNs</a:t>
            </a:r>
          </a:p>
          <a:p>
            <a:pPr lvl="1"/>
            <a:r>
              <a:rPr lang="en-US" dirty="0"/>
              <a:t>Previous LSN from the data page</a:t>
            </a:r>
          </a:p>
          <a:p>
            <a:pPr lvl="1"/>
            <a:r>
              <a:rPr lang="en-US" dirty="0"/>
              <a:t>Current log record LSN</a:t>
            </a:r>
          </a:p>
          <a:p>
            <a:r>
              <a:rPr lang="en-US" dirty="0"/>
              <a:t>All used for recovery</a:t>
            </a:r>
          </a:p>
          <a:p>
            <a:endParaRPr lang="en-US" dirty="0"/>
          </a:p>
          <a:p>
            <a:endParaRPr lang="en-US" dirty="0"/>
          </a:p>
        </p:txBody>
      </p:sp>
    </p:spTree>
    <p:extLst>
      <p:ext uri="{BB962C8B-B14F-4D97-AF65-F5344CB8AC3E}">
        <p14:creationId xmlns:p14="http://schemas.microsoft.com/office/powerpoint/2010/main" val="13007623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943CA-FA7C-4DEA-88B5-B372CD452089}"/>
              </a:ext>
            </a:extLst>
          </p:cNvPr>
          <p:cNvSpPr>
            <a:spLocks noGrp="1"/>
          </p:cNvSpPr>
          <p:nvPr>
            <p:ph type="title"/>
          </p:nvPr>
        </p:nvSpPr>
        <p:spPr/>
        <p:txBody>
          <a:bodyPr/>
          <a:lstStyle/>
          <a:p>
            <a:r>
              <a:rPr lang="en-US" dirty="0"/>
              <a:t>Physical Log File Structure</a:t>
            </a:r>
          </a:p>
        </p:txBody>
      </p:sp>
      <p:sp>
        <p:nvSpPr>
          <p:cNvPr id="4" name="Content Placeholder 3">
            <a:extLst>
              <a:ext uri="{FF2B5EF4-FFF2-40B4-BE49-F238E27FC236}">
                <a16:creationId xmlns:a16="http://schemas.microsoft.com/office/drawing/2014/main" id="{F8DD0E4E-51B5-40C3-BB52-CF0E5591B6C3}"/>
              </a:ext>
            </a:extLst>
          </p:cNvPr>
          <p:cNvSpPr>
            <a:spLocks noGrp="1"/>
          </p:cNvSpPr>
          <p:nvPr>
            <p:ph sz="quarter" idx="13"/>
          </p:nvPr>
        </p:nvSpPr>
        <p:spPr/>
        <p:txBody>
          <a:bodyPr/>
          <a:lstStyle/>
          <a:p>
            <a:r>
              <a:rPr lang="en-US" dirty="0"/>
              <a:t>The physical file is divided into virtual log files (VLFs).</a:t>
            </a:r>
          </a:p>
          <a:p>
            <a:r>
              <a:rPr lang="en-US" dirty="0"/>
              <a:t>SQL Server works to keep the number of VLFs small.</a:t>
            </a:r>
          </a:p>
          <a:p>
            <a:r>
              <a:rPr lang="en-US" dirty="0"/>
              <a:t>VLF size and number is dynamic and cannot be configured or set.</a:t>
            </a:r>
          </a:p>
          <a:p>
            <a:endParaRPr lang="en-US" dirty="0"/>
          </a:p>
        </p:txBody>
      </p:sp>
      <p:grpSp>
        <p:nvGrpSpPr>
          <p:cNvPr id="36" name="Group 35">
            <a:extLst>
              <a:ext uri="{FF2B5EF4-FFF2-40B4-BE49-F238E27FC236}">
                <a16:creationId xmlns:a16="http://schemas.microsoft.com/office/drawing/2014/main" id="{A49CBB0E-78F7-48A4-8029-B0AD852FFB93}"/>
              </a:ext>
            </a:extLst>
          </p:cNvPr>
          <p:cNvGrpSpPr/>
          <p:nvPr/>
        </p:nvGrpSpPr>
        <p:grpSpPr>
          <a:xfrm>
            <a:off x="2727091" y="3307766"/>
            <a:ext cx="6737816" cy="2409685"/>
            <a:chOff x="914400" y="3429000"/>
            <a:chExt cx="6872923" cy="2458005"/>
          </a:xfrm>
        </p:grpSpPr>
        <p:grpSp>
          <p:nvGrpSpPr>
            <p:cNvPr id="13" name="Group 12">
              <a:extLst>
                <a:ext uri="{FF2B5EF4-FFF2-40B4-BE49-F238E27FC236}">
                  <a16:creationId xmlns:a16="http://schemas.microsoft.com/office/drawing/2014/main" id="{9FD31782-1AB7-497F-8B6A-DE5547D1D1A3}"/>
                </a:ext>
              </a:extLst>
            </p:cNvPr>
            <p:cNvGrpSpPr/>
            <p:nvPr/>
          </p:nvGrpSpPr>
          <p:grpSpPr>
            <a:xfrm>
              <a:off x="914400" y="3429000"/>
              <a:ext cx="6872923" cy="1371600"/>
              <a:chOff x="914400" y="3429000"/>
              <a:chExt cx="6872923" cy="1371600"/>
            </a:xfrm>
          </p:grpSpPr>
          <p:grpSp>
            <p:nvGrpSpPr>
              <p:cNvPr id="22" name="Group 21">
                <a:extLst>
                  <a:ext uri="{FF2B5EF4-FFF2-40B4-BE49-F238E27FC236}">
                    <a16:creationId xmlns:a16="http://schemas.microsoft.com/office/drawing/2014/main" id="{2312312A-FDFF-44A8-A765-379FE64AD3B9}"/>
                  </a:ext>
                </a:extLst>
              </p:cNvPr>
              <p:cNvGrpSpPr/>
              <p:nvPr/>
            </p:nvGrpSpPr>
            <p:grpSpPr>
              <a:xfrm>
                <a:off x="914400" y="3429000"/>
                <a:ext cx="6872923" cy="1026168"/>
                <a:chOff x="914400" y="3623846"/>
                <a:chExt cx="6872923" cy="1026168"/>
              </a:xfrm>
            </p:grpSpPr>
            <p:grpSp>
              <p:nvGrpSpPr>
                <p:cNvPr id="25" name="Group 24">
                  <a:extLst>
                    <a:ext uri="{FF2B5EF4-FFF2-40B4-BE49-F238E27FC236}">
                      <a16:creationId xmlns:a16="http://schemas.microsoft.com/office/drawing/2014/main" id="{21601F60-8535-4157-9E61-9346D30D294F}"/>
                    </a:ext>
                  </a:extLst>
                </p:cNvPr>
                <p:cNvGrpSpPr/>
                <p:nvPr/>
              </p:nvGrpSpPr>
              <p:grpSpPr>
                <a:xfrm>
                  <a:off x="914400" y="3962400"/>
                  <a:ext cx="6872923" cy="687614"/>
                  <a:chOff x="914400" y="3962400"/>
                  <a:chExt cx="6872923" cy="687614"/>
                </a:xfrm>
              </p:grpSpPr>
              <p:sp>
                <p:nvSpPr>
                  <p:cNvPr id="31" name="Rectangle 30">
                    <a:extLst>
                      <a:ext uri="{FF2B5EF4-FFF2-40B4-BE49-F238E27FC236}">
                        <a16:creationId xmlns:a16="http://schemas.microsoft.com/office/drawing/2014/main" id="{BE4788D8-72D8-4E27-8E0C-CD26217F261C}"/>
                      </a:ext>
                    </a:extLst>
                  </p:cNvPr>
                  <p:cNvSpPr/>
                  <p:nvPr/>
                </p:nvSpPr>
                <p:spPr>
                  <a:xfrm>
                    <a:off x="2286000" y="3962400"/>
                    <a:ext cx="1371600" cy="685800"/>
                  </a:xfrm>
                  <a:prstGeom prst="rect">
                    <a:avLst/>
                  </a:prstGeom>
                  <a:solidFill>
                    <a:srgbClr val="129038"/>
                  </a:solidFill>
                  <a:ln w="25400" cap="flat" cmpd="sng" algn="ctr">
                    <a:solidFill>
                      <a:srgbClr val="15AEEF"/>
                    </a:solidFill>
                    <a:prstDash val="solid"/>
                  </a:ln>
                  <a:effectLst>
                    <a:outerShdw blurRad="40005" dist="20320" dir="5400000" algn="ctr" rotWithShape="0">
                      <a:sysClr val="window" lastClr="FFFFFF">
                        <a:alpha val="38000"/>
                      </a:sysClr>
                    </a:outerShdw>
                  </a:effectLst>
                </p:spPr>
                <p:txBody>
                  <a:bodyPr rtlCol="0" anchor="ctr"/>
                  <a:lstStyle/>
                  <a:p>
                    <a:pPr marL="224097" indent="-224097" algn="ctr" defTabSz="448193">
                      <a:buBlip>
                        <a:blip r:embed="rId3"/>
                      </a:buBlip>
                      <a:defRPr/>
                    </a:pPr>
                    <a:endParaRPr lang="en-US" sz="1765" b="1" kern="0" dirty="0">
                      <a:ln w="12700">
                        <a:solidFill>
                          <a:srgbClr val="FFFFFF">
                            <a:satMod val="155000"/>
                          </a:srgbClr>
                        </a:solidFill>
                        <a:prstDash val="solid"/>
                      </a:ln>
                      <a:solidFill>
                        <a:srgbClr val="000000"/>
                      </a:solidFill>
                      <a:effectLst>
                        <a:outerShdw blurRad="41275" dist="20320" dir="1800000" algn="tl" rotWithShape="0">
                          <a:srgbClr val="000000">
                            <a:alpha val="40000"/>
                          </a:srgbClr>
                        </a:outerShdw>
                      </a:effectLst>
                      <a:latin typeface="Segoe UI"/>
                    </a:endParaRPr>
                  </a:p>
                </p:txBody>
              </p:sp>
              <p:sp>
                <p:nvSpPr>
                  <p:cNvPr id="32" name="Rectangle 31">
                    <a:extLst>
                      <a:ext uri="{FF2B5EF4-FFF2-40B4-BE49-F238E27FC236}">
                        <a16:creationId xmlns:a16="http://schemas.microsoft.com/office/drawing/2014/main" id="{08A6B068-F447-40FA-AC92-8BD3A64DE2A1}"/>
                      </a:ext>
                    </a:extLst>
                  </p:cNvPr>
                  <p:cNvSpPr/>
                  <p:nvPr/>
                </p:nvSpPr>
                <p:spPr>
                  <a:xfrm>
                    <a:off x="3668894" y="3962400"/>
                    <a:ext cx="1371600" cy="685800"/>
                  </a:xfrm>
                  <a:prstGeom prst="rect">
                    <a:avLst/>
                  </a:prstGeom>
                  <a:gradFill flip="none" rotWithShape="1">
                    <a:gsLst>
                      <a:gs pos="0">
                        <a:srgbClr val="129038">
                          <a:tint val="50000"/>
                          <a:satMod val="300000"/>
                        </a:srgbClr>
                      </a:gs>
                      <a:gs pos="35000">
                        <a:srgbClr val="129038">
                          <a:tint val="37000"/>
                          <a:satMod val="300000"/>
                        </a:srgbClr>
                      </a:gs>
                      <a:gs pos="100000">
                        <a:srgbClr val="129038">
                          <a:tint val="15000"/>
                          <a:satMod val="350000"/>
                        </a:srgbClr>
                      </a:gs>
                    </a:gsLst>
                    <a:lin ang="10800000" scaled="1"/>
                    <a:tileRect/>
                  </a:gradFill>
                  <a:ln w="25400" cap="flat" cmpd="sng" algn="ctr">
                    <a:solidFill>
                      <a:srgbClr val="15AEEF"/>
                    </a:solidFill>
                    <a:prstDash val="solid"/>
                  </a:ln>
                  <a:effectLst>
                    <a:outerShdw blurRad="40000" dist="20000" dir="5400000" rotWithShape="0">
                      <a:srgbClr val="000000">
                        <a:alpha val="38000"/>
                      </a:srgbClr>
                    </a:outerShdw>
                  </a:effectLst>
                </p:spPr>
                <p:txBody>
                  <a:bodyPr rtlCol="0" anchor="ctr"/>
                  <a:lstStyle/>
                  <a:p>
                    <a:pPr marL="224097" indent="-224097" algn="ctr" defTabSz="448193">
                      <a:buBlip>
                        <a:blip r:embed="rId3"/>
                      </a:buBlip>
                      <a:defRPr/>
                    </a:pPr>
                    <a:endParaRPr lang="en-US" sz="1765" b="1" kern="0" dirty="0">
                      <a:ln w="12700">
                        <a:solidFill>
                          <a:srgbClr val="FFFFFF">
                            <a:satMod val="155000"/>
                          </a:srgbClr>
                        </a:solidFill>
                        <a:prstDash val="solid"/>
                      </a:ln>
                      <a:solidFill>
                        <a:srgbClr val="000000"/>
                      </a:solidFill>
                      <a:effectLst>
                        <a:outerShdw blurRad="41275" dist="20320" dir="1800000" algn="tl" rotWithShape="0">
                          <a:srgbClr val="000000">
                            <a:alpha val="40000"/>
                          </a:srgbClr>
                        </a:outerShdw>
                      </a:effectLst>
                      <a:latin typeface="Segoe UI"/>
                    </a:endParaRPr>
                  </a:p>
                </p:txBody>
              </p:sp>
              <p:sp>
                <p:nvSpPr>
                  <p:cNvPr id="33" name="Rectangle 32">
                    <a:extLst>
                      <a:ext uri="{FF2B5EF4-FFF2-40B4-BE49-F238E27FC236}">
                        <a16:creationId xmlns:a16="http://schemas.microsoft.com/office/drawing/2014/main" id="{1E7305A0-48F6-402C-9F2E-A10074AFF274}"/>
                      </a:ext>
                    </a:extLst>
                  </p:cNvPr>
                  <p:cNvSpPr/>
                  <p:nvPr/>
                </p:nvSpPr>
                <p:spPr>
                  <a:xfrm>
                    <a:off x="5044123" y="3962400"/>
                    <a:ext cx="1371600" cy="685800"/>
                  </a:xfrm>
                  <a:prstGeom prst="rect">
                    <a:avLst/>
                  </a:prstGeom>
                  <a:gradFill flip="none" rotWithShape="1">
                    <a:gsLst>
                      <a:gs pos="0">
                        <a:srgbClr val="129038">
                          <a:tint val="50000"/>
                          <a:satMod val="300000"/>
                        </a:srgbClr>
                      </a:gs>
                      <a:gs pos="35000">
                        <a:srgbClr val="129038">
                          <a:tint val="37000"/>
                          <a:satMod val="300000"/>
                        </a:srgbClr>
                      </a:gs>
                      <a:gs pos="100000">
                        <a:srgbClr val="129038">
                          <a:tint val="15000"/>
                          <a:satMod val="350000"/>
                        </a:srgbClr>
                      </a:gs>
                    </a:gsLst>
                    <a:lin ang="10800000" scaled="1"/>
                    <a:tileRect/>
                  </a:gradFill>
                  <a:ln w="25400" cap="flat" cmpd="sng" algn="ctr">
                    <a:solidFill>
                      <a:srgbClr val="15AEEF"/>
                    </a:solidFill>
                    <a:prstDash val="solid"/>
                  </a:ln>
                  <a:effectLst>
                    <a:outerShdw blurRad="40000" dist="20000" dir="5400000" rotWithShape="0">
                      <a:srgbClr val="000000">
                        <a:alpha val="38000"/>
                      </a:srgbClr>
                    </a:outerShdw>
                  </a:effectLst>
                </p:spPr>
                <p:txBody>
                  <a:bodyPr rtlCol="0" anchor="ctr"/>
                  <a:lstStyle/>
                  <a:p>
                    <a:pPr marL="224097" indent="-224097" algn="ctr" defTabSz="448193">
                      <a:buBlip>
                        <a:blip r:embed="rId3"/>
                      </a:buBlip>
                      <a:defRPr/>
                    </a:pPr>
                    <a:endParaRPr lang="en-US" sz="1765" b="1" kern="0" dirty="0">
                      <a:ln w="12700">
                        <a:solidFill>
                          <a:srgbClr val="FFFFFF">
                            <a:satMod val="155000"/>
                          </a:srgbClr>
                        </a:solidFill>
                        <a:prstDash val="solid"/>
                      </a:ln>
                      <a:solidFill>
                        <a:srgbClr val="000000"/>
                      </a:solidFill>
                      <a:effectLst>
                        <a:outerShdw blurRad="41275" dist="20320" dir="1800000" algn="tl" rotWithShape="0">
                          <a:srgbClr val="000000">
                            <a:alpha val="40000"/>
                          </a:srgbClr>
                        </a:outerShdw>
                      </a:effectLst>
                      <a:latin typeface="Segoe UI"/>
                    </a:endParaRPr>
                  </a:p>
                </p:txBody>
              </p:sp>
              <p:sp>
                <p:nvSpPr>
                  <p:cNvPr id="34" name="Rectangle 33">
                    <a:extLst>
                      <a:ext uri="{FF2B5EF4-FFF2-40B4-BE49-F238E27FC236}">
                        <a16:creationId xmlns:a16="http://schemas.microsoft.com/office/drawing/2014/main" id="{D10A62E8-AC7C-486A-BEA0-5A342DF5764F}"/>
                      </a:ext>
                    </a:extLst>
                  </p:cNvPr>
                  <p:cNvSpPr/>
                  <p:nvPr/>
                </p:nvSpPr>
                <p:spPr>
                  <a:xfrm>
                    <a:off x="914400" y="3964214"/>
                    <a:ext cx="1371600" cy="685800"/>
                  </a:xfrm>
                  <a:prstGeom prst="rect">
                    <a:avLst/>
                  </a:prstGeom>
                  <a:solidFill>
                    <a:srgbClr val="129038"/>
                  </a:solidFill>
                  <a:ln w="25400" cap="flat" cmpd="sng" algn="ctr">
                    <a:solidFill>
                      <a:srgbClr val="15AEEF"/>
                    </a:solidFill>
                    <a:prstDash val="solid"/>
                  </a:ln>
                  <a:effectLst>
                    <a:outerShdw blurRad="40005" dist="20320" dir="5400000" algn="ctr" rotWithShape="0">
                      <a:sysClr val="window" lastClr="FFFFFF">
                        <a:alpha val="38000"/>
                      </a:sysClr>
                    </a:outerShdw>
                  </a:effectLst>
                </p:spPr>
                <p:txBody>
                  <a:bodyPr rtlCol="0" anchor="ctr"/>
                  <a:lstStyle/>
                  <a:p>
                    <a:pPr marL="224097" indent="-224097" algn="ctr" defTabSz="448193">
                      <a:buBlip>
                        <a:blip r:embed="rId3"/>
                      </a:buBlip>
                      <a:defRPr/>
                    </a:pPr>
                    <a:endParaRPr lang="en-US" sz="1765" b="1" kern="0" dirty="0">
                      <a:ln w="12700">
                        <a:solidFill>
                          <a:srgbClr val="FFFFFF">
                            <a:satMod val="155000"/>
                          </a:srgbClr>
                        </a:solidFill>
                        <a:prstDash val="solid"/>
                      </a:ln>
                      <a:solidFill>
                        <a:srgbClr val="000000"/>
                      </a:solidFill>
                      <a:effectLst>
                        <a:outerShdw blurRad="41275" dist="20320" dir="1800000" algn="tl" rotWithShape="0">
                          <a:srgbClr val="000000">
                            <a:alpha val="40000"/>
                          </a:srgbClr>
                        </a:outerShdw>
                      </a:effectLst>
                      <a:latin typeface="Segoe UI"/>
                    </a:endParaRPr>
                  </a:p>
                </p:txBody>
              </p:sp>
              <p:sp>
                <p:nvSpPr>
                  <p:cNvPr id="35" name="Rectangle 34">
                    <a:extLst>
                      <a:ext uri="{FF2B5EF4-FFF2-40B4-BE49-F238E27FC236}">
                        <a16:creationId xmlns:a16="http://schemas.microsoft.com/office/drawing/2014/main" id="{C5C97DF9-C284-4661-A32C-E3DD5DA133B0}"/>
                      </a:ext>
                    </a:extLst>
                  </p:cNvPr>
                  <p:cNvSpPr/>
                  <p:nvPr/>
                </p:nvSpPr>
                <p:spPr>
                  <a:xfrm>
                    <a:off x="6415723" y="3964214"/>
                    <a:ext cx="1371600" cy="685800"/>
                  </a:xfrm>
                  <a:prstGeom prst="rect">
                    <a:avLst/>
                  </a:prstGeom>
                  <a:solidFill>
                    <a:srgbClr val="129038"/>
                  </a:solidFill>
                  <a:ln w="25400" cap="flat" cmpd="sng" algn="ctr">
                    <a:solidFill>
                      <a:srgbClr val="15AEEF"/>
                    </a:solidFill>
                    <a:prstDash val="solid"/>
                  </a:ln>
                  <a:effectLst>
                    <a:outerShdw blurRad="40005" dist="20320" dir="5400000" algn="ctr" rotWithShape="0">
                      <a:sysClr val="window" lastClr="FFFFFF">
                        <a:alpha val="38000"/>
                      </a:sysClr>
                    </a:outerShdw>
                  </a:effectLst>
                </p:spPr>
                <p:txBody>
                  <a:bodyPr rtlCol="0" anchor="ctr"/>
                  <a:lstStyle/>
                  <a:p>
                    <a:pPr marL="224097" indent="-224097" algn="ctr" defTabSz="448193">
                      <a:buBlip>
                        <a:blip r:embed="rId3"/>
                      </a:buBlip>
                      <a:defRPr/>
                    </a:pPr>
                    <a:endParaRPr lang="en-US" sz="1765" b="1" kern="0" dirty="0">
                      <a:ln w="12700">
                        <a:solidFill>
                          <a:srgbClr val="FFFFFF">
                            <a:satMod val="155000"/>
                          </a:srgbClr>
                        </a:solidFill>
                        <a:prstDash val="solid"/>
                      </a:ln>
                      <a:solidFill>
                        <a:srgbClr val="000000"/>
                      </a:solidFill>
                      <a:effectLst>
                        <a:outerShdw blurRad="41275" dist="20320" dir="1800000" algn="tl" rotWithShape="0">
                          <a:srgbClr val="000000">
                            <a:alpha val="40000"/>
                          </a:srgbClr>
                        </a:outerShdw>
                      </a:effectLst>
                      <a:latin typeface="Segoe UI"/>
                    </a:endParaRPr>
                  </a:p>
                </p:txBody>
              </p:sp>
            </p:grpSp>
            <p:sp>
              <p:nvSpPr>
                <p:cNvPr id="26" name="TextBox 25">
                  <a:extLst>
                    <a:ext uri="{FF2B5EF4-FFF2-40B4-BE49-F238E27FC236}">
                      <a16:creationId xmlns:a16="http://schemas.microsoft.com/office/drawing/2014/main" id="{4021A5E5-60DC-4241-8E33-BDDFE3063018}"/>
                    </a:ext>
                  </a:extLst>
                </p:cNvPr>
                <p:cNvSpPr txBox="1"/>
                <p:nvPr/>
              </p:nvSpPr>
              <p:spPr>
                <a:xfrm>
                  <a:off x="914400" y="3623846"/>
                  <a:ext cx="1371600" cy="338554"/>
                </a:xfrm>
                <a:prstGeom prst="rect">
                  <a:avLst/>
                </a:prstGeom>
                <a:noFill/>
              </p:spPr>
              <p:txBody>
                <a:bodyPr wrap="square" rtlCol="0">
                  <a:spAutoFit/>
                </a:bodyPr>
                <a:lstStyle/>
                <a:p>
                  <a:pPr defTabSz="448193">
                    <a:buSzPct val="110000"/>
                    <a:defRPr/>
                  </a:pPr>
                  <a:r>
                    <a:rPr lang="en-US" sz="1568" kern="0" dirty="0">
                      <a:solidFill>
                        <a:srgbClr val="000000"/>
                      </a:solidFill>
                    </a:rPr>
                    <a:t>Virtual Log 1</a:t>
                  </a:r>
                  <a:endParaRPr lang="en-US" sz="1765" kern="0" dirty="0">
                    <a:solidFill>
                      <a:srgbClr val="000000"/>
                    </a:solidFill>
                  </a:endParaRPr>
                </a:p>
              </p:txBody>
            </p:sp>
            <p:sp>
              <p:nvSpPr>
                <p:cNvPr id="27" name="TextBox 26">
                  <a:extLst>
                    <a:ext uri="{FF2B5EF4-FFF2-40B4-BE49-F238E27FC236}">
                      <a16:creationId xmlns:a16="http://schemas.microsoft.com/office/drawing/2014/main" id="{8ADC2C3B-5F17-487A-82E9-E9A2E1127FB8}"/>
                    </a:ext>
                  </a:extLst>
                </p:cNvPr>
                <p:cNvSpPr txBox="1"/>
                <p:nvPr/>
              </p:nvSpPr>
              <p:spPr>
                <a:xfrm>
                  <a:off x="2286000" y="3623846"/>
                  <a:ext cx="1371600" cy="338554"/>
                </a:xfrm>
                <a:prstGeom prst="rect">
                  <a:avLst/>
                </a:prstGeom>
                <a:noFill/>
              </p:spPr>
              <p:txBody>
                <a:bodyPr wrap="square" rtlCol="0">
                  <a:spAutoFit/>
                </a:bodyPr>
                <a:lstStyle/>
                <a:p>
                  <a:pPr defTabSz="448193">
                    <a:buSzPct val="110000"/>
                    <a:defRPr/>
                  </a:pPr>
                  <a:r>
                    <a:rPr lang="en-US" sz="1568" kern="0" dirty="0">
                      <a:solidFill>
                        <a:srgbClr val="000000"/>
                      </a:solidFill>
                    </a:rPr>
                    <a:t>Virtual Log 2</a:t>
                  </a:r>
                  <a:endParaRPr lang="en-US" sz="1765" kern="0" dirty="0">
                    <a:solidFill>
                      <a:srgbClr val="000000"/>
                    </a:solidFill>
                  </a:endParaRPr>
                </a:p>
              </p:txBody>
            </p:sp>
            <p:sp>
              <p:nvSpPr>
                <p:cNvPr id="28" name="TextBox 27">
                  <a:extLst>
                    <a:ext uri="{FF2B5EF4-FFF2-40B4-BE49-F238E27FC236}">
                      <a16:creationId xmlns:a16="http://schemas.microsoft.com/office/drawing/2014/main" id="{BDC8C805-1298-455A-B9E7-BF6FADA6F4A1}"/>
                    </a:ext>
                  </a:extLst>
                </p:cNvPr>
                <p:cNvSpPr txBox="1"/>
                <p:nvPr/>
              </p:nvSpPr>
              <p:spPr>
                <a:xfrm>
                  <a:off x="3653971" y="3623846"/>
                  <a:ext cx="1371600" cy="338554"/>
                </a:xfrm>
                <a:prstGeom prst="rect">
                  <a:avLst/>
                </a:prstGeom>
                <a:noFill/>
              </p:spPr>
              <p:txBody>
                <a:bodyPr wrap="square" rtlCol="0">
                  <a:spAutoFit/>
                </a:bodyPr>
                <a:lstStyle/>
                <a:p>
                  <a:pPr defTabSz="448193">
                    <a:buSzPct val="110000"/>
                    <a:defRPr/>
                  </a:pPr>
                  <a:r>
                    <a:rPr lang="en-US" sz="1568" kern="0" dirty="0">
                      <a:solidFill>
                        <a:srgbClr val="000000"/>
                      </a:solidFill>
                    </a:rPr>
                    <a:t>Virtual Log 3</a:t>
                  </a:r>
                  <a:endParaRPr lang="en-US" sz="1765" kern="0" dirty="0">
                    <a:solidFill>
                      <a:srgbClr val="000000"/>
                    </a:solidFill>
                  </a:endParaRPr>
                </a:p>
              </p:txBody>
            </p:sp>
            <p:sp>
              <p:nvSpPr>
                <p:cNvPr id="29" name="TextBox 28">
                  <a:extLst>
                    <a:ext uri="{FF2B5EF4-FFF2-40B4-BE49-F238E27FC236}">
                      <a16:creationId xmlns:a16="http://schemas.microsoft.com/office/drawing/2014/main" id="{D63E0035-A362-467C-A189-DBD44609D631}"/>
                    </a:ext>
                  </a:extLst>
                </p:cNvPr>
                <p:cNvSpPr txBox="1"/>
                <p:nvPr/>
              </p:nvSpPr>
              <p:spPr>
                <a:xfrm>
                  <a:off x="5044123" y="3623846"/>
                  <a:ext cx="1371600" cy="338554"/>
                </a:xfrm>
                <a:prstGeom prst="rect">
                  <a:avLst/>
                </a:prstGeom>
                <a:noFill/>
              </p:spPr>
              <p:txBody>
                <a:bodyPr wrap="square" rtlCol="0">
                  <a:spAutoFit/>
                </a:bodyPr>
                <a:lstStyle/>
                <a:p>
                  <a:pPr defTabSz="448193">
                    <a:buSzPct val="110000"/>
                    <a:defRPr/>
                  </a:pPr>
                  <a:r>
                    <a:rPr lang="en-US" sz="1568" kern="0" dirty="0">
                      <a:solidFill>
                        <a:srgbClr val="000000"/>
                      </a:solidFill>
                    </a:rPr>
                    <a:t>Virtual Log 4</a:t>
                  </a:r>
                  <a:endParaRPr lang="en-US" sz="1765" kern="0" dirty="0">
                    <a:solidFill>
                      <a:srgbClr val="000000"/>
                    </a:solidFill>
                  </a:endParaRPr>
                </a:p>
              </p:txBody>
            </p:sp>
            <p:sp>
              <p:nvSpPr>
                <p:cNvPr id="30" name="TextBox 29">
                  <a:extLst>
                    <a:ext uri="{FF2B5EF4-FFF2-40B4-BE49-F238E27FC236}">
                      <a16:creationId xmlns:a16="http://schemas.microsoft.com/office/drawing/2014/main" id="{71CD58E0-2EB1-474E-A2AE-20BBC3EA670B}"/>
                    </a:ext>
                  </a:extLst>
                </p:cNvPr>
                <p:cNvSpPr txBox="1"/>
                <p:nvPr/>
              </p:nvSpPr>
              <p:spPr>
                <a:xfrm>
                  <a:off x="6415723" y="3623846"/>
                  <a:ext cx="1371600" cy="338554"/>
                </a:xfrm>
                <a:prstGeom prst="rect">
                  <a:avLst/>
                </a:prstGeom>
                <a:noFill/>
              </p:spPr>
              <p:txBody>
                <a:bodyPr wrap="square" rtlCol="0">
                  <a:spAutoFit/>
                </a:bodyPr>
                <a:lstStyle/>
                <a:p>
                  <a:pPr defTabSz="448193">
                    <a:buSzPct val="110000"/>
                    <a:defRPr/>
                  </a:pPr>
                  <a:r>
                    <a:rPr lang="en-US" sz="1568" kern="0" dirty="0">
                      <a:solidFill>
                        <a:srgbClr val="000000"/>
                      </a:solidFill>
                    </a:rPr>
                    <a:t>Virtual Log 5</a:t>
                  </a:r>
                  <a:endParaRPr lang="en-US" sz="1765" kern="0" dirty="0">
                    <a:solidFill>
                      <a:srgbClr val="000000"/>
                    </a:solidFill>
                  </a:endParaRPr>
                </a:p>
              </p:txBody>
            </p:sp>
          </p:grpSp>
          <p:sp>
            <p:nvSpPr>
              <p:cNvPr id="23" name="TextBox 22">
                <a:extLst>
                  <a:ext uri="{FF2B5EF4-FFF2-40B4-BE49-F238E27FC236}">
                    <a16:creationId xmlns:a16="http://schemas.microsoft.com/office/drawing/2014/main" id="{AFAD3AC1-B76B-43D7-8D5D-AA05E1908032}"/>
                  </a:ext>
                </a:extLst>
              </p:cNvPr>
              <p:cNvSpPr txBox="1"/>
              <p:nvPr/>
            </p:nvSpPr>
            <p:spPr>
              <a:xfrm>
                <a:off x="1752600" y="4462046"/>
                <a:ext cx="1143000" cy="338554"/>
              </a:xfrm>
              <a:prstGeom prst="rect">
                <a:avLst/>
              </a:prstGeom>
              <a:noFill/>
            </p:spPr>
            <p:txBody>
              <a:bodyPr wrap="square" rtlCol="0">
                <a:spAutoFit/>
              </a:bodyPr>
              <a:lstStyle/>
              <a:p>
                <a:pPr defTabSz="448193">
                  <a:buSzPct val="110000"/>
                  <a:defRPr/>
                </a:pPr>
                <a:r>
                  <a:rPr lang="en-US" sz="1568" kern="0" dirty="0">
                    <a:solidFill>
                      <a:srgbClr val="000000"/>
                    </a:solidFill>
                  </a:rPr>
                  <a:t>Truncated</a:t>
                </a:r>
              </a:p>
            </p:txBody>
          </p:sp>
          <p:sp>
            <p:nvSpPr>
              <p:cNvPr id="24" name="TextBox 23">
                <a:extLst>
                  <a:ext uri="{FF2B5EF4-FFF2-40B4-BE49-F238E27FC236}">
                    <a16:creationId xmlns:a16="http://schemas.microsoft.com/office/drawing/2014/main" id="{0B1CCC31-CE1A-40DB-97EC-EC3179223841}"/>
                  </a:ext>
                </a:extLst>
              </p:cNvPr>
              <p:cNvSpPr txBox="1"/>
              <p:nvPr/>
            </p:nvSpPr>
            <p:spPr>
              <a:xfrm>
                <a:off x="6629400" y="3928646"/>
                <a:ext cx="914400" cy="338554"/>
              </a:xfrm>
              <a:prstGeom prst="rect">
                <a:avLst/>
              </a:prstGeom>
              <a:noFill/>
            </p:spPr>
            <p:txBody>
              <a:bodyPr wrap="square" rtlCol="0">
                <a:spAutoFit/>
              </a:bodyPr>
              <a:lstStyle/>
              <a:p>
                <a:pPr defTabSz="448193">
                  <a:buSzPct val="110000"/>
                  <a:defRPr/>
                </a:pPr>
                <a:r>
                  <a:rPr lang="en-US" sz="1568" kern="0" dirty="0">
                    <a:solidFill>
                      <a:srgbClr val="000000"/>
                    </a:solidFill>
                  </a:rPr>
                  <a:t>Unused</a:t>
                </a:r>
              </a:p>
            </p:txBody>
          </p:sp>
        </p:grpSp>
        <p:cxnSp>
          <p:nvCxnSpPr>
            <p:cNvPr id="14" name="Straight Arrow Connector 13">
              <a:extLst>
                <a:ext uri="{FF2B5EF4-FFF2-40B4-BE49-F238E27FC236}">
                  <a16:creationId xmlns:a16="http://schemas.microsoft.com/office/drawing/2014/main" id="{5E611130-C648-4CC2-ACC0-8C8CE9B10FB8}"/>
                </a:ext>
              </a:extLst>
            </p:cNvPr>
            <p:cNvCxnSpPr/>
            <p:nvPr/>
          </p:nvCxnSpPr>
          <p:spPr>
            <a:xfrm flipV="1">
              <a:off x="3668894" y="4455168"/>
              <a:ext cx="0" cy="802632"/>
            </a:xfrm>
            <a:prstGeom prst="straightConnector1">
              <a:avLst/>
            </a:prstGeom>
            <a:noFill/>
            <a:ln w="38100" cap="flat" cmpd="sng" algn="ctr">
              <a:solidFill>
                <a:srgbClr val="000000"/>
              </a:solidFill>
              <a:prstDash val="solid"/>
              <a:tailEnd type="triangle" w="lg" len="med"/>
            </a:ln>
            <a:effectLst>
              <a:outerShdw blurRad="40000" dist="23000" dir="5400000" rotWithShape="0">
                <a:srgbClr val="000000">
                  <a:alpha val="35000"/>
                </a:srgbClr>
              </a:outerShdw>
            </a:effectLst>
          </p:spPr>
        </p:cxnSp>
        <p:cxnSp>
          <p:nvCxnSpPr>
            <p:cNvPr id="15" name="Straight Arrow Connector 14">
              <a:extLst>
                <a:ext uri="{FF2B5EF4-FFF2-40B4-BE49-F238E27FC236}">
                  <a16:creationId xmlns:a16="http://schemas.microsoft.com/office/drawing/2014/main" id="{21228A3E-5C40-4763-AC48-5964FE6839C6}"/>
                </a:ext>
              </a:extLst>
            </p:cNvPr>
            <p:cNvCxnSpPr/>
            <p:nvPr/>
          </p:nvCxnSpPr>
          <p:spPr>
            <a:xfrm flipV="1">
              <a:off x="4267200" y="4475484"/>
              <a:ext cx="0" cy="401316"/>
            </a:xfrm>
            <a:prstGeom prst="straightConnector1">
              <a:avLst/>
            </a:prstGeom>
            <a:noFill/>
            <a:ln w="38100" cap="flat" cmpd="sng" algn="ctr">
              <a:solidFill>
                <a:srgbClr val="000000"/>
              </a:solidFill>
              <a:prstDash val="solid"/>
              <a:tailEnd type="triangle" w="lg" len="med"/>
            </a:ln>
            <a:effectLst>
              <a:outerShdw blurRad="40000" dist="23000" dir="5400000" rotWithShape="0">
                <a:srgbClr val="000000">
                  <a:alpha val="35000"/>
                </a:srgbClr>
              </a:outerShdw>
            </a:effectLst>
          </p:spPr>
        </p:cxnSp>
        <p:cxnSp>
          <p:nvCxnSpPr>
            <p:cNvPr id="16" name="Straight Arrow Connector 15">
              <a:extLst>
                <a:ext uri="{FF2B5EF4-FFF2-40B4-BE49-F238E27FC236}">
                  <a16:creationId xmlns:a16="http://schemas.microsoft.com/office/drawing/2014/main" id="{37047C7F-E141-495F-BA69-DBE840AD208F}"/>
                </a:ext>
              </a:extLst>
            </p:cNvPr>
            <p:cNvCxnSpPr/>
            <p:nvPr/>
          </p:nvCxnSpPr>
          <p:spPr>
            <a:xfrm flipV="1">
              <a:off x="5257800" y="4462046"/>
              <a:ext cx="0" cy="802632"/>
            </a:xfrm>
            <a:prstGeom prst="straightConnector1">
              <a:avLst/>
            </a:prstGeom>
            <a:noFill/>
            <a:ln w="38100" cap="flat" cmpd="sng" algn="ctr">
              <a:solidFill>
                <a:srgbClr val="000000"/>
              </a:solidFill>
              <a:prstDash val="solid"/>
              <a:tailEnd type="triangle" w="lg" len="med"/>
            </a:ln>
            <a:effectLst>
              <a:outerShdw blurRad="40000" dist="23000" dir="5400000" rotWithShape="0">
                <a:srgbClr val="000000">
                  <a:alpha val="35000"/>
                </a:srgbClr>
              </a:outerShdw>
            </a:effectLst>
          </p:spPr>
        </p:cxnSp>
        <p:cxnSp>
          <p:nvCxnSpPr>
            <p:cNvPr id="17" name="Straight Arrow Connector 16">
              <a:extLst>
                <a:ext uri="{FF2B5EF4-FFF2-40B4-BE49-F238E27FC236}">
                  <a16:creationId xmlns:a16="http://schemas.microsoft.com/office/drawing/2014/main" id="{6893774F-9A42-45EF-9731-E6945730C591}"/>
                </a:ext>
              </a:extLst>
            </p:cNvPr>
            <p:cNvCxnSpPr/>
            <p:nvPr/>
          </p:nvCxnSpPr>
          <p:spPr>
            <a:xfrm flipV="1">
              <a:off x="6419760" y="4462046"/>
              <a:ext cx="0" cy="802632"/>
            </a:xfrm>
            <a:prstGeom prst="straightConnector1">
              <a:avLst/>
            </a:prstGeom>
            <a:noFill/>
            <a:ln w="38100" cap="flat" cmpd="sng" algn="ctr">
              <a:solidFill>
                <a:srgbClr val="000000"/>
              </a:solidFill>
              <a:prstDash val="solid"/>
              <a:tailEnd type="triangle" w="lg" len="med"/>
            </a:ln>
            <a:effectLst>
              <a:outerShdw blurRad="40000" dist="23000" dir="5400000" rotWithShape="0">
                <a:srgbClr val="000000">
                  <a:alpha val="35000"/>
                </a:srgbClr>
              </a:outerShdw>
            </a:effectLst>
          </p:spPr>
        </p:cxnSp>
        <p:sp>
          <p:nvSpPr>
            <p:cNvPr id="18" name="TextBox 17">
              <a:extLst>
                <a:ext uri="{FF2B5EF4-FFF2-40B4-BE49-F238E27FC236}">
                  <a16:creationId xmlns:a16="http://schemas.microsoft.com/office/drawing/2014/main" id="{2B5FB0E4-5552-4AA3-AA77-53F69CEDC28E}"/>
                </a:ext>
              </a:extLst>
            </p:cNvPr>
            <p:cNvSpPr txBox="1"/>
            <p:nvPr/>
          </p:nvSpPr>
          <p:spPr>
            <a:xfrm>
              <a:off x="3061108" y="5264678"/>
              <a:ext cx="1129891" cy="584775"/>
            </a:xfrm>
            <a:prstGeom prst="rect">
              <a:avLst/>
            </a:prstGeom>
            <a:noFill/>
          </p:spPr>
          <p:txBody>
            <a:bodyPr wrap="square" rtlCol="0">
              <a:spAutoFit/>
            </a:bodyPr>
            <a:lstStyle/>
            <a:p>
              <a:pPr defTabSz="448193">
                <a:buSzPct val="110000"/>
                <a:defRPr/>
              </a:pPr>
              <a:r>
                <a:rPr lang="en-US" sz="1568" kern="0" dirty="0">
                  <a:solidFill>
                    <a:srgbClr val="000000"/>
                  </a:solidFill>
                </a:rPr>
                <a:t>Start of logical log</a:t>
              </a:r>
            </a:p>
          </p:txBody>
        </p:sp>
        <p:sp>
          <p:nvSpPr>
            <p:cNvPr id="19" name="TextBox 18">
              <a:extLst>
                <a:ext uri="{FF2B5EF4-FFF2-40B4-BE49-F238E27FC236}">
                  <a16:creationId xmlns:a16="http://schemas.microsoft.com/office/drawing/2014/main" id="{EA51A3E9-507B-4A8A-A2BC-CB3F9F99C5E7}"/>
                </a:ext>
              </a:extLst>
            </p:cNvPr>
            <p:cNvSpPr txBox="1"/>
            <p:nvPr/>
          </p:nvSpPr>
          <p:spPr>
            <a:xfrm>
              <a:off x="3810000" y="4963676"/>
              <a:ext cx="914400" cy="338554"/>
            </a:xfrm>
            <a:prstGeom prst="rect">
              <a:avLst/>
            </a:prstGeom>
            <a:noFill/>
          </p:spPr>
          <p:txBody>
            <a:bodyPr wrap="square" rtlCol="0">
              <a:spAutoFit/>
            </a:bodyPr>
            <a:lstStyle/>
            <a:p>
              <a:pPr defTabSz="448193">
                <a:buSzPct val="110000"/>
                <a:defRPr/>
              </a:pPr>
              <a:r>
                <a:rPr lang="en-US" sz="1568" kern="0" dirty="0">
                  <a:solidFill>
                    <a:srgbClr val="000000"/>
                  </a:solidFill>
                </a:rPr>
                <a:t>MinLSN</a:t>
              </a:r>
            </a:p>
          </p:txBody>
        </p:sp>
        <p:sp>
          <p:nvSpPr>
            <p:cNvPr id="20" name="TextBox 19">
              <a:extLst>
                <a:ext uri="{FF2B5EF4-FFF2-40B4-BE49-F238E27FC236}">
                  <a16:creationId xmlns:a16="http://schemas.microsoft.com/office/drawing/2014/main" id="{BC093AFF-8712-4581-BE10-22FEDC30EAC1}"/>
                </a:ext>
              </a:extLst>
            </p:cNvPr>
            <p:cNvSpPr txBox="1"/>
            <p:nvPr/>
          </p:nvSpPr>
          <p:spPr>
            <a:xfrm>
              <a:off x="4953000" y="5302230"/>
              <a:ext cx="1206091" cy="584775"/>
            </a:xfrm>
            <a:prstGeom prst="rect">
              <a:avLst/>
            </a:prstGeom>
            <a:noFill/>
          </p:spPr>
          <p:txBody>
            <a:bodyPr wrap="square" rtlCol="0">
              <a:spAutoFit/>
            </a:bodyPr>
            <a:lstStyle/>
            <a:p>
              <a:pPr defTabSz="448193">
                <a:buSzPct val="110000"/>
                <a:defRPr/>
              </a:pPr>
              <a:r>
                <a:rPr lang="en-US" sz="1568" kern="0" dirty="0">
                  <a:solidFill>
                    <a:srgbClr val="000000"/>
                  </a:solidFill>
                </a:rPr>
                <a:t>Last Checkpoint</a:t>
              </a:r>
            </a:p>
          </p:txBody>
        </p:sp>
        <p:sp>
          <p:nvSpPr>
            <p:cNvPr id="21" name="TextBox 20">
              <a:extLst>
                <a:ext uri="{FF2B5EF4-FFF2-40B4-BE49-F238E27FC236}">
                  <a16:creationId xmlns:a16="http://schemas.microsoft.com/office/drawing/2014/main" id="{33432717-AF12-4967-A063-BF378D18806A}"/>
                </a:ext>
              </a:extLst>
            </p:cNvPr>
            <p:cNvSpPr txBox="1"/>
            <p:nvPr/>
          </p:nvSpPr>
          <p:spPr>
            <a:xfrm>
              <a:off x="6185309" y="5282625"/>
              <a:ext cx="1129891" cy="584775"/>
            </a:xfrm>
            <a:prstGeom prst="rect">
              <a:avLst/>
            </a:prstGeom>
            <a:noFill/>
          </p:spPr>
          <p:txBody>
            <a:bodyPr wrap="square" rtlCol="0">
              <a:spAutoFit/>
            </a:bodyPr>
            <a:lstStyle/>
            <a:p>
              <a:pPr defTabSz="448193">
                <a:buSzPct val="110000"/>
                <a:defRPr/>
              </a:pPr>
              <a:r>
                <a:rPr lang="en-US" sz="1568" kern="0" dirty="0">
                  <a:solidFill>
                    <a:srgbClr val="000000"/>
                  </a:solidFill>
                </a:rPr>
                <a:t>End of logical log</a:t>
              </a:r>
            </a:p>
          </p:txBody>
        </p:sp>
      </p:grpSp>
    </p:spTree>
    <p:extLst>
      <p:ext uri="{BB962C8B-B14F-4D97-AF65-F5344CB8AC3E}">
        <p14:creationId xmlns:p14="http://schemas.microsoft.com/office/powerpoint/2010/main" val="185170880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3D25D5-3AA4-410E-BB9F-EFCBB69D8791}"/>
              </a:ext>
            </a:extLst>
          </p:cNvPr>
          <p:cNvSpPr>
            <a:spLocks noGrp="1"/>
          </p:cNvSpPr>
          <p:nvPr>
            <p:ph type="title"/>
          </p:nvPr>
        </p:nvSpPr>
        <p:spPr/>
        <p:txBody>
          <a:bodyPr/>
          <a:lstStyle/>
          <a:p>
            <a:r>
              <a:rPr lang="en-US" dirty="0"/>
              <a:t>Physical Log File Structure (Continued)</a:t>
            </a:r>
          </a:p>
        </p:txBody>
      </p:sp>
      <p:sp>
        <p:nvSpPr>
          <p:cNvPr id="4" name="Content Placeholder 3">
            <a:extLst>
              <a:ext uri="{FF2B5EF4-FFF2-40B4-BE49-F238E27FC236}">
                <a16:creationId xmlns:a16="http://schemas.microsoft.com/office/drawing/2014/main" id="{A9D1E6B2-00CD-46D7-B956-32AAE3A5FBF1}"/>
              </a:ext>
            </a:extLst>
          </p:cNvPr>
          <p:cNvSpPr>
            <a:spLocks noGrp="1"/>
          </p:cNvSpPr>
          <p:nvPr>
            <p:ph sz="quarter" idx="13"/>
          </p:nvPr>
        </p:nvSpPr>
        <p:spPr/>
        <p:txBody>
          <a:bodyPr/>
          <a:lstStyle/>
          <a:p>
            <a:r>
              <a:rPr lang="en-US" dirty="0"/>
              <a:t>Log file is circular.</a:t>
            </a:r>
          </a:p>
          <a:p>
            <a:r>
              <a:rPr lang="en-US" dirty="0"/>
              <a:t>When the end of logical log meets the beginning, the physical log file is extended.</a:t>
            </a:r>
          </a:p>
        </p:txBody>
      </p:sp>
      <p:grpSp>
        <p:nvGrpSpPr>
          <p:cNvPr id="58" name="Group 57">
            <a:extLst>
              <a:ext uri="{FF2B5EF4-FFF2-40B4-BE49-F238E27FC236}">
                <a16:creationId xmlns:a16="http://schemas.microsoft.com/office/drawing/2014/main" id="{CC0B57B9-7937-4530-A3CF-68460A055D06}"/>
              </a:ext>
            </a:extLst>
          </p:cNvPr>
          <p:cNvGrpSpPr/>
          <p:nvPr/>
        </p:nvGrpSpPr>
        <p:grpSpPr>
          <a:xfrm>
            <a:off x="1866899" y="2747964"/>
            <a:ext cx="8458200" cy="3505200"/>
            <a:chOff x="3352800" y="2819400"/>
            <a:chExt cx="8458200" cy="3505200"/>
          </a:xfrm>
        </p:grpSpPr>
        <p:sp>
          <p:nvSpPr>
            <p:cNvPr id="32" name="Rectangle 31">
              <a:extLst>
                <a:ext uri="{FF2B5EF4-FFF2-40B4-BE49-F238E27FC236}">
                  <a16:creationId xmlns:a16="http://schemas.microsoft.com/office/drawing/2014/main" id="{F20ECA8B-4183-4835-A8CB-2CCF877F2E93}"/>
                </a:ext>
              </a:extLst>
            </p:cNvPr>
            <p:cNvSpPr/>
            <p:nvPr/>
          </p:nvSpPr>
          <p:spPr>
            <a:xfrm>
              <a:off x="3352800" y="2819400"/>
              <a:ext cx="8458200" cy="3505200"/>
            </a:xfrm>
            <a:prstGeom prst="rect">
              <a:avLst/>
            </a:prstGeom>
            <a:solidFill>
              <a:sysClr val="window" lastClr="FFFFFF"/>
            </a:soli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33" name="Group 32">
              <a:extLst>
                <a:ext uri="{FF2B5EF4-FFF2-40B4-BE49-F238E27FC236}">
                  <a16:creationId xmlns:a16="http://schemas.microsoft.com/office/drawing/2014/main" id="{0705FD4D-3FE8-4575-998D-1EB4CD9808A2}"/>
                </a:ext>
              </a:extLst>
            </p:cNvPr>
            <p:cNvGrpSpPr/>
            <p:nvPr/>
          </p:nvGrpSpPr>
          <p:grpSpPr>
            <a:xfrm>
              <a:off x="4107541" y="3395246"/>
              <a:ext cx="7474859" cy="2700754"/>
              <a:chOff x="1059541" y="3429000"/>
              <a:chExt cx="7474859" cy="2700754"/>
            </a:xfrm>
          </p:grpSpPr>
          <p:grpSp>
            <p:nvGrpSpPr>
              <p:cNvPr id="34" name="Group 33">
                <a:extLst>
                  <a:ext uri="{FF2B5EF4-FFF2-40B4-BE49-F238E27FC236}">
                    <a16:creationId xmlns:a16="http://schemas.microsoft.com/office/drawing/2014/main" id="{C7CA0DB5-846D-4B72-B9C3-FDD6620C22EA}"/>
                  </a:ext>
                </a:extLst>
              </p:cNvPr>
              <p:cNvGrpSpPr/>
              <p:nvPr/>
            </p:nvGrpSpPr>
            <p:grpSpPr>
              <a:xfrm>
                <a:off x="1059541" y="3767554"/>
                <a:ext cx="7024920" cy="891531"/>
                <a:chOff x="783767" y="3778440"/>
                <a:chExt cx="7024920" cy="891531"/>
              </a:xfrm>
            </p:grpSpPr>
            <p:sp>
              <p:nvSpPr>
                <p:cNvPr id="53" name="Rectangle 52">
                  <a:extLst>
                    <a:ext uri="{FF2B5EF4-FFF2-40B4-BE49-F238E27FC236}">
                      <a16:creationId xmlns:a16="http://schemas.microsoft.com/office/drawing/2014/main" id="{DFF52038-7C3D-4EE5-ACF4-6A8092BA1A08}"/>
                    </a:ext>
                  </a:extLst>
                </p:cNvPr>
                <p:cNvSpPr/>
                <p:nvPr/>
              </p:nvSpPr>
              <p:spPr>
                <a:xfrm>
                  <a:off x="2547254" y="3789325"/>
                  <a:ext cx="1756230" cy="880646"/>
                </a:xfrm>
                <a:prstGeom prst="rect">
                  <a:avLst/>
                </a:prstGeom>
                <a:solidFill>
                  <a:srgbClr val="129038"/>
                </a:solidFill>
                <a:ln w="25400" cap="flat" cmpd="sng" algn="ctr">
                  <a:solidFill>
                    <a:srgbClr val="15AEEF"/>
                  </a:solidFill>
                  <a:prstDash val="solid"/>
                </a:ln>
                <a:effectLst>
                  <a:outerShdw blurRad="40005" dist="20320" dir="5400000" algn="ctr" rotWithShape="0">
                    <a:sysClr val="window" lastClr="FFFFFF">
                      <a:alpha val="38000"/>
                    </a:sysClr>
                  </a:outerShdw>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US" sz="1800" b="1" i="0" u="none" strike="noStrike" kern="0" cap="none" spc="0" normalizeH="0" baseline="0" noProof="0" dirty="0">
                    <a:ln w="12700">
                      <a:solidFill>
                        <a:srgbClr val="FFFFFF">
                          <a:satMod val="155000"/>
                        </a:srgbClr>
                      </a:solidFill>
                      <a:prstDash val="solid"/>
                    </a:ln>
                    <a:solidFill>
                      <a:srgbClr val="000000"/>
                    </a:solidFill>
                    <a:effectLst>
                      <a:outerShdw blurRad="41275" dist="20320" dir="1800000" algn="tl" rotWithShape="0">
                        <a:srgbClr val="000000">
                          <a:alpha val="40000"/>
                        </a:srgbClr>
                      </a:outerShdw>
                    </a:effectLst>
                    <a:uLnTx/>
                    <a:uFillTx/>
                    <a:latin typeface="Segoe UI"/>
                    <a:ea typeface="+mn-ea"/>
                    <a:cs typeface="+mn-cs"/>
                  </a:endParaRPr>
                </a:p>
              </p:txBody>
            </p:sp>
            <p:sp>
              <p:nvSpPr>
                <p:cNvPr id="54" name="Rectangle 53">
                  <a:extLst>
                    <a:ext uri="{FF2B5EF4-FFF2-40B4-BE49-F238E27FC236}">
                      <a16:creationId xmlns:a16="http://schemas.microsoft.com/office/drawing/2014/main" id="{9DC2715F-FBF1-4C69-B7C4-5076A5638532}"/>
                    </a:ext>
                  </a:extLst>
                </p:cNvPr>
                <p:cNvSpPr/>
                <p:nvPr/>
              </p:nvSpPr>
              <p:spPr>
                <a:xfrm>
                  <a:off x="4303484" y="3789325"/>
                  <a:ext cx="1756230" cy="880646"/>
                </a:xfrm>
                <a:prstGeom prst="rect">
                  <a:avLst/>
                </a:prstGeom>
                <a:gradFill flip="none" rotWithShape="1">
                  <a:gsLst>
                    <a:gs pos="0">
                      <a:srgbClr val="129038">
                        <a:tint val="50000"/>
                        <a:satMod val="300000"/>
                      </a:srgbClr>
                    </a:gs>
                    <a:gs pos="35000">
                      <a:srgbClr val="129038">
                        <a:tint val="37000"/>
                        <a:satMod val="300000"/>
                      </a:srgbClr>
                    </a:gs>
                    <a:gs pos="100000">
                      <a:srgbClr val="129038">
                        <a:tint val="15000"/>
                        <a:satMod val="350000"/>
                      </a:srgbClr>
                    </a:gs>
                  </a:gsLst>
                  <a:lin ang="10800000" scaled="1"/>
                  <a:tileRect/>
                </a:gradFill>
                <a:ln w="25400" cap="flat" cmpd="sng" algn="ctr">
                  <a:solidFill>
                    <a:srgbClr val="15AEEF"/>
                  </a:solidFill>
                  <a:prstDash val="solid"/>
                </a:ln>
                <a:effectLst>
                  <a:outerShdw blurRad="40000" dist="20000" dir="5400000" rotWithShape="0">
                    <a:srgbClr val="000000">
                      <a:alpha val="38000"/>
                    </a:srgbClr>
                  </a:outerShdw>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US" sz="1800" b="1" i="0" u="none" strike="noStrike" kern="0" cap="none" spc="0" normalizeH="0" baseline="0" noProof="0" dirty="0">
                    <a:ln w="12700">
                      <a:solidFill>
                        <a:srgbClr val="FFFFFF">
                          <a:satMod val="155000"/>
                        </a:srgbClr>
                      </a:solidFill>
                      <a:prstDash val="solid"/>
                    </a:ln>
                    <a:solidFill>
                      <a:srgbClr val="000000"/>
                    </a:solidFill>
                    <a:effectLst>
                      <a:outerShdw blurRad="41275" dist="20320" dir="1800000" algn="tl" rotWithShape="0">
                        <a:srgbClr val="000000">
                          <a:alpha val="40000"/>
                        </a:srgbClr>
                      </a:outerShdw>
                    </a:effectLst>
                    <a:uLnTx/>
                    <a:uFillTx/>
                    <a:latin typeface="Segoe UI"/>
                    <a:ea typeface="+mn-ea"/>
                    <a:cs typeface="+mn-cs"/>
                  </a:endParaRPr>
                </a:p>
              </p:txBody>
            </p:sp>
            <p:sp>
              <p:nvSpPr>
                <p:cNvPr id="55" name="Rectangle 54">
                  <a:extLst>
                    <a:ext uri="{FF2B5EF4-FFF2-40B4-BE49-F238E27FC236}">
                      <a16:creationId xmlns:a16="http://schemas.microsoft.com/office/drawing/2014/main" id="{5DE51E47-102B-4726-AEB4-247CA31FD7B8}"/>
                    </a:ext>
                  </a:extLst>
                </p:cNvPr>
                <p:cNvSpPr/>
                <p:nvPr/>
              </p:nvSpPr>
              <p:spPr>
                <a:xfrm>
                  <a:off x="6052457" y="3789325"/>
                  <a:ext cx="1756230" cy="880646"/>
                </a:xfrm>
                <a:prstGeom prst="rect">
                  <a:avLst/>
                </a:prstGeom>
                <a:gradFill flip="none" rotWithShape="1">
                  <a:gsLst>
                    <a:gs pos="0">
                      <a:srgbClr val="129038">
                        <a:tint val="50000"/>
                        <a:satMod val="300000"/>
                      </a:srgbClr>
                    </a:gs>
                    <a:gs pos="35000">
                      <a:srgbClr val="129038">
                        <a:tint val="37000"/>
                        <a:satMod val="300000"/>
                      </a:srgbClr>
                    </a:gs>
                    <a:gs pos="100000">
                      <a:srgbClr val="129038">
                        <a:tint val="15000"/>
                        <a:satMod val="350000"/>
                      </a:srgbClr>
                    </a:gs>
                  </a:gsLst>
                  <a:lin ang="10800000" scaled="1"/>
                  <a:tileRect/>
                </a:gradFill>
                <a:ln w="25400" cap="flat" cmpd="sng" algn="ctr">
                  <a:solidFill>
                    <a:srgbClr val="15AEEF"/>
                  </a:solidFill>
                  <a:prstDash val="solid"/>
                </a:ln>
                <a:effectLst>
                  <a:outerShdw blurRad="40000" dist="20000" dir="5400000" rotWithShape="0">
                    <a:srgbClr val="000000">
                      <a:alpha val="38000"/>
                    </a:srgbClr>
                  </a:outerShdw>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US" sz="1800" b="1" i="0" u="none" strike="noStrike" kern="0" cap="none" spc="0" normalizeH="0" baseline="0" noProof="0" dirty="0">
                    <a:ln w="12700">
                      <a:solidFill>
                        <a:srgbClr val="FFFFFF">
                          <a:satMod val="155000"/>
                        </a:srgbClr>
                      </a:solidFill>
                      <a:prstDash val="solid"/>
                    </a:ln>
                    <a:solidFill>
                      <a:srgbClr val="000000"/>
                    </a:solidFill>
                    <a:effectLst>
                      <a:outerShdw blurRad="41275" dist="20320" dir="1800000" algn="tl" rotWithShape="0">
                        <a:srgbClr val="000000">
                          <a:alpha val="40000"/>
                        </a:srgbClr>
                      </a:outerShdw>
                    </a:effectLst>
                    <a:uLnTx/>
                    <a:uFillTx/>
                    <a:latin typeface="Segoe UI"/>
                    <a:ea typeface="+mn-ea"/>
                    <a:cs typeface="+mn-cs"/>
                  </a:endParaRPr>
                </a:p>
              </p:txBody>
            </p:sp>
            <p:sp>
              <p:nvSpPr>
                <p:cNvPr id="56" name="Rectangle 55">
                  <a:extLst>
                    <a:ext uri="{FF2B5EF4-FFF2-40B4-BE49-F238E27FC236}">
                      <a16:creationId xmlns:a16="http://schemas.microsoft.com/office/drawing/2014/main" id="{EE5F7180-E043-4B09-9C12-A6C82FCB07EF}"/>
                    </a:ext>
                  </a:extLst>
                </p:cNvPr>
                <p:cNvSpPr/>
                <p:nvPr/>
              </p:nvSpPr>
              <p:spPr>
                <a:xfrm>
                  <a:off x="783767" y="3789325"/>
                  <a:ext cx="1756230" cy="880646"/>
                </a:xfrm>
                <a:prstGeom prst="rect">
                  <a:avLst/>
                </a:prstGeom>
                <a:gradFill flip="none" rotWithShape="1">
                  <a:gsLst>
                    <a:gs pos="0">
                      <a:srgbClr val="129038">
                        <a:tint val="50000"/>
                        <a:satMod val="300000"/>
                      </a:srgbClr>
                    </a:gs>
                    <a:gs pos="35000">
                      <a:srgbClr val="129038">
                        <a:tint val="37000"/>
                        <a:satMod val="300000"/>
                      </a:srgbClr>
                    </a:gs>
                    <a:gs pos="100000">
                      <a:srgbClr val="129038">
                        <a:tint val="15000"/>
                        <a:satMod val="350000"/>
                      </a:srgbClr>
                    </a:gs>
                  </a:gsLst>
                  <a:lin ang="10800000" scaled="1"/>
                  <a:tileRect/>
                </a:gradFill>
                <a:ln w="25400" cap="flat" cmpd="sng" algn="ctr">
                  <a:solidFill>
                    <a:srgbClr val="15AEEF"/>
                  </a:solidFill>
                  <a:prstDash val="solid"/>
                </a:ln>
                <a:effectLst>
                  <a:outerShdw blurRad="40000" dist="20000" dir="5400000" rotWithShape="0">
                    <a:srgbClr val="000000">
                      <a:alpha val="38000"/>
                    </a:srgbClr>
                  </a:outerShdw>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US" sz="1800" b="1" i="0" u="none" strike="noStrike" kern="0" cap="none" spc="0" normalizeH="0" baseline="0" noProof="0" dirty="0">
                    <a:ln w="12700">
                      <a:solidFill>
                        <a:srgbClr val="FFFFFF">
                          <a:satMod val="155000"/>
                        </a:srgbClr>
                      </a:solidFill>
                      <a:prstDash val="solid"/>
                    </a:ln>
                    <a:solidFill>
                      <a:srgbClr val="000000"/>
                    </a:solidFill>
                    <a:effectLst>
                      <a:outerShdw blurRad="41275" dist="20320" dir="1800000" algn="tl" rotWithShape="0">
                        <a:srgbClr val="000000">
                          <a:alpha val="40000"/>
                        </a:srgbClr>
                      </a:outerShdw>
                    </a:effectLst>
                    <a:uLnTx/>
                    <a:uFillTx/>
                    <a:latin typeface="Segoe UI"/>
                    <a:ea typeface="+mn-ea"/>
                    <a:cs typeface="+mn-cs"/>
                  </a:endParaRPr>
                </a:p>
              </p:txBody>
            </p:sp>
            <p:sp>
              <p:nvSpPr>
                <p:cNvPr id="57" name="Rectangle 56">
                  <a:extLst>
                    <a:ext uri="{FF2B5EF4-FFF2-40B4-BE49-F238E27FC236}">
                      <a16:creationId xmlns:a16="http://schemas.microsoft.com/office/drawing/2014/main" id="{F3454C54-A44A-44E2-9475-D256653DE661}"/>
                    </a:ext>
                  </a:extLst>
                </p:cNvPr>
                <p:cNvSpPr/>
                <p:nvPr/>
              </p:nvSpPr>
              <p:spPr>
                <a:xfrm>
                  <a:off x="1655443" y="3778440"/>
                  <a:ext cx="878115" cy="880646"/>
                </a:xfrm>
                <a:prstGeom prst="rect">
                  <a:avLst/>
                </a:prstGeom>
                <a:solidFill>
                  <a:srgbClr val="129038"/>
                </a:solidFill>
                <a:ln w="25400" cap="flat" cmpd="sng" algn="ctr">
                  <a:solidFill>
                    <a:srgbClr val="15AEEF"/>
                  </a:solidFill>
                  <a:prstDash val="solid"/>
                </a:ln>
                <a:effectLst>
                  <a:outerShdw blurRad="40005" dist="20320" dir="5400000" algn="ctr" rotWithShape="0">
                    <a:sysClr val="window" lastClr="FFFFFF">
                      <a:alpha val="38000"/>
                    </a:sysClr>
                  </a:outerShdw>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US" sz="1800" b="1" i="0" u="none" strike="noStrike" kern="0" cap="none" spc="0" normalizeH="0" baseline="0" noProof="0" dirty="0">
                    <a:ln w="12700">
                      <a:solidFill>
                        <a:srgbClr val="FFFFFF">
                          <a:satMod val="155000"/>
                        </a:srgbClr>
                      </a:solidFill>
                      <a:prstDash val="solid"/>
                    </a:ln>
                    <a:solidFill>
                      <a:srgbClr val="000000"/>
                    </a:solidFill>
                    <a:effectLst>
                      <a:outerShdw blurRad="41275" dist="20320" dir="1800000" algn="tl" rotWithShape="0">
                        <a:srgbClr val="000000">
                          <a:alpha val="40000"/>
                        </a:srgbClr>
                      </a:outerShdw>
                    </a:effectLst>
                    <a:uLnTx/>
                    <a:uFillTx/>
                    <a:latin typeface="Segoe UI"/>
                    <a:ea typeface="+mn-ea"/>
                    <a:cs typeface="+mn-cs"/>
                  </a:endParaRPr>
                </a:p>
              </p:txBody>
            </p:sp>
          </p:grpSp>
          <p:cxnSp>
            <p:nvCxnSpPr>
              <p:cNvPr id="35" name="Elbow Connector 38">
                <a:extLst>
                  <a:ext uri="{FF2B5EF4-FFF2-40B4-BE49-F238E27FC236}">
                    <a16:creationId xmlns:a16="http://schemas.microsoft.com/office/drawing/2014/main" id="{275446E4-3474-4B12-8864-A42AD1704403}"/>
                  </a:ext>
                </a:extLst>
              </p:cNvPr>
              <p:cNvCxnSpPr>
                <a:stCxn id="59" idx="3"/>
                <a:endCxn id="60" idx="1"/>
              </p:cNvCxnSpPr>
              <p:nvPr/>
            </p:nvCxnSpPr>
            <p:spPr>
              <a:xfrm flipH="1">
                <a:off x="1059541" y="4218762"/>
                <a:ext cx="7024920" cy="12700"/>
              </a:xfrm>
              <a:prstGeom prst="bentConnector5">
                <a:avLst>
                  <a:gd name="adj1" fmla="val -6146"/>
                  <a:gd name="adj2" fmla="val -7418606"/>
                  <a:gd name="adj3" fmla="val 105733"/>
                </a:avLst>
              </a:prstGeom>
              <a:noFill/>
              <a:ln w="25400" cap="flat" cmpd="sng" algn="ctr">
                <a:solidFill>
                  <a:srgbClr val="FF0000"/>
                </a:solidFill>
                <a:prstDash val="lgDash"/>
                <a:tailEnd type="triangle" w="lg" len="med"/>
              </a:ln>
              <a:effectLst/>
            </p:spPr>
          </p:cxnSp>
          <p:sp>
            <p:nvSpPr>
              <p:cNvPr id="36" name="TextBox 35">
                <a:extLst>
                  <a:ext uri="{FF2B5EF4-FFF2-40B4-BE49-F238E27FC236}">
                    <a16:creationId xmlns:a16="http://schemas.microsoft.com/office/drawing/2014/main" id="{D0DB21DE-E15D-4B1B-AA4F-784FBCEA226C}"/>
                  </a:ext>
                </a:extLst>
              </p:cNvPr>
              <p:cNvSpPr txBox="1"/>
              <p:nvPr/>
            </p:nvSpPr>
            <p:spPr>
              <a:xfrm>
                <a:off x="1066799" y="3429000"/>
                <a:ext cx="1748971" cy="338554"/>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Virtual Log 1</a:t>
                </a:r>
                <a:endParaRPr kumimoji="0" lang="en-US" sz="1800" b="0" i="0" u="none" strike="noStrike" kern="0" cap="none" spc="0" normalizeH="0" baseline="0" noProof="0" dirty="0">
                  <a:ln>
                    <a:noFill/>
                  </a:ln>
                  <a:solidFill>
                    <a:srgbClr val="000000"/>
                  </a:solidFill>
                  <a:effectLst/>
                  <a:uLnTx/>
                  <a:uFillTx/>
                </a:endParaRPr>
              </a:p>
            </p:txBody>
          </p:sp>
          <p:sp>
            <p:nvSpPr>
              <p:cNvPr id="37" name="TextBox 36">
                <a:extLst>
                  <a:ext uri="{FF2B5EF4-FFF2-40B4-BE49-F238E27FC236}">
                    <a16:creationId xmlns:a16="http://schemas.microsoft.com/office/drawing/2014/main" id="{C639086C-712F-40C6-B4F8-803BD829B363}"/>
                  </a:ext>
                </a:extLst>
              </p:cNvPr>
              <p:cNvSpPr txBox="1"/>
              <p:nvPr/>
            </p:nvSpPr>
            <p:spPr>
              <a:xfrm>
                <a:off x="2815771" y="3429000"/>
                <a:ext cx="1756229" cy="338554"/>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Virtual Log 2</a:t>
                </a:r>
                <a:endParaRPr kumimoji="0" lang="en-US" sz="1800" b="0" i="0" u="none" strike="noStrike" kern="0" cap="none" spc="0" normalizeH="0" baseline="0" noProof="0" dirty="0">
                  <a:ln>
                    <a:noFill/>
                  </a:ln>
                  <a:solidFill>
                    <a:srgbClr val="000000"/>
                  </a:solidFill>
                  <a:effectLst/>
                  <a:uLnTx/>
                  <a:uFillTx/>
                </a:endParaRPr>
              </a:p>
            </p:txBody>
          </p:sp>
          <p:sp>
            <p:nvSpPr>
              <p:cNvPr id="38" name="TextBox 37">
                <a:extLst>
                  <a:ext uri="{FF2B5EF4-FFF2-40B4-BE49-F238E27FC236}">
                    <a16:creationId xmlns:a16="http://schemas.microsoft.com/office/drawing/2014/main" id="{524791BF-0908-41E5-9EDD-1DF425448E69}"/>
                  </a:ext>
                </a:extLst>
              </p:cNvPr>
              <p:cNvSpPr txBox="1"/>
              <p:nvPr/>
            </p:nvSpPr>
            <p:spPr>
              <a:xfrm>
                <a:off x="4579258" y="3429000"/>
                <a:ext cx="1745342" cy="338554"/>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Virtual Log 3</a:t>
                </a:r>
                <a:endParaRPr kumimoji="0" lang="en-US" sz="1800" b="0" i="0" u="none" strike="noStrike" kern="0" cap="none" spc="0" normalizeH="0" baseline="0" noProof="0" dirty="0">
                  <a:ln>
                    <a:noFill/>
                  </a:ln>
                  <a:solidFill>
                    <a:srgbClr val="000000"/>
                  </a:solidFill>
                  <a:effectLst/>
                  <a:uLnTx/>
                  <a:uFillTx/>
                </a:endParaRPr>
              </a:p>
            </p:txBody>
          </p:sp>
          <p:sp>
            <p:nvSpPr>
              <p:cNvPr id="39" name="TextBox 38">
                <a:extLst>
                  <a:ext uri="{FF2B5EF4-FFF2-40B4-BE49-F238E27FC236}">
                    <a16:creationId xmlns:a16="http://schemas.microsoft.com/office/drawing/2014/main" id="{F9434605-3222-452A-8284-B81AA45A64BD}"/>
                  </a:ext>
                </a:extLst>
              </p:cNvPr>
              <p:cNvSpPr txBox="1"/>
              <p:nvPr/>
            </p:nvSpPr>
            <p:spPr>
              <a:xfrm>
                <a:off x="6328231" y="3429000"/>
                <a:ext cx="1748969" cy="338554"/>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Virtual Log 4</a:t>
                </a:r>
                <a:endParaRPr kumimoji="0" lang="en-US" sz="1800" b="0" i="0" u="none" strike="noStrike" kern="0" cap="none" spc="0" normalizeH="0" baseline="0" noProof="0" dirty="0">
                  <a:ln>
                    <a:noFill/>
                  </a:ln>
                  <a:solidFill>
                    <a:srgbClr val="000000"/>
                  </a:solidFill>
                  <a:effectLst/>
                  <a:uLnTx/>
                  <a:uFillTx/>
                </a:endParaRPr>
              </a:p>
            </p:txBody>
          </p:sp>
          <p:cxnSp>
            <p:nvCxnSpPr>
              <p:cNvPr id="40" name="Straight Arrow Connector 39">
                <a:extLst>
                  <a:ext uri="{FF2B5EF4-FFF2-40B4-BE49-F238E27FC236}">
                    <a16:creationId xmlns:a16="http://schemas.microsoft.com/office/drawing/2014/main" id="{7DBAD58A-D840-4336-B470-7A442FF55FA9}"/>
                  </a:ext>
                </a:extLst>
              </p:cNvPr>
              <p:cNvCxnSpPr/>
              <p:nvPr/>
            </p:nvCxnSpPr>
            <p:spPr>
              <a:xfrm flipV="1">
                <a:off x="1931217" y="4724400"/>
                <a:ext cx="0" cy="802632"/>
              </a:xfrm>
              <a:prstGeom prst="straightConnector1">
                <a:avLst/>
              </a:prstGeom>
              <a:noFill/>
              <a:ln w="25400" cap="flat" cmpd="sng" algn="ctr">
                <a:solidFill>
                  <a:srgbClr val="000000"/>
                </a:solidFill>
                <a:prstDash val="solid"/>
                <a:tailEnd type="triangle" w="lg" len="med"/>
              </a:ln>
              <a:effectLst>
                <a:outerShdw blurRad="40000" dist="20000" dir="5400000" rotWithShape="0">
                  <a:srgbClr val="000000">
                    <a:alpha val="38000"/>
                  </a:srgbClr>
                </a:outerShdw>
              </a:effectLst>
            </p:spPr>
          </p:cxnSp>
          <p:sp>
            <p:nvSpPr>
              <p:cNvPr id="41" name="TextBox 40">
                <a:extLst>
                  <a:ext uri="{FF2B5EF4-FFF2-40B4-BE49-F238E27FC236}">
                    <a16:creationId xmlns:a16="http://schemas.microsoft.com/office/drawing/2014/main" id="{40BEB61F-D0C7-4D84-82C8-863B8A1B8015}"/>
                  </a:ext>
                </a:extLst>
              </p:cNvPr>
              <p:cNvSpPr txBox="1"/>
              <p:nvPr/>
            </p:nvSpPr>
            <p:spPr>
              <a:xfrm>
                <a:off x="1696766" y="5544979"/>
                <a:ext cx="1129891" cy="584775"/>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End of logical log</a:t>
                </a:r>
              </a:p>
            </p:txBody>
          </p:sp>
          <p:sp>
            <p:nvSpPr>
              <p:cNvPr id="42" name="TextBox 41">
                <a:extLst>
                  <a:ext uri="{FF2B5EF4-FFF2-40B4-BE49-F238E27FC236}">
                    <a16:creationId xmlns:a16="http://schemas.microsoft.com/office/drawing/2014/main" id="{4415A485-BE11-407E-9FD4-2995435E684C}"/>
                  </a:ext>
                </a:extLst>
              </p:cNvPr>
              <p:cNvSpPr txBox="1"/>
              <p:nvPr/>
            </p:nvSpPr>
            <p:spPr>
              <a:xfrm>
                <a:off x="2514600" y="4690646"/>
                <a:ext cx="1143000" cy="33855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Truncated</a:t>
                </a:r>
              </a:p>
            </p:txBody>
          </p:sp>
          <p:cxnSp>
            <p:nvCxnSpPr>
              <p:cNvPr id="43" name="Straight Arrow Connector 42">
                <a:extLst>
                  <a:ext uri="{FF2B5EF4-FFF2-40B4-BE49-F238E27FC236}">
                    <a16:creationId xmlns:a16="http://schemas.microsoft.com/office/drawing/2014/main" id="{B939BE56-7998-4133-B3D9-A8F029F49607}"/>
                  </a:ext>
                </a:extLst>
              </p:cNvPr>
              <p:cNvCxnSpPr/>
              <p:nvPr/>
            </p:nvCxnSpPr>
            <p:spPr>
              <a:xfrm flipV="1">
                <a:off x="4583295" y="4701715"/>
                <a:ext cx="0" cy="802632"/>
              </a:xfrm>
              <a:prstGeom prst="straightConnector1">
                <a:avLst/>
              </a:prstGeom>
              <a:noFill/>
              <a:ln w="25400" cap="flat" cmpd="sng" algn="ctr">
                <a:solidFill>
                  <a:srgbClr val="000000"/>
                </a:solidFill>
                <a:prstDash val="solid"/>
                <a:tailEnd type="triangle" w="lg" len="med"/>
              </a:ln>
              <a:effectLst>
                <a:outerShdw blurRad="40000" dist="20000" dir="5400000" rotWithShape="0">
                  <a:srgbClr val="000000">
                    <a:alpha val="38000"/>
                  </a:srgbClr>
                </a:outerShdw>
              </a:effectLst>
            </p:spPr>
          </p:cxnSp>
          <p:sp>
            <p:nvSpPr>
              <p:cNvPr id="44" name="TextBox 43">
                <a:extLst>
                  <a:ext uri="{FF2B5EF4-FFF2-40B4-BE49-F238E27FC236}">
                    <a16:creationId xmlns:a16="http://schemas.microsoft.com/office/drawing/2014/main" id="{374C1C2C-30EC-4A9A-A4C4-21650C06386A}"/>
                  </a:ext>
                </a:extLst>
              </p:cNvPr>
              <p:cNvSpPr txBox="1"/>
              <p:nvPr/>
            </p:nvSpPr>
            <p:spPr>
              <a:xfrm>
                <a:off x="3975509" y="5511225"/>
                <a:ext cx="1129891" cy="584775"/>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Start of logical log</a:t>
                </a:r>
              </a:p>
            </p:txBody>
          </p:sp>
          <p:cxnSp>
            <p:nvCxnSpPr>
              <p:cNvPr id="45" name="Straight Arrow Connector 44">
                <a:extLst>
                  <a:ext uri="{FF2B5EF4-FFF2-40B4-BE49-F238E27FC236}">
                    <a16:creationId xmlns:a16="http://schemas.microsoft.com/office/drawing/2014/main" id="{331B627A-475C-4477-8C64-7FED7B096CC5}"/>
                  </a:ext>
                </a:extLst>
              </p:cNvPr>
              <p:cNvCxnSpPr/>
              <p:nvPr/>
            </p:nvCxnSpPr>
            <p:spPr>
              <a:xfrm flipV="1">
                <a:off x="5181600" y="4735854"/>
                <a:ext cx="0" cy="401316"/>
              </a:xfrm>
              <a:prstGeom prst="straightConnector1">
                <a:avLst/>
              </a:prstGeom>
              <a:noFill/>
              <a:ln w="25400" cap="flat" cmpd="sng" algn="ctr">
                <a:solidFill>
                  <a:srgbClr val="000000"/>
                </a:solidFill>
                <a:prstDash val="solid"/>
                <a:tailEnd type="triangle" w="lg" len="med"/>
              </a:ln>
              <a:effectLst>
                <a:outerShdw blurRad="40000" dist="20000" dir="5400000" rotWithShape="0">
                  <a:srgbClr val="000000">
                    <a:alpha val="38000"/>
                  </a:srgbClr>
                </a:outerShdw>
              </a:effectLst>
            </p:spPr>
          </p:cxnSp>
          <p:sp>
            <p:nvSpPr>
              <p:cNvPr id="46" name="TextBox 45">
                <a:extLst>
                  <a:ext uri="{FF2B5EF4-FFF2-40B4-BE49-F238E27FC236}">
                    <a16:creationId xmlns:a16="http://schemas.microsoft.com/office/drawing/2014/main" id="{2F58A6B9-3B80-4857-A22B-56AD7BD3368C}"/>
                  </a:ext>
                </a:extLst>
              </p:cNvPr>
              <p:cNvSpPr txBox="1"/>
              <p:nvPr/>
            </p:nvSpPr>
            <p:spPr>
              <a:xfrm>
                <a:off x="4724400" y="5224046"/>
                <a:ext cx="914400" cy="33855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MinLSN</a:t>
                </a:r>
              </a:p>
            </p:txBody>
          </p:sp>
          <p:cxnSp>
            <p:nvCxnSpPr>
              <p:cNvPr id="47" name="Straight Arrow Connector 46">
                <a:extLst>
                  <a:ext uri="{FF2B5EF4-FFF2-40B4-BE49-F238E27FC236}">
                    <a16:creationId xmlns:a16="http://schemas.microsoft.com/office/drawing/2014/main" id="{783F5EA3-2435-44EC-9FA3-0B6963D5FD0B}"/>
                  </a:ext>
                </a:extLst>
              </p:cNvPr>
              <p:cNvCxnSpPr/>
              <p:nvPr/>
            </p:nvCxnSpPr>
            <p:spPr>
              <a:xfrm flipV="1">
                <a:off x="6032909" y="4671041"/>
                <a:ext cx="0" cy="802632"/>
              </a:xfrm>
              <a:prstGeom prst="straightConnector1">
                <a:avLst/>
              </a:prstGeom>
              <a:noFill/>
              <a:ln w="25400" cap="flat" cmpd="sng" algn="ctr">
                <a:solidFill>
                  <a:srgbClr val="000000"/>
                </a:solidFill>
                <a:prstDash val="solid"/>
                <a:tailEnd type="triangle" w="lg" len="med"/>
              </a:ln>
              <a:effectLst>
                <a:outerShdw blurRad="40000" dist="20000" dir="5400000" rotWithShape="0">
                  <a:srgbClr val="000000">
                    <a:alpha val="38000"/>
                  </a:srgbClr>
                </a:outerShdw>
              </a:effectLst>
            </p:spPr>
          </p:cxnSp>
          <p:sp>
            <p:nvSpPr>
              <p:cNvPr id="48" name="TextBox 47">
                <a:extLst>
                  <a:ext uri="{FF2B5EF4-FFF2-40B4-BE49-F238E27FC236}">
                    <a16:creationId xmlns:a16="http://schemas.microsoft.com/office/drawing/2014/main" id="{0986F856-02AE-4EE6-8175-C6F164B32A08}"/>
                  </a:ext>
                </a:extLst>
              </p:cNvPr>
              <p:cNvSpPr txBox="1"/>
              <p:nvPr/>
            </p:nvSpPr>
            <p:spPr>
              <a:xfrm>
                <a:off x="5728109" y="5473673"/>
                <a:ext cx="1358491" cy="584775"/>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Next to last checkpoint</a:t>
                </a:r>
              </a:p>
            </p:txBody>
          </p:sp>
          <p:cxnSp>
            <p:nvCxnSpPr>
              <p:cNvPr id="49" name="Straight Arrow Connector 48">
                <a:extLst>
                  <a:ext uri="{FF2B5EF4-FFF2-40B4-BE49-F238E27FC236}">
                    <a16:creationId xmlns:a16="http://schemas.microsoft.com/office/drawing/2014/main" id="{C189A50A-3C3A-4441-A8BB-1A599AE5B350}"/>
                  </a:ext>
                </a:extLst>
              </p:cNvPr>
              <p:cNvCxnSpPr/>
              <p:nvPr/>
            </p:nvCxnSpPr>
            <p:spPr>
              <a:xfrm flipV="1">
                <a:off x="6947309" y="4724400"/>
                <a:ext cx="0" cy="499646"/>
              </a:xfrm>
              <a:prstGeom prst="straightConnector1">
                <a:avLst/>
              </a:prstGeom>
              <a:noFill/>
              <a:ln w="25400" cap="flat" cmpd="sng" algn="ctr">
                <a:solidFill>
                  <a:srgbClr val="000000"/>
                </a:solidFill>
                <a:prstDash val="solid"/>
                <a:tailEnd type="triangle" w="lg" len="med"/>
              </a:ln>
              <a:effectLst>
                <a:outerShdw blurRad="40000" dist="20000" dir="5400000" rotWithShape="0">
                  <a:srgbClr val="000000">
                    <a:alpha val="38000"/>
                  </a:srgbClr>
                </a:outerShdw>
              </a:effectLst>
            </p:spPr>
          </p:cxnSp>
          <p:sp>
            <p:nvSpPr>
              <p:cNvPr id="50" name="TextBox 49">
                <a:extLst>
                  <a:ext uri="{FF2B5EF4-FFF2-40B4-BE49-F238E27FC236}">
                    <a16:creationId xmlns:a16="http://schemas.microsoft.com/office/drawing/2014/main" id="{86AB9BD5-C4BB-47BE-A516-5AD3E6C843EC}"/>
                  </a:ext>
                </a:extLst>
              </p:cNvPr>
              <p:cNvSpPr txBox="1"/>
              <p:nvPr/>
            </p:nvSpPr>
            <p:spPr>
              <a:xfrm>
                <a:off x="6858000" y="5257800"/>
                <a:ext cx="1676400" cy="33855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Last checkpoint</a:t>
                </a:r>
              </a:p>
            </p:txBody>
          </p:sp>
          <p:cxnSp>
            <p:nvCxnSpPr>
              <p:cNvPr id="51" name="Straight Arrow Connector 50">
                <a:extLst>
                  <a:ext uri="{FF2B5EF4-FFF2-40B4-BE49-F238E27FC236}">
                    <a16:creationId xmlns:a16="http://schemas.microsoft.com/office/drawing/2014/main" id="{E2C75997-D54F-4F4C-A87B-8A58972634E8}"/>
                  </a:ext>
                </a:extLst>
              </p:cNvPr>
              <p:cNvCxnSpPr/>
              <p:nvPr/>
            </p:nvCxnSpPr>
            <p:spPr>
              <a:xfrm>
                <a:off x="4876800" y="4207877"/>
                <a:ext cx="3048000" cy="0"/>
              </a:xfrm>
              <a:prstGeom prst="straightConnector1">
                <a:avLst/>
              </a:prstGeom>
              <a:noFill/>
              <a:ln w="25400" cap="flat" cmpd="sng" algn="ctr">
                <a:solidFill>
                  <a:srgbClr val="000000"/>
                </a:solidFill>
                <a:prstDash val="solid"/>
                <a:tailEnd type="triangle" w="lg" len="med"/>
              </a:ln>
              <a:effectLst/>
            </p:spPr>
          </p:cxnSp>
          <p:cxnSp>
            <p:nvCxnSpPr>
              <p:cNvPr id="52" name="Straight Arrow Connector 51">
                <a:extLst>
                  <a:ext uri="{FF2B5EF4-FFF2-40B4-BE49-F238E27FC236}">
                    <a16:creationId xmlns:a16="http://schemas.microsoft.com/office/drawing/2014/main" id="{D0DBB8F2-3443-4697-9B9F-16ED951951B8}"/>
                  </a:ext>
                </a:extLst>
              </p:cNvPr>
              <p:cNvCxnSpPr/>
              <p:nvPr/>
            </p:nvCxnSpPr>
            <p:spPr>
              <a:xfrm>
                <a:off x="1143000" y="4191000"/>
                <a:ext cx="685800" cy="0"/>
              </a:xfrm>
              <a:prstGeom prst="straightConnector1">
                <a:avLst/>
              </a:prstGeom>
              <a:noFill/>
              <a:ln w="25400" cap="flat" cmpd="sng" algn="ctr">
                <a:solidFill>
                  <a:srgbClr val="000000"/>
                </a:solidFill>
                <a:prstDash val="solid"/>
                <a:tailEnd type="triangle" w="lg" len="med"/>
              </a:ln>
              <a:effectLst/>
            </p:spPr>
          </p:cxnSp>
        </p:grpSp>
      </p:grpSp>
    </p:spTree>
    <p:extLst>
      <p:ext uri="{BB962C8B-B14F-4D97-AF65-F5344CB8AC3E}">
        <p14:creationId xmlns:p14="http://schemas.microsoft.com/office/powerpoint/2010/main" val="32992186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452B6-E2D9-4808-A13E-5597AEE2B65E}"/>
              </a:ext>
            </a:extLst>
          </p:cNvPr>
          <p:cNvSpPr>
            <a:spLocks noGrp="1"/>
          </p:cNvSpPr>
          <p:nvPr>
            <p:ph type="title"/>
          </p:nvPr>
        </p:nvSpPr>
        <p:spPr/>
        <p:txBody>
          <a:bodyPr/>
          <a:lstStyle/>
          <a:p>
            <a:r>
              <a:rPr lang="en-US" dirty="0"/>
              <a:t>Addressing VLF Counts</a:t>
            </a:r>
          </a:p>
        </p:txBody>
      </p:sp>
      <p:graphicFrame>
        <p:nvGraphicFramePr>
          <p:cNvPr id="5" name="Content Placeholder 4">
            <a:extLst>
              <a:ext uri="{FF2B5EF4-FFF2-40B4-BE49-F238E27FC236}">
                <a16:creationId xmlns:a16="http://schemas.microsoft.com/office/drawing/2014/main" id="{D2C649BE-99B2-4F64-9715-9F84DFE57F63}"/>
              </a:ext>
            </a:extLst>
          </p:cNvPr>
          <p:cNvGraphicFramePr>
            <a:graphicFrameLocks noGrp="1"/>
          </p:cNvGraphicFramePr>
          <p:nvPr>
            <p:ph sz="quarter" idx="13"/>
            <p:extLst>
              <p:ext uri="{D42A27DB-BD31-4B8C-83A1-F6EECF244321}">
                <p14:modId xmlns:p14="http://schemas.microsoft.com/office/powerpoint/2010/main" val="3152916082"/>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9634642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67A8C-1571-4560-AD72-2E77B10AF292}"/>
              </a:ext>
            </a:extLst>
          </p:cNvPr>
          <p:cNvSpPr>
            <a:spLocks noGrp="1"/>
          </p:cNvSpPr>
          <p:nvPr>
            <p:ph type="title"/>
          </p:nvPr>
        </p:nvSpPr>
        <p:spPr/>
        <p:txBody>
          <a:bodyPr/>
          <a:lstStyle/>
          <a:p>
            <a:r>
              <a:rPr lang="en-US" dirty="0"/>
              <a:t>SQL Server 2014 VLF Growth Improvement</a:t>
            </a:r>
          </a:p>
        </p:txBody>
      </p:sp>
      <p:sp>
        <p:nvSpPr>
          <p:cNvPr id="4" name="Content Placeholder 3">
            <a:extLst>
              <a:ext uri="{FF2B5EF4-FFF2-40B4-BE49-F238E27FC236}">
                <a16:creationId xmlns:a16="http://schemas.microsoft.com/office/drawing/2014/main" id="{B965750F-ED6F-4D17-9B4A-BDF5BAF51D26}"/>
              </a:ext>
            </a:extLst>
          </p:cNvPr>
          <p:cNvSpPr>
            <a:spLocks noGrp="1"/>
          </p:cNvSpPr>
          <p:nvPr>
            <p:ph sz="quarter" idx="13"/>
          </p:nvPr>
        </p:nvSpPr>
        <p:spPr>
          <a:xfrm>
            <a:off x="547483" y="1019175"/>
            <a:ext cx="10880726" cy="4819650"/>
          </a:xfrm>
        </p:spPr>
        <p:txBody>
          <a:bodyPr/>
          <a:lstStyle/>
          <a:p>
            <a:r>
              <a:rPr lang="en-US" dirty="0"/>
              <a:t>Is the growth size less than 1/8 the size of the current log size?</a:t>
            </a:r>
          </a:p>
          <a:p>
            <a:pPr lvl="1"/>
            <a:r>
              <a:rPr lang="en-US" sz="2400" dirty="0"/>
              <a:t>Yes: create 1 new VLF equal to the growth size</a:t>
            </a:r>
          </a:p>
          <a:p>
            <a:pPr lvl="1"/>
            <a:r>
              <a:rPr lang="en-US" sz="2400" dirty="0"/>
              <a:t>No: use the previous formula</a:t>
            </a:r>
          </a:p>
          <a:p>
            <a:r>
              <a:rPr lang="en-US" dirty="0"/>
              <a:t>Example of a 256 MB log file with an autogrowth setting of 5 MB</a:t>
            </a:r>
          </a:p>
          <a:p>
            <a:pPr lvl="1"/>
            <a:r>
              <a:rPr lang="en-US" dirty="0"/>
              <a:t>2012 and earlier: 10 auto-grows of 5MB would add 4 VLFs x 10 auto-grows</a:t>
            </a:r>
          </a:p>
          <a:p>
            <a:pPr lvl="1"/>
            <a:r>
              <a:rPr lang="en-US" dirty="0"/>
              <a:t>2014 and later: 10 auto-grows of 5MB each would only create 10 VLFs</a:t>
            </a:r>
            <a:br>
              <a:rPr lang="en-US" dirty="0"/>
            </a:br>
            <a:endParaRPr lang="en-US" dirty="0"/>
          </a:p>
          <a:p>
            <a:endParaRPr lang="en-US" dirty="0"/>
          </a:p>
          <a:p>
            <a:endParaRPr lang="en-US" dirty="0"/>
          </a:p>
          <a:p>
            <a:endParaRPr lang="en-US" dirty="0"/>
          </a:p>
          <a:p>
            <a:endParaRPr lang="en-US" dirty="0"/>
          </a:p>
          <a:p>
            <a:endParaRPr lang="en-US" dirty="0"/>
          </a:p>
          <a:p>
            <a:endParaRPr lang="en-US" dirty="0"/>
          </a:p>
        </p:txBody>
      </p:sp>
      <p:graphicFrame>
        <p:nvGraphicFramePr>
          <p:cNvPr id="6" name="Table 5">
            <a:extLst>
              <a:ext uri="{FF2B5EF4-FFF2-40B4-BE49-F238E27FC236}">
                <a16:creationId xmlns:a16="http://schemas.microsoft.com/office/drawing/2014/main" id="{7946A3CD-2207-4CF8-9AC8-0B5177E59961}"/>
              </a:ext>
            </a:extLst>
          </p:cNvPr>
          <p:cNvGraphicFramePr>
            <a:graphicFrameLocks noGrp="1"/>
          </p:cNvGraphicFramePr>
          <p:nvPr>
            <p:extLst>
              <p:ext uri="{D42A27DB-BD31-4B8C-83A1-F6EECF244321}">
                <p14:modId xmlns:p14="http://schemas.microsoft.com/office/powerpoint/2010/main" val="3004834929"/>
              </p:ext>
            </p:extLst>
          </p:nvPr>
        </p:nvGraphicFramePr>
        <p:xfrm>
          <a:off x="1568246" y="3734789"/>
          <a:ext cx="8839200" cy="2603908"/>
        </p:xfrm>
        <a:graphic>
          <a:graphicData uri="http://schemas.openxmlformats.org/drawingml/2006/table">
            <a:tbl>
              <a:tblPr firstRow="1" bandRow="1">
                <a:tableStyleId>{9DCAF9ED-07DC-4A11-8D7F-57B35C25682E}</a:tableStyleId>
              </a:tblPr>
              <a:tblGrid>
                <a:gridCol w="3337572">
                  <a:extLst>
                    <a:ext uri="{9D8B030D-6E8A-4147-A177-3AD203B41FA5}">
                      <a16:colId xmlns:a16="http://schemas.microsoft.com/office/drawing/2014/main" val="20000"/>
                    </a:ext>
                  </a:extLst>
                </a:gridCol>
                <a:gridCol w="2682228">
                  <a:extLst>
                    <a:ext uri="{9D8B030D-6E8A-4147-A177-3AD203B41FA5}">
                      <a16:colId xmlns:a16="http://schemas.microsoft.com/office/drawing/2014/main" val="20001"/>
                    </a:ext>
                  </a:extLst>
                </a:gridCol>
                <a:gridCol w="2819400">
                  <a:extLst>
                    <a:ext uri="{9D8B030D-6E8A-4147-A177-3AD203B41FA5}">
                      <a16:colId xmlns:a16="http://schemas.microsoft.com/office/drawing/2014/main" val="20002"/>
                    </a:ext>
                  </a:extLst>
                </a:gridCol>
              </a:tblGrid>
              <a:tr h="409348">
                <a:tc>
                  <a:txBody>
                    <a:bodyPr/>
                    <a:lstStyle>
                      <a:lvl1pPr marL="0" algn="l" defTabSz="914354" rtl="0" eaLnBrk="1" latinLnBrk="0" hangingPunct="1">
                        <a:defRPr sz="1900" b="1" kern="1200">
                          <a:solidFill>
                            <a:schemeClr val="lt1"/>
                          </a:solidFill>
                          <a:latin typeface="Segoe UI"/>
                        </a:defRPr>
                      </a:lvl1pPr>
                      <a:lvl2pPr marL="457178" algn="l" defTabSz="914354" rtl="0" eaLnBrk="1" latinLnBrk="0" hangingPunct="1">
                        <a:defRPr sz="1900" b="1" kern="1200">
                          <a:solidFill>
                            <a:schemeClr val="lt1"/>
                          </a:solidFill>
                          <a:latin typeface="Segoe UI"/>
                        </a:defRPr>
                      </a:lvl2pPr>
                      <a:lvl3pPr marL="914354" algn="l" defTabSz="914354" rtl="0" eaLnBrk="1" latinLnBrk="0" hangingPunct="1">
                        <a:defRPr sz="1900" b="1" kern="1200">
                          <a:solidFill>
                            <a:schemeClr val="lt1"/>
                          </a:solidFill>
                          <a:latin typeface="Segoe UI"/>
                        </a:defRPr>
                      </a:lvl3pPr>
                      <a:lvl4pPr marL="1371532" algn="l" defTabSz="914354" rtl="0" eaLnBrk="1" latinLnBrk="0" hangingPunct="1">
                        <a:defRPr sz="1900" b="1" kern="1200">
                          <a:solidFill>
                            <a:schemeClr val="lt1"/>
                          </a:solidFill>
                          <a:latin typeface="Segoe UI"/>
                        </a:defRPr>
                      </a:lvl4pPr>
                      <a:lvl5pPr marL="1828709" algn="l" defTabSz="914354" rtl="0" eaLnBrk="1" latinLnBrk="0" hangingPunct="1">
                        <a:defRPr sz="1900" b="1" kern="1200">
                          <a:solidFill>
                            <a:schemeClr val="lt1"/>
                          </a:solidFill>
                          <a:latin typeface="Segoe UI"/>
                        </a:defRPr>
                      </a:lvl5pPr>
                      <a:lvl6pPr marL="2285886" algn="l" defTabSz="914354" rtl="0" eaLnBrk="1" latinLnBrk="0" hangingPunct="1">
                        <a:defRPr sz="1900" b="1" kern="1200">
                          <a:solidFill>
                            <a:schemeClr val="lt1"/>
                          </a:solidFill>
                          <a:latin typeface="Segoe UI"/>
                        </a:defRPr>
                      </a:lvl6pPr>
                      <a:lvl7pPr marL="2743062" algn="l" defTabSz="914354" rtl="0" eaLnBrk="1" latinLnBrk="0" hangingPunct="1">
                        <a:defRPr sz="1900" b="1" kern="1200">
                          <a:solidFill>
                            <a:schemeClr val="lt1"/>
                          </a:solidFill>
                          <a:latin typeface="Segoe UI"/>
                        </a:defRPr>
                      </a:lvl7pPr>
                      <a:lvl8pPr marL="3200240" algn="l" defTabSz="914354" rtl="0" eaLnBrk="1" latinLnBrk="0" hangingPunct="1">
                        <a:defRPr sz="1900" b="1" kern="1200">
                          <a:solidFill>
                            <a:schemeClr val="lt1"/>
                          </a:solidFill>
                          <a:latin typeface="Segoe UI"/>
                        </a:defRPr>
                      </a:lvl8pPr>
                      <a:lvl9pPr marL="3657418" algn="l" defTabSz="914354" rtl="0" eaLnBrk="1" latinLnBrk="0" hangingPunct="1">
                        <a:defRPr sz="1900" b="1" kern="1200">
                          <a:solidFill>
                            <a:schemeClr val="lt1"/>
                          </a:solidFill>
                          <a:latin typeface="Segoe UI"/>
                        </a:defRPr>
                      </a:lvl9pPr>
                    </a:lstStyle>
                    <a:p>
                      <a:pPr algn="ctr"/>
                      <a:r>
                        <a:rPr lang="en-US" sz="1800" dirty="0"/>
                        <a:t>Grow Iterations + Log</a:t>
                      </a:r>
                      <a:r>
                        <a:rPr lang="en-US" sz="1800" baseline="0" dirty="0"/>
                        <a:t> size</a:t>
                      </a:r>
                      <a:endParaRPr lang="pt-PT" sz="1800" dirty="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b="1" kern="1200">
                          <a:solidFill>
                            <a:schemeClr val="lt1"/>
                          </a:solidFill>
                          <a:latin typeface="Segoe UI"/>
                        </a:defRPr>
                      </a:lvl1pPr>
                      <a:lvl2pPr marL="457178" algn="l" defTabSz="914354" rtl="0" eaLnBrk="1" latinLnBrk="0" hangingPunct="1">
                        <a:defRPr sz="1900" b="1" kern="1200">
                          <a:solidFill>
                            <a:schemeClr val="lt1"/>
                          </a:solidFill>
                          <a:latin typeface="Segoe UI"/>
                        </a:defRPr>
                      </a:lvl2pPr>
                      <a:lvl3pPr marL="914354" algn="l" defTabSz="914354" rtl="0" eaLnBrk="1" latinLnBrk="0" hangingPunct="1">
                        <a:defRPr sz="1900" b="1" kern="1200">
                          <a:solidFill>
                            <a:schemeClr val="lt1"/>
                          </a:solidFill>
                          <a:latin typeface="Segoe UI"/>
                        </a:defRPr>
                      </a:lvl3pPr>
                      <a:lvl4pPr marL="1371532" algn="l" defTabSz="914354" rtl="0" eaLnBrk="1" latinLnBrk="0" hangingPunct="1">
                        <a:defRPr sz="1900" b="1" kern="1200">
                          <a:solidFill>
                            <a:schemeClr val="lt1"/>
                          </a:solidFill>
                          <a:latin typeface="Segoe UI"/>
                        </a:defRPr>
                      </a:lvl4pPr>
                      <a:lvl5pPr marL="1828709" algn="l" defTabSz="914354" rtl="0" eaLnBrk="1" latinLnBrk="0" hangingPunct="1">
                        <a:defRPr sz="1900" b="1" kern="1200">
                          <a:solidFill>
                            <a:schemeClr val="lt1"/>
                          </a:solidFill>
                          <a:latin typeface="Segoe UI"/>
                        </a:defRPr>
                      </a:lvl5pPr>
                      <a:lvl6pPr marL="2285886" algn="l" defTabSz="914354" rtl="0" eaLnBrk="1" latinLnBrk="0" hangingPunct="1">
                        <a:defRPr sz="1900" b="1" kern="1200">
                          <a:solidFill>
                            <a:schemeClr val="lt1"/>
                          </a:solidFill>
                          <a:latin typeface="Segoe UI"/>
                        </a:defRPr>
                      </a:lvl6pPr>
                      <a:lvl7pPr marL="2743062" algn="l" defTabSz="914354" rtl="0" eaLnBrk="1" latinLnBrk="0" hangingPunct="1">
                        <a:defRPr sz="1900" b="1" kern="1200">
                          <a:solidFill>
                            <a:schemeClr val="lt1"/>
                          </a:solidFill>
                          <a:latin typeface="Segoe UI"/>
                        </a:defRPr>
                      </a:lvl7pPr>
                      <a:lvl8pPr marL="3200240" algn="l" defTabSz="914354" rtl="0" eaLnBrk="1" latinLnBrk="0" hangingPunct="1">
                        <a:defRPr sz="1900" b="1" kern="1200">
                          <a:solidFill>
                            <a:schemeClr val="lt1"/>
                          </a:solidFill>
                          <a:latin typeface="Segoe UI"/>
                        </a:defRPr>
                      </a:lvl8pPr>
                      <a:lvl9pPr marL="3657418" algn="l" defTabSz="914354" rtl="0" eaLnBrk="1" latinLnBrk="0" hangingPunct="1">
                        <a:defRPr sz="1900" b="1" kern="1200">
                          <a:solidFill>
                            <a:schemeClr val="lt1"/>
                          </a:solidFill>
                          <a:latin typeface="Segoe UI"/>
                        </a:defRPr>
                      </a:lvl9pPr>
                    </a:lstStyle>
                    <a:p>
                      <a:pPr algn="ctr"/>
                      <a:r>
                        <a:rPr lang="en-US" sz="1800" dirty="0"/>
                        <a:t>Up</a:t>
                      </a:r>
                      <a:r>
                        <a:rPr lang="en-US" sz="1800" baseline="0" dirty="0"/>
                        <a:t> to SQL Server 2012</a:t>
                      </a:r>
                      <a:endParaRPr lang="pt-PT" sz="1800" dirty="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b="1" kern="1200">
                          <a:solidFill>
                            <a:schemeClr val="lt1"/>
                          </a:solidFill>
                          <a:latin typeface="Segoe UI"/>
                        </a:defRPr>
                      </a:lvl1pPr>
                      <a:lvl2pPr marL="457178" algn="l" defTabSz="914354" rtl="0" eaLnBrk="1" latinLnBrk="0" hangingPunct="1">
                        <a:defRPr sz="1900" b="1" kern="1200">
                          <a:solidFill>
                            <a:schemeClr val="lt1"/>
                          </a:solidFill>
                          <a:latin typeface="Segoe UI"/>
                        </a:defRPr>
                      </a:lvl2pPr>
                      <a:lvl3pPr marL="914354" algn="l" defTabSz="914354" rtl="0" eaLnBrk="1" latinLnBrk="0" hangingPunct="1">
                        <a:defRPr sz="1900" b="1" kern="1200">
                          <a:solidFill>
                            <a:schemeClr val="lt1"/>
                          </a:solidFill>
                          <a:latin typeface="Segoe UI"/>
                        </a:defRPr>
                      </a:lvl3pPr>
                      <a:lvl4pPr marL="1371532" algn="l" defTabSz="914354" rtl="0" eaLnBrk="1" latinLnBrk="0" hangingPunct="1">
                        <a:defRPr sz="1900" b="1" kern="1200">
                          <a:solidFill>
                            <a:schemeClr val="lt1"/>
                          </a:solidFill>
                          <a:latin typeface="Segoe UI"/>
                        </a:defRPr>
                      </a:lvl4pPr>
                      <a:lvl5pPr marL="1828709" algn="l" defTabSz="914354" rtl="0" eaLnBrk="1" latinLnBrk="0" hangingPunct="1">
                        <a:defRPr sz="1900" b="1" kern="1200">
                          <a:solidFill>
                            <a:schemeClr val="lt1"/>
                          </a:solidFill>
                          <a:latin typeface="Segoe UI"/>
                        </a:defRPr>
                      </a:lvl5pPr>
                      <a:lvl6pPr marL="2285886" algn="l" defTabSz="914354" rtl="0" eaLnBrk="1" latinLnBrk="0" hangingPunct="1">
                        <a:defRPr sz="1900" b="1" kern="1200">
                          <a:solidFill>
                            <a:schemeClr val="lt1"/>
                          </a:solidFill>
                          <a:latin typeface="Segoe UI"/>
                        </a:defRPr>
                      </a:lvl6pPr>
                      <a:lvl7pPr marL="2743062" algn="l" defTabSz="914354" rtl="0" eaLnBrk="1" latinLnBrk="0" hangingPunct="1">
                        <a:defRPr sz="1900" b="1" kern="1200">
                          <a:solidFill>
                            <a:schemeClr val="lt1"/>
                          </a:solidFill>
                          <a:latin typeface="Segoe UI"/>
                        </a:defRPr>
                      </a:lvl7pPr>
                      <a:lvl8pPr marL="3200240" algn="l" defTabSz="914354" rtl="0" eaLnBrk="1" latinLnBrk="0" hangingPunct="1">
                        <a:defRPr sz="1900" b="1" kern="1200">
                          <a:solidFill>
                            <a:schemeClr val="lt1"/>
                          </a:solidFill>
                          <a:latin typeface="Segoe UI"/>
                        </a:defRPr>
                      </a:lvl8pPr>
                      <a:lvl9pPr marL="3657418" algn="l" defTabSz="914354" rtl="0" eaLnBrk="1" latinLnBrk="0" hangingPunct="1">
                        <a:defRPr sz="1900" b="1" kern="1200">
                          <a:solidFill>
                            <a:schemeClr val="lt1"/>
                          </a:solidFill>
                          <a:latin typeface="Segoe UI"/>
                        </a:defRPr>
                      </a:lvl9pPr>
                    </a:lstStyle>
                    <a:p>
                      <a:pPr algn="ctr"/>
                      <a:r>
                        <a:rPr lang="en-US" sz="1800" dirty="0"/>
                        <a:t>From SQL Server 2014</a:t>
                      </a:r>
                      <a:endParaRPr lang="pt-PT" sz="18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0"/>
                  </a:ext>
                </a:extLst>
              </a:tr>
              <a:tr h="292965">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0 (256 MB)</a:t>
                      </a:r>
                      <a:endParaRPr lang="pt-PT" sz="1800" dirty="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8</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8</a:t>
                      </a:r>
                      <a:endParaRPr lang="pt-PT" sz="180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1"/>
                  </a:ext>
                </a:extLst>
              </a:tr>
              <a:tr h="292965">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10 (306 MB)</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48</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18</a:t>
                      </a:r>
                      <a:endParaRPr lang="pt-PT" sz="180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2"/>
                  </a:ext>
                </a:extLst>
              </a:tr>
              <a:tr h="292965">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20 (356 MB)</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88</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28</a:t>
                      </a:r>
                      <a:endParaRPr lang="pt-PT" sz="180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3"/>
                  </a:ext>
                </a:extLst>
              </a:tr>
              <a:tr h="292965">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80 (656 MB)</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328</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88</a:t>
                      </a:r>
                      <a:endParaRPr lang="pt-PT" sz="18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4"/>
                  </a:ext>
                </a:extLst>
              </a:tr>
              <a:tr h="292965">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250 (1.2 GB)</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1008</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258</a:t>
                      </a:r>
                      <a:endParaRPr lang="pt-PT" sz="180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5"/>
                  </a:ext>
                </a:extLst>
              </a:tr>
              <a:tr h="292965">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3020</a:t>
                      </a:r>
                      <a:r>
                        <a:rPr lang="en-US" sz="1800" baseline="0" dirty="0"/>
                        <a:t> (15 GB)</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12091</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3028</a:t>
                      </a:r>
                      <a:endParaRPr lang="pt-PT" sz="18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6950693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452B6-E2D9-4808-A13E-5597AEE2B65E}"/>
              </a:ext>
            </a:extLst>
          </p:cNvPr>
          <p:cNvSpPr>
            <a:spLocks noGrp="1"/>
          </p:cNvSpPr>
          <p:nvPr>
            <p:ph type="title"/>
          </p:nvPr>
        </p:nvSpPr>
        <p:spPr/>
        <p:txBody>
          <a:bodyPr/>
          <a:lstStyle/>
          <a:p>
            <a:r>
              <a:rPr lang="en-US" dirty="0"/>
              <a:t>Addressing VLF Counts</a:t>
            </a:r>
          </a:p>
        </p:txBody>
      </p:sp>
      <p:graphicFrame>
        <p:nvGraphicFramePr>
          <p:cNvPr id="5" name="Content Placeholder 4">
            <a:extLst>
              <a:ext uri="{FF2B5EF4-FFF2-40B4-BE49-F238E27FC236}">
                <a16:creationId xmlns:a16="http://schemas.microsoft.com/office/drawing/2014/main" id="{D2C649BE-99B2-4F64-9715-9F84DFE57F63}"/>
              </a:ext>
            </a:extLst>
          </p:cNvPr>
          <p:cNvGraphicFramePr>
            <a:graphicFrameLocks noGrp="1"/>
          </p:cNvGraphicFramePr>
          <p:nvPr>
            <p:ph sz="quarter" idx="13"/>
            <p:extLst>
              <p:ext uri="{D42A27DB-BD31-4B8C-83A1-F6EECF244321}">
                <p14:modId xmlns:p14="http://schemas.microsoft.com/office/powerpoint/2010/main" val="1341285272"/>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985067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Examining log use</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300224634"/>
      </p:ext>
    </p:extLst>
  </p:cSld>
  <p:clrMapOvr>
    <a:masterClrMapping/>
  </p:clrMapOvr>
  <p:transition spd="slow"/>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E95934-6017-4EBF-9EFA-A72556437BE2}"/>
              </a:ext>
            </a:extLst>
          </p:cNvPr>
          <p:cNvSpPr>
            <a:spLocks noGrp="1"/>
          </p:cNvSpPr>
          <p:nvPr>
            <p:ph type="title"/>
          </p:nvPr>
        </p:nvSpPr>
        <p:spPr/>
        <p:txBody>
          <a:bodyPr/>
          <a:lstStyle/>
          <a:p>
            <a:r>
              <a:rPr lang="en-US" dirty="0"/>
              <a:t>Delayed durability</a:t>
            </a:r>
          </a:p>
        </p:txBody>
      </p:sp>
      <p:sp>
        <p:nvSpPr>
          <p:cNvPr id="4" name="Content Placeholder 3">
            <a:extLst>
              <a:ext uri="{FF2B5EF4-FFF2-40B4-BE49-F238E27FC236}">
                <a16:creationId xmlns:a16="http://schemas.microsoft.com/office/drawing/2014/main" id="{98B9BDCF-4EA8-43B4-83C6-79FFD7EB6433}"/>
              </a:ext>
            </a:extLst>
          </p:cNvPr>
          <p:cNvSpPr>
            <a:spLocks noGrp="1"/>
          </p:cNvSpPr>
          <p:nvPr>
            <p:ph sz="quarter" idx="13"/>
          </p:nvPr>
        </p:nvSpPr>
        <p:spPr/>
        <p:txBody>
          <a:bodyPr/>
          <a:lstStyle/>
          <a:p>
            <a:r>
              <a:rPr lang="en-US" dirty="0"/>
              <a:t>Returns control to the client application before the transaction log buffer is flushed. Transaction commits logged asynchronously.</a:t>
            </a:r>
          </a:p>
          <a:p>
            <a:r>
              <a:rPr lang="en-US" dirty="0"/>
              <a:t>Slight risk of data loss if the server were to crash before the transaction log buffer is flushed.</a:t>
            </a:r>
          </a:p>
          <a:p>
            <a:r>
              <a:rPr lang="en-US" dirty="0"/>
              <a:t>Works on both disk-based and memory-optimized tables.</a:t>
            </a:r>
          </a:p>
          <a:p>
            <a:endParaRPr lang="en-US" dirty="0"/>
          </a:p>
          <a:p>
            <a:endParaRPr lang="en-US" dirty="0"/>
          </a:p>
        </p:txBody>
      </p:sp>
      <p:sp>
        <p:nvSpPr>
          <p:cNvPr id="6" name="TextBox 5">
            <a:extLst>
              <a:ext uri="{FF2B5EF4-FFF2-40B4-BE49-F238E27FC236}">
                <a16:creationId xmlns:a16="http://schemas.microsoft.com/office/drawing/2014/main" id="{86C6B81C-8A57-43AE-8FBD-96E1ADA571B3}"/>
              </a:ext>
            </a:extLst>
          </p:cNvPr>
          <p:cNvSpPr txBox="1"/>
          <p:nvPr/>
        </p:nvSpPr>
        <p:spPr>
          <a:xfrm>
            <a:off x="655636" y="3657172"/>
            <a:ext cx="4983164" cy="1957459"/>
          </a:xfrm>
          <a:prstGeom prst="rect">
            <a:avLst/>
          </a:prstGeom>
          <a:solidFill>
            <a:schemeClr val="bg1">
              <a:lumMod val="95000"/>
            </a:schemeClr>
          </a:solidFill>
        </p:spPr>
        <p:txBody>
          <a:bodyPr wrap="square" lIns="182880" tIns="146304" rIns="182880" bIns="146304" rtlCol="0">
            <a:spAutoFit/>
          </a:bodyPr>
          <a:lstStyle/>
          <a:p>
            <a:pPr>
              <a:lnSpc>
                <a:spcPct val="100000"/>
              </a:lnSpc>
            </a:pPr>
            <a:r>
              <a:rPr lang="en-US" dirty="0">
                <a:solidFill>
                  <a:srgbClr val="0000FF"/>
                </a:solidFill>
                <a:latin typeface="Consolas" panose="020B0609020204030204" pitchFamily="49" charset="0"/>
              </a:rPr>
              <a:t>BEGIN</a:t>
            </a:r>
            <a:r>
              <a:rPr lang="en-US" dirty="0">
                <a:solidFill>
                  <a:prstClr val="black"/>
                </a:solidFill>
                <a:latin typeface="Consolas" panose="020B0609020204030204" pitchFamily="49" charset="0"/>
              </a:rPr>
              <a:t> </a:t>
            </a:r>
            <a:r>
              <a:rPr lang="en-US" dirty="0">
                <a:solidFill>
                  <a:srgbClr val="0000FF"/>
                </a:solidFill>
                <a:latin typeface="Consolas" panose="020B0609020204030204" pitchFamily="49" charset="0"/>
              </a:rPr>
              <a:t>TRANSACTION</a:t>
            </a:r>
            <a:r>
              <a:rPr lang="en-US" dirty="0">
                <a:solidFill>
                  <a:prstClr val="black"/>
                </a:solidFill>
                <a:latin typeface="Consolas" panose="020B0609020204030204" pitchFamily="49" charset="0"/>
              </a:rPr>
              <a:t> </a:t>
            </a:r>
          </a:p>
          <a:p>
            <a:pPr>
              <a:lnSpc>
                <a:spcPct val="100000"/>
              </a:lnSpc>
            </a:pPr>
            <a:r>
              <a:rPr lang="en-US" dirty="0">
                <a:solidFill>
                  <a:srgbClr val="FF00FF"/>
                </a:solidFill>
                <a:latin typeface="Consolas" panose="020B0609020204030204" pitchFamily="49" charset="0"/>
              </a:rPr>
              <a:t>UPDATE</a:t>
            </a:r>
            <a:r>
              <a:rPr lang="en-US" dirty="0">
                <a:solidFill>
                  <a:prstClr val="black"/>
                </a:solidFill>
                <a:latin typeface="Consolas" panose="020B0609020204030204" pitchFamily="49" charset="0"/>
              </a:rPr>
              <a:t> Person</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Address</a:t>
            </a:r>
            <a:endParaRPr lang="en-US" dirty="0">
              <a:solidFill>
                <a:prstClr val="black"/>
              </a:solidFill>
              <a:latin typeface="Consolas" panose="020B0609020204030204" pitchFamily="49" charset="0"/>
            </a:endParaRPr>
          </a:p>
          <a:p>
            <a:pPr>
              <a:lnSpc>
                <a:spcPct val="100000"/>
              </a:lnSpc>
            </a:pPr>
            <a:r>
              <a:rPr lang="en-US" dirty="0">
                <a:solidFill>
                  <a:srgbClr val="0000FF"/>
                </a:solidFill>
                <a:latin typeface="Consolas" panose="020B0609020204030204" pitchFamily="49" charset="0"/>
              </a:rPr>
              <a:t>SET</a:t>
            </a:r>
            <a:r>
              <a:rPr lang="en-US" dirty="0">
                <a:solidFill>
                  <a:prstClr val="black"/>
                </a:solidFill>
                <a:latin typeface="Consolas" panose="020B0609020204030204" pitchFamily="49" charset="0"/>
              </a:rPr>
              <a:t> City </a:t>
            </a:r>
            <a:r>
              <a:rPr lang="en-US" dirty="0">
                <a:solidFill>
                  <a:srgbClr val="808080"/>
                </a:solidFill>
                <a:latin typeface="Consolas" panose="020B0609020204030204" pitchFamily="49" charset="0"/>
              </a:rPr>
              <a:t>=</a:t>
            </a:r>
            <a:r>
              <a:rPr lang="en-US" dirty="0">
                <a:solidFill>
                  <a:prstClr val="black"/>
                </a:solidFill>
                <a:latin typeface="Consolas" panose="020B0609020204030204" pitchFamily="49" charset="0"/>
              </a:rPr>
              <a:t> </a:t>
            </a:r>
            <a:r>
              <a:rPr lang="en-US" dirty="0">
                <a:solidFill>
                  <a:srgbClr val="FF0000"/>
                </a:solidFill>
                <a:latin typeface="Consolas" panose="020B0609020204030204" pitchFamily="49" charset="0"/>
              </a:rPr>
              <a:t>'NY'</a:t>
            </a:r>
            <a:endParaRPr lang="en-US" dirty="0">
              <a:solidFill>
                <a:prstClr val="black"/>
              </a:solidFill>
              <a:latin typeface="Consolas" panose="020B0609020204030204" pitchFamily="49" charset="0"/>
            </a:endParaRPr>
          </a:p>
          <a:p>
            <a:pPr>
              <a:lnSpc>
                <a:spcPct val="100000"/>
              </a:lnSpc>
            </a:pPr>
            <a:r>
              <a:rPr lang="en-US" dirty="0">
                <a:solidFill>
                  <a:srgbClr val="0000FF"/>
                </a:solidFill>
                <a:latin typeface="Consolas" panose="020B0609020204030204" pitchFamily="49" charset="0"/>
              </a:rPr>
              <a:t>WHERE</a:t>
            </a:r>
            <a:r>
              <a:rPr lang="en-US" dirty="0">
                <a:solidFill>
                  <a:prstClr val="black"/>
                </a:solidFill>
                <a:latin typeface="Consolas" panose="020B0609020204030204" pitchFamily="49" charset="0"/>
              </a:rPr>
              <a:t> City </a:t>
            </a:r>
            <a:r>
              <a:rPr lang="en-US" dirty="0">
                <a:solidFill>
                  <a:srgbClr val="808080"/>
                </a:solidFill>
                <a:latin typeface="Consolas" panose="020B0609020204030204" pitchFamily="49" charset="0"/>
              </a:rPr>
              <a:t>=</a:t>
            </a:r>
            <a:r>
              <a:rPr lang="en-US" dirty="0">
                <a:solidFill>
                  <a:prstClr val="black"/>
                </a:solidFill>
                <a:latin typeface="Consolas" panose="020B0609020204030204" pitchFamily="49" charset="0"/>
              </a:rPr>
              <a:t> </a:t>
            </a:r>
            <a:r>
              <a:rPr lang="en-US" dirty="0">
                <a:solidFill>
                  <a:srgbClr val="FF0000"/>
                </a:solidFill>
                <a:latin typeface="Consolas" panose="020B0609020204030204" pitchFamily="49" charset="0"/>
              </a:rPr>
              <a:t>'New York'</a:t>
            </a:r>
            <a:endParaRPr lang="en-US" dirty="0">
              <a:solidFill>
                <a:prstClr val="black"/>
              </a:solidFill>
              <a:latin typeface="Consolas" panose="020B0609020204030204" pitchFamily="49" charset="0"/>
            </a:endParaRPr>
          </a:p>
          <a:p>
            <a:pPr>
              <a:lnSpc>
                <a:spcPct val="100000"/>
              </a:lnSpc>
            </a:pPr>
            <a:r>
              <a:rPr lang="en-US" dirty="0">
                <a:solidFill>
                  <a:srgbClr val="0000FF"/>
                </a:solidFill>
                <a:latin typeface="Consolas" panose="020B0609020204030204" pitchFamily="49" charset="0"/>
              </a:rPr>
              <a:t>COMMIT</a:t>
            </a:r>
            <a:r>
              <a:rPr lang="en-US" dirty="0">
                <a:solidFill>
                  <a:prstClr val="black"/>
                </a:solidFill>
                <a:latin typeface="Consolas" panose="020B0609020204030204" pitchFamily="49" charset="0"/>
              </a:rPr>
              <a:t> </a:t>
            </a:r>
            <a:r>
              <a:rPr lang="en-US" dirty="0">
                <a:solidFill>
                  <a:srgbClr val="0000FF"/>
                </a:solidFill>
                <a:latin typeface="Consolas" panose="020B0609020204030204" pitchFamily="49" charset="0"/>
              </a:rPr>
              <a:t>TRANSACTION</a:t>
            </a:r>
            <a:r>
              <a:rPr lang="en-US" dirty="0">
                <a:solidFill>
                  <a:prstClr val="black"/>
                </a:solidFill>
                <a:latin typeface="Consolas" panose="020B0609020204030204" pitchFamily="49" charset="0"/>
              </a:rPr>
              <a:t> </a:t>
            </a:r>
            <a:r>
              <a:rPr lang="en-US" dirty="0">
                <a:solidFill>
                  <a:srgbClr val="0000FF"/>
                </a:solidFill>
                <a:latin typeface="Consolas" panose="020B0609020204030204" pitchFamily="49" charset="0"/>
              </a:rPr>
              <a:t>WITH </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DELAYED_DURABILITY</a:t>
            </a:r>
            <a:r>
              <a:rPr lang="en-US" dirty="0">
                <a:solidFill>
                  <a:prstClr val="black"/>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prstClr val="black"/>
                </a:solidFill>
                <a:latin typeface="Consolas" panose="020B0609020204030204" pitchFamily="49" charset="0"/>
              </a:rPr>
              <a:t> </a:t>
            </a:r>
            <a:r>
              <a:rPr lang="en-US" dirty="0">
                <a:solidFill>
                  <a:srgbClr val="0000FF"/>
                </a:solidFill>
                <a:latin typeface="Consolas" panose="020B0609020204030204" pitchFamily="49" charset="0"/>
              </a:rPr>
              <a:t>ON</a:t>
            </a:r>
            <a:r>
              <a:rPr lang="en-US" dirty="0">
                <a:solidFill>
                  <a:srgbClr val="808080"/>
                </a:solidFill>
                <a:latin typeface="Consolas" panose="020B0609020204030204" pitchFamily="49" charset="0"/>
              </a:rPr>
              <a:t>)</a:t>
            </a:r>
          </a:p>
        </p:txBody>
      </p:sp>
      <p:sp>
        <p:nvSpPr>
          <p:cNvPr id="8" name="TextBox 7">
            <a:extLst>
              <a:ext uri="{FF2B5EF4-FFF2-40B4-BE49-F238E27FC236}">
                <a16:creationId xmlns:a16="http://schemas.microsoft.com/office/drawing/2014/main" id="{E28BC56E-A5B0-4E95-84BE-4B2724ED3F7A}"/>
              </a:ext>
            </a:extLst>
          </p:cNvPr>
          <p:cNvSpPr txBox="1"/>
          <p:nvPr/>
        </p:nvSpPr>
        <p:spPr>
          <a:xfrm>
            <a:off x="6265862" y="3657171"/>
            <a:ext cx="5257800" cy="1680460"/>
          </a:xfrm>
          <a:prstGeom prst="rect">
            <a:avLst/>
          </a:prstGeom>
          <a:solidFill>
            <a:schemeClr val="bg1">
              <a:lumMod val="95000"/>
            </a:schemeClr>
          </a:solidFill>
        </p:spPr>
        <p:txBody>
          <a:bodyPr wrap="square" lIns="182880" tIns="146304" rIns="182880" bIns="146304" rtlCol="0">
            <a:spAutoFit/>
          </a:bodyPr>
          <a:lstStyle/>
          <a:p>
            <a:r>
              <a:rPr lang="en-US" dirty="0"/>
              <a:t>Database level setting allows the behavior:</a:t>
            </a:r>
          </a:p>
          <a:p>
            <a:endParaRPr lang="en-US" dirty="0">
              <a:solidFill>
                <a:schemeClr val="bg1"/>
              </a:solidFill>
            </a:endParaRPr>
          </a:p>
          <a:p>
            <a:r>
              <a:rPr lang="en-US" dirty="0">
                <a:solidFill>
                  <a:srgbClr val="0000FF"/>
                </a:solidFill>
                <a:latin typeface="Consolas" panose="020B0609020204030204" pitchFamily="49" charset="0"/>
              </a:rPr>
              <a:t>ALTER</a:t>
            </a:r>
            <a:r>
              <a:rPr lang="en-US" dirty="0">
                <a:solidFill>
                  <a:prstClr val="black"/>
                </a:solidFill>
                <a:latin typeface="Consolas" panose="020B0609020204030204" pitchFamily="49" charset="0"/>
              </a:rPr>
              <a:t> </a:t>
            </a:r>
            <a:r>
              <a:rPr lang="en-US" dirty="0">
                <a:solidFill>
                  <a:srgbClr val="0000FF"/>
                </a:solidFill>
                <a:latin typeface="Consolas" panose="020B0609020204030204" pitchFamily="49" charset="0"/>
              </a:rPr>
              <a:t>DATABASE</a:t>
            </a:r>
            <a:r>
              <a:rPr lang="en-US" dirty="0">
                <a:solidFill>
                  <a:prstClr val="black"/>
                </a:solidFill>
                <a:latin typeface="Consolas" panose="020B0609020204030204" pitchFamily="49" charset="0"/>
              </a:rPr>
              <a:t> </a:t>
            </a:r>
            <a:r>
              <a:rPr lang="en-US" dirty="0">
                <a:solidFill>
                  <a:srgbClr val="808080"/>
                </a:solidFill>
                <a:latin typeface="Consolas" panose="020B0609020204030204" pitchFamily="49" charset="0"/>
              </a:rPr>
              <a:t>&lt;</a:t>
            </a:r>
            <a:r>
              <a:rPr lang="en-US" dirty="0">
                <a:solidFill>
                  <a:srgbClr val="FF00FF"/>
                </a:solidFill>
                <a:latin typeface="Consolas" panose="020B0609020204030204" pitchFamily="49" charset="0"/>
              </a:rPr>
              <a:t>Db_Name</a:t>
            </a:r>
            <a:r>
              <a:rPr lang="en-US" dirty="0">
                <a:solidFill>
                  <a:srgbClr val="808080"/>
                </a:solidFill>
                <a:latin typeface="Consolas" panose="020B0609020204030204" pitchFamily="49" charset="0"/>
              </a:rPr>
              <a:t>&gt;</a:t>
            </a:r>
            <a:endParaRPr lang="en-US" dirty="0">
              <a:solidFill>
                <a:prstClr val="black"/>
              </a:solidFill>
              <a:latin typeface="Consolas" panose="020B0609020204030204" pitchFamily="49" charset="0"/>
            </a:endParaRPr>
          </a:p>
          <a:p>
            <a:r>
              <a:rPr lang="en-US" dirty="0">
                <a:solidFill>
                  <a:srgbClr val="0000FF"/>
                </a:solidFill>
                <a:latin typeface="Consolas" panose="020B0609020204030204" pitchFamily="49" charset="0"/>
              </a:rPr>
              <a:t>SET</a:t>
            </a:r>
            <a:r>
              <a:rPr lang="en-US" dirty="0">
                <a:solidFill>
                  <a:prstClr val="black"/>
                </a:solidFill>
                <a:latin typeface="Consolas" panose="020B0609020204030204" pitchFamily="49" charset="0"/>
              </a:rPr>
              <a:t> DELAYED_DURABILITY </a:t>
            </a:r>
            <a:r>
              <a:rPr lang="en-US" dirty="0">
                <a:solidFill>
                  <a:srgbClr val="808080"/>
                </a:solidFill>
                <a:latin typeface="Consolas" panose="020B0609020204030204" pitchFamily="49" charset="0"/>
              </a:rPr>
              <a:t>=</a:t>
            </a:r>
            <a:r>
              <a:rPr lang="en-US" dirty="0">
                <a:solidFill>
                  <a:prstClr val="black"/>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prstClr val="black"/>
                </a:solidFill>
                <a:latin typeface="Consolas" panose="020B0609020204030204" pitchFamily="49" charset="0"/>
              </a:rPr>
              <a:t> </a:t>
            </a:r>
            <a:r>
              <a:rPr lang="en-US" dirty="0">
                <a:solidFill>
                  <a:srgbClr val="0000FF"/>
                </a:solidFill>
                <a:latin typeface="Consolas" panose="020B0609020204030204" pitchFamily="49" charset="0"/>
              </a:rPr>
              <a:t>DISABLED </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default</a:t>
            </a:r>
            <a:r>
              <a:rPr lang="en-US" dirty="0">
                <a:solidFill>
                  <a:srgbClr val="808080"/>
                </a:solidFill>
                <a:latin typeface="Consolas" panose="020B0609020204030204" pitchFamily="49" charset="0"/>
              </a:rPr>
              <a:t>)</a:t>
            </a:r>
            <a:r>
              <a:rPr lang="en-US" dirty="0">
                <a:solidFill>
                  <a:prstClr val="black"/>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prstClr val="black"/>
                </a:solidFill>
                <a:latin typeface="Consolas" panose="020B0609020204030204" pitchFamily="49" charset="0"/>
              </a:rPr>
              <a:t> ALLOWED </a:t>
            </a:r>
            <a:r>
              <a:rPr lang="en-US" dirty="0">
                <a:solidFill>
                  <a:srgbClr val="808080"/>
                </a:solidFill>
                <a:latin typeface="Consolas" panose="020B0609020204030204" pitchFamily="49" charset="0"/>
              </a:rPr>
              <a:t>|</a:t>
            </a:r>
            <a:r>
              <a:rPr lang="en-US" dirty="0">
                <a:solidFill>
                  <a:prstClr val="black"/>
                </a:solidFill>
                <a:latin typeface="Consolas" panose="020B0609020204030204" pitchFamily="49" charset="0"/>
              </a:rPr>
              <a:t> </a:t>
            </a:r>
            <a:r>
              <a:rPr lang="en-US" dirty="0">
                <a:solidFill>
                  <a:srgbClr val="0000FF"/>
                </a:solidFill>
                <a:latin typeface="Consolas" panose="020B0609020204030204" pitchFamily="49" charset="0"/>
              </a:rPr>
              <a:t>FORCED</a:t>
            </a:r>
            <a:r>
              <a:rPr lang="en-US" dirty="0">
                <a:solidFill>
                  <a:prstClr val="black"/>
                </a:solidFill>
                <a:latin typeface="Consolas" panose="020B0609020204030204" pitchFamily="49" charset="0"/>
              </a:rPr>
              <a:t> </a:t>
            </a:r>
            <a:r>
              <a:rPr lang="en-US" dirty="0">
                <a:solidFill>
                  <a:srgbClr val="808080"/>
                </a:solidFill>
                <a:latin typeface="Consolas" panose="020B0609020204030204" pitchFamily="49" charset="0"/>
              </a:rPr>
              <a:t>}</a:t>
            </a:r>
            <a:endParaRPr lang="en-US" dirty="0">
              <a:solidFill>
                <a:schemeClr val="bg1"/>
              </a:solidFill>
            </a:endParaRPr>
          </a:p>
        </p:txBody>
      </p:sp>
      <p:graphicFrame>
        <p:nvGraphicFramePr>
          <p:cNvPr id="10" name="Diagram 9">
            <a:extLst>
              <a:ext uri="{FF2B5EF4-FFF2-40B4-BE49-F238E27FC236}">
                <a16:creationId xmlns:a16="http://schemas.microsoft.com/office/drawing/2014/main" id="{70968EFE-D801-442A-BE10-826BCBFED0D9}"/>
              </a:ext>
            </a:extLst>
          </p:cNvPr>
          <p:cNvGraphicFramePr/>
          <p:nvPr/>
        </p:nvGraphicFramePr>
        <p:xfrm>
          <a:off x="642938" y="5722263"/>
          <a:ext cx="10880724" cy="770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554397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atabase files and filegroup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Database files</a:t>
            </a:r>
          </a:p>
        </p:txBody>
      </p:sp>
      <p:graphicFrame>
        <p:nvGraphicFramePr>
          <p:cNvPr id="5" name="Content Placeholder 4">
            <a:extLst>
              <a:ext uri="{FF2B5EF4-FFF2-40B4-BE49-F238E27FC236}">
                <a16:creationId xmlns:a16="http://schemas.microsoft.com/office/drawing/2014/main" id="{F06C3C49-98DB-4B1F-90FC-72E180BA3310}"/>
              </a:ext>
            </a:extLst>
          </p:cNvPr>
          <p:cNvGraphicFramePr>
            <a:graphicFrameLocks noGrp="1"/>
          </p:cNvGraphicFramePr>
          <p:nvPr>
            <p:ph sz="quarter" idx="13"/>
            <p:extLst>
              <p:ext uri="{D42A27DB-BD31-4B8C-83A1-F6EECF244321}">
                <p14:modId xmlns:p14="http://schemas.microsoft.com/office/powerpoint/2010/main" val="3154035696"/>
              </p:ext>
            </p:extLst>
          </p:nvPr>
        </p:nvGraphicFramePr>
        <p:xfrm>
          <a:off x="655638" y="1408113"/>
          <a:ext cx="6237531"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050" name="Picture 2" descr="filegroup_example">
            <a:extLst>
              <a:ext uri="{FF2B5EF4-FFF2-40B4-BE49-F238E27FC236}">
                <a16:creationId xmlns:a16="http://schemas.microsoft.com/office/drawing/2014/main" id="{DA962296-F90D-458A-8D9A-1EF1B01E568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40562" y="2060575"/>
            <a:ext cx="4495800" cy="3514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992818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62EC3-1097-4746-975F-4FA1BB2FE1AC}"/>
              </a:ext>
            </a:extLst>
          </p:cNvPr>
          <p:cNvSpPr>
            <a:spLocks noGrp="1"/>
          </p:cNvSpPr>
          <p:nvPr>
            <p:ph type="title"/>
          </p:nvPr>
        </p:nvSpPr>
        <p:spPr/>
        <p:txBody>
          <a:bodyPr/>
          <a:lstStyle/>
          <a:p>
            <a:r>
              <a:rPr lang="en-US" dirty="0"/>
              <a:t>When to use delayed transaction durability</a:t>
            </a:r>
          </a:p>
        </p:txBody>
      </p:sp>
      <p:graphicFrame>
        <p:nvGraphicFramePr>
          <p:cNvPr id="5" name="Content Placeholder 4">
            <a:extLst>
              <a:ext uri="{FF2B5EF4-FFF2-40B4-BE49-F238E27FC236}">
                <a16:creationId xmlns:a16="http://schemas.microsoft.com/office/drawing/2014/main" id="{EE1313F9-7B12-4D52-B0D3-4624768F7EEF}"/>
              </a:ext>
            </a:extLst>
          </p:cNvPr>
          <p:cNvGraphicFramePr>
            <a:graphicFrameLocks noGrp="1"/>
          </p:cNvGraphicFramePr>
          <p:nvPr>
            <p:ph sz="quarter" idx="13"/>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8516765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F8F13A-CC0F-407C-965D-B80F3170A778}"/>
              </a:ext>
            </a:extLst>
          </p:cNvPr>
          <p:cNvSpPr>
            <a:spLocks noGrp="1"/>
          </p:cNvSpPr>
          <p:nvPr>
            <p:ph type="title"/>
          </p:nvPr>
        </p:nvSpPr>
        <p:spPr/>
        <p:txBody>
          <a:bodyPr/>
          <a:lstStyle/>
          <a:p>
            <a:r>
              <a:rPr lang="en-US" dirty="0"/>
              <a:t>How to control transaction durability</a:t>
            </a:r>
          </a:p>
        </p:txBody>
      </p:sp>
      <p:sp>
        <p:nvSpPr>
          <p:cNvPr id="4" name="Content Placeholder 3">
            <a:extLst>
              <a:ext uri="{FF2B5EF4-FFF2-40B4-BE49-F238E27FC236}">
                <a16:creationId xmlns:a16="http://schemas.microsoft.com/office/drawing/2014/main" id="{A7F46172-B34A-4642-9EAA-994133FC9B4B}"/>
              </a:ext>
            </a:extLst>
          </p:cNvPr>
          <p:cNvSpPr>
            <a:spLocks noGrp="1"/>
          </p:cNvSpPr>
          <p:nvPr>
            <p:ph sz="quarter" idx="13"/>
          </p:nvPr>
        </p:nvSpPr>
        <p:spPr/>
        <p:txBody>
          <a:bodyPr/>
          <a:lstStyle/>
          <a:p>
            <a:r>
              <a:rPr lang="en-US" dirty="0"/>
              <a:t>Database level option controls Delayed Durability</a:t>
            </a:r>
          </a:p>
          <a:p>
            <a:endParaRPr lang="en-US" dirty="0"/>
          </a:p>
        </p:txBody>
      </p:sp>
      <p:sp>
        <p:nvSpPr>
          <p:cNvPr id="6" name="Content Placeholder 16">
            <a:extLst>
              <a:ext uri="{FF2B5EF4-FFF2-40B4-BE49-F238E27FC236}">
                <a16:creationId xmlns:a16="http://schemas.microsoft.com/office/drawing/2014/main" id="{E57E0C42-6BE8-475B-9877-9EA01F142013}"/>
              </a:ext>
            </a:extLst>
          </p:cNvPr>
          <p:cNvSpPr txBox="1">
            <a:spLocks/>
          </p:cNvSpPr>
          <p:nvPr/>
        </p:nvSpPr>
        <p:spPr>
          <a:xfrm>
            <a:off x="655635" y="4944288"/>
            <a:ext cx="5906718" cy="1535971"/>
          </a:xfrm>
          <a:prstGeom prst="rect">
            <a:avLst/>
          </a:prstGeom>
          <a:solidFill>
            <a:srgbClr val="FFFFFF"/>
          </a:solidFill>
          <a:effectLst>
            <a:innerShdw blurRad="63500" dist="50800" dir="5400000">
              <a:prstClr val="black">
                <a:alpha val="50000"/>
              </a:prstClr>
            </a:innerShdw>
          </a:effectLst>
        </p:spPr>
        <p:txBody>
          <a:bodyPr vert="horz" lIns="93260" tIns="46630" rIns="93260" bIns="46630" rtlCol="0">
            <a:noAutofit/>
          </a:bodyPr>
          <a:lstStyle>
            <a:lvl1pPr marL="0" indent="0" eaLnBrk="1" hangingPunct="1">
              <a:lnSpc>
                <a:spcPct val="100000"/>
              </a:lnSpc>
              <a:spcBef>
                <a:spcPts val="300"/>
              </a:spcBef>
              <a:buFontTx/>
              <a:buNone/>
              <a:defRPr sz="2400" baseline="0">
                <a:solidFill>
                  <a:srgbClr val="3F3F3F"/>
                </a:solidFill>
                <a:latin typeface="Segoe UI Light" pitchFamily="34" charset="0"/>
                <a:cs typeface="Segoe Pro Light"/>
              </a:defRPr>
            </a:lvl1pPr>
            <a:lvl2pPr eaLnBrk="1" hangingPunct="1">
              <a:lnSpc>
                <a:spcPct val="120000"/>
              </a:lnSpc>
              <a:defRPr sz="1400">
                <a:solidFill>
                  <a:srgbClr val="FFFFFF"/>
                </a:solidFill>
                <a:latin typeface="+mn-lt"/>
                <a:cs typeface="Segoe Pro Light"/>
              </a:defRPr>
            </a:lvl2pPr>
            <a:lvl3pPr eaLnBrk="1" hangingPunct="1">
              <a:lnSpc>
                <a:spcPct val="120000"/>
              </a:lnSpc>
              <a:defRPr sz="1400">
                <a:solidFill>
                  <a:srgbClr val="FFFFFF"/>
                </a:solidFill>
                <a:latin typeface="+mn-lt"/>
                <a:cs typeface="Segoe Pro Light"/>
              </a:defRPr>
            </a:lvl3pPr>
            <a:lvl4pPr eaLnBrk="1" hangingPunct="1">
              <a:lnSpc>
                <a:spcPct val="120000"/>
              </a:lnSpc>
              <a:defRPr sz="1400">
                <a:solidFill>
                  <a:srgbClr val="FFFFFF"/>
                </a:solidFill>
                <a:latin typeface="+mn-lt"/>
                <a:cs typeface="Segoe Pro Light"/>
              </a:defRPr>
            </a:lvl4pPr>
            <a:lvl5pPr eaLnBrk="1" hangingPunct="1">
              <a:lnSpc>
                <a:spcPct val="120000"/>
              </a:lnSpc>
              <a:defRPr sz="1400">
                <a:solidFill>
                  <a:srgbClr val="FFFFFF"/>
                </a:solidFill>
                <a:latin typeface="+mn-lt"/>
                <a:cs typeface="Segoe Pro Light"/>
              </a:defRPr>
            </a:lvl5pPr>
          </a:lstStyle>
          <a:p>
            <a:pPr marL="0" marR="0" lvl="0" indent="0" defTabSz="932597" eaLnBrk="1" fontAlgn="auto" latinLnBrk="0" hangingPunct="1">
              <a:lnSpc>
                <a:spcPct val="100000"/>
              </a:lnSpc>
              <a:spcBef>
                <a:spcPts val="300"/>
              </a:spcBef>
              <a:spcAft>
                <a:spcPts val="0"/>
              </a:spcAft>
              <a:buClrTx/>
              <a:buSzTx/>
              <a:buFontTx/>
              <a:buNone/>
              <a:tabLst/>
              <a:defRPr/>
            </a:pPr>
            <a:r>
              <a:rPr kumimoji="0" lang="pt-PT" sz="1100" b="0" i="0" u="none" strike="noStrike" kern="0" cap="none" spc="0" normalizeH="0" baseline="0" noProof="0" dirty="0">
                <a:ln>
                  <a:noFill/>
                </a:ln>
                <a:solidFill>
                  <a:srgbClr val="3740FE"/>
                </a:solidFill>
                <a:effectLst/>
                <a:uLnTx/>
                <a:uFillTx/>
                <a:latin typeface="Consolas" panose="020B0609020204030204" pitchFamily="49" charset="0"/>
              </a:rPr>
              <a:t>CREATE PROCEDURE </a:t>
            </a:r>
            <a:r>
              <a:rPr kumimoji="0" lang="pt-PT" sz="1100" b="0" i="0" u="none" strike="noStrike" kern="0" cap="none" spc="0" normalizeH="0" baseline="0" noProof="0" dirty="0">
                <a:ln>
                  <a:noFill/>
                </a:ln>
                <a:solidFill>
                  <a:srgbClr val="3F3F3F"/>
                </a:solidFill>
                <a:effectLst/>
                <a:uLnTx/>
                <a:uFillTx/>
                <a:latin typeface="Consolas" panose="020B0609020204030204" pitchFamily="49" charset="0"/>
              </a:rPr>
              <a:t>MyProc</a:t>
            </a:r>
          </a:p>
          <a:p>
            <a:pPr marL="0" marR="0" lvl="0" indent="0" defTabSz="932597" eaLnBrk="1" fontAlgn="auto" latinLnBrk="0" hangingPunct="1">
              <a:lnSpc>
                <a:spcPct val="100000"/>
              </a:lnSpc>
              <a:spcBef>
                <a:spcPts val="300"/>
              </a:spcBef>
              <a:spcAft>
                <a:spcPts val="0"/>
              </a:spcAft>
              <a:buClrTx/>
              <a:buSzTx/>
              <a:buFontTx/>
              <a:buNone/>
              <a:tabLst/>
              <a:defRPr/>
            </a:pPr>
            <a:r>
              <a:rPr kumimoji="0" lang="pt-PT" sz="1100" b="0" i="0" u="none" strike="noStrike" kern="0" cap="none" spc="0" normalizeH="0" baseline="0" noProof="0" dirty="0">
                <a:ln>
                  <a:noFill/>
                </a:ln>
                <a:solidFill>
                  <a:srgbClr val="3740FE"/>
                </a:solidFill>
                <a:effectLst/>
                <a:uLnTx/>
                <a:uFillTx/>
                <a:latin typeface="Consolas" panose="020B0609020204030204" pitchFamily="49" charset="0"/>
              </a:rPr>
              <a:t>WITH NATIVE_COMPILATION</a:t>
            </a:r>
            <a:r>
              <a:rPr kumimoji="0" lang="pt-PT" sz="1100" b="0" i="0" u="none" strike="noStrike" kern="0" cap="none" spc="0" normalizeH="0" baseline="0" noProof="0" dirty="0">
                <a:ln>
                  <a:noFill/>
                </a:ln>
                <a:solidFill>
                  <a:srgbClr val="505050"/>
                </a:solidFill>
                <a:effectLst/>
                <a:uLnTx/>
                <a:uFillTx/>
                <a:latin typeface="Consolas" panose="020B0609020204030204" pitchFamily="49" charset="0"/>
              </a:rPr>
              <a:t>, </a:t>
            </a:r>
            <a:r>
              <a:rPr kumimoji="0" lang="pt-PT" sz="1100" b="0" i="0" u="none" strike="noStrike" kern="0" cap="none" spc="0" normalizeH="0" baseline="0" noProof="0" dirty="0">
                <a:ln>
                  <a:noFill/>
                </a:ln>
                <a:solidFill>
                  <a:srgbClr val="3740FE"/>
                </a:solidFill>
                <a:effectLst/>
                <a:uLnTx/>
                <a:uFillTx/>
                <a:latin typeface="Consolas" panose="020B0609020204030204" pitchFamily="49" charset="0"/>
              </a:rPr>
              <a:t>SCHEMABINDING</a:t>
            </a:r>
            <a:r>
              <a:rPr kumimoji="0" lang="pt-PT" sz="1100" b="0" i="0" u="none" strike="noStrike" kern="0" cap="none" spc="0" normalizeH="0" baseline="0" noProof="0" dirty="0">
                <a:ln>
                  <a:noFill/>
                </a:ln>
                <a:solidFill>
                  <a:srgbClr val="505050"/>
                </a:solidFill>
                <a:effectLst/>
                <a:uLnTx/>
                <a:uFillTx/>
                <a:latin typeface="Consolas" panose="020B0609020204030204" pitchFamily="49" charset="0"/>
              </a:rPr>
              <a:t>, </a:t>
            </a:r>
            <a:r>
              <a:rPr kumimoji="0" lang="pt-PT" sz="1100" b="0" i="0" u="none" strike="noStrike" kern="0" cap="none" spc="0" normalizeH="0" baseline="0" noProof="0" dirty="0">
                <a:ln>
                  <a:noFill/>
                </a:ln>
                <a:solidFill>
                  <a:srgbClr val="3740FE"/>
                </a:solidFill>
                <a:effectLst/>
                <a:uLnTx/>
                <a:uFillTx/>
                <a:latin typeface="Consolas" panose="020B0609020204030204" pitchFamily="49" charset="0"/>
              </a:rPr>
              <a:t>EXECUTE AS OWNER</a:t>
            </a:r>
          </a:p>
          <a:p>
            <a:pPr marL="0" marR="0" lvl="0" indent="0" defTabSz="932597" eaLnBrk="1" fontAlgn="auto" latinLnBrk="0" hangingPunct="1">
              <a:lnSpc>
                <a:spcPct val="100000"/>
              </a:lnSpc>
              <a:spcBef>
                <a:spcPts val="300"/>
              </a:spcBef>
              <a:spcAft>
                <a:spcPts val="0"/>
              </a:spcAft>
              <a:buClrTx/>
              <a:buSzTx/>
              <a:buFontTx/>
              <a:buNone/>
              <a:tabLst/>
              <a:defRPr/>
            </a:pPr>
            <a:r>
              <a:rPr kumimoji="0" lang="pt-PT" sz="1100" b="0" i="0" u="none" strike="noStrike" kern="0" cap="none" spc="0" normalizeH="0" baseline="0" noProof="0" dirty="0">
                <a:ln>
                  <a:noFill/>
                </a:ln>
                <a:solidFill>
                  <a:srgbClr val="3740FE"/>
                </a:solidFill>
                <a:effectLst/>
                <a:uLnTx/>
                <a:uFillTx/>
                <a:latin typeface="Consolas" panose="020B0609020204030204" pitchFamily="49" charset="0"/>
              </a:rPr>
              <a:t>AS BEGIN ATOMIC WITH</a:t>
            </a:r>
          </a:p>
          <a:p>
            <a:pPr marL="0" marR="0" lvl="0" indent="0" defTabSz="932597" eaLnBrk="1" fontAlgn="auto" latinLnBrk="0" hangingPunct="1">
              <a:lnSpc>
                <a:spcPct val="100000"/>
              </a:lnSpc>
              <a:spcBef>
                <a:spcPts val="300"/>
              </a:spcBef>
              <a:spcAft>
                <a:spcPts val="0"/>
              </a:spcAft>
              <a:buClrTx/>
              <a:buSzTx/>
              <a:buFontTx/>
              <a:buNone/>
              <a:tabLst/>
              <a:defRPr/>
            </a:pPr>
            <a:r>
              <a:rPr kumimoji="0" lang="pt-PT" sz="1100" b="0" i="0" u="none" strike="noStrike" kern="0" cap="none" spc="0" normalizeH="0" baseline="0" noProof="0" dirty="0">
                <a:ln>
                  <a:noFill/>
                </a:ln>
                <a:solidFill>
                  <a:srgbClr val="3F3F3F"/>
                </a:solidFill>
                <a:effectLst/>
                <a:uLnTx/>
                <a:uFillTx/>
                <a:latin typeface="Consolas" panose="020B0609020204030204" pitchFamily="49" charset="0"/>
              </a:rPr>
              <a:t>(</a:t>
            </a:r>
            <a:r>
              <a:rPr kumimoji="0" lang="pt-PT" sz="1100" b="0" i="0" u="none" strike="noStrike" kern="0" cap="none" spc="0" normalizeH="0" baseline="0" noProof="0" dirty="0">
                <a:ln>
                  <a:noFill/>
                </a:ln>
                <a:solidFill>
                  <a:srgbClr val="3740FE"/>
                </a:solidFill>
                <a:effectLst/>
                <a:uLnTx/>
                <a:uFillTx/>
                <a:latin typeface="Consolas" panose="020B0609020204030204" pitchFamily="49" charset="0"/>
              </a:rPr>
              <a:t>DELAYED_DURABILITY </a:t>
            </a:r>
            <a:r>
              <a:rPr kumimoji="0" lang="pt-PT" sz="1100" b="0" i="0" u="none" strike="noStrike" kern="0" cap="none" spc="0" normalizeH="0" baseline="0" noProof="0" dirty="0">
                <a:ln>
                  <a:noFill/>
                </a:ln>
                <a:solidFill>
                  <a:srgbClr val="3F3F3F"/>
                </a:solidFill>
                <a:effectLst/>
                <a:uLnTx/>
                <a:uFillTx/>
                <a:latin typeface="Consolas" panose="020B0609020204030204" pitchFamily="49" charset="0"/>
              </a:rPr>
              <a:t>= </a:t>
            </a:r>
            <a:r>
              <a:rPr kumimoji="0" lang="pt-PT" sz="1100" b="0" i="0" u="none" strike="noStrike" kern="0" cap="none" spc="0" normalizeH="0" baseline="0" noProof="0" dirty="0">
                <a:ln>
                  <a:noFill/>
                </a:ln>
                <a:solidFill>
                  <a:srgbClr val="3740FE"/>
                </a:solidFill>
                <a:effectLst/>
                <a:uLnTx/>
                <a:uFillTx/>
                <a:latin typeface="Consolas" panose="020B0609020204030204" pitchFamily="49" charset="0"/>
              </a:rPr>
              <a:t>ON</a:t>
            </a:r>
            <a:r>
              <a:rPr kumimoji="0" lang="pt-PT" sz="1100" b="0" i="0" u="none" strike="noStrike" kern="0" cap="none" spc="0" normalizeH="0" baseline="0" noProof="0" dirty="0">
                <a:ln>
                  <a:noFill/>
                </a:ln>
                <a:solidFill>
                  <a:srgbClr val="3F3F3F"/>
                </a:solidFill>
                <a:effectLst/>
                <a:uLnTx/>
                <a:uFillTx/>
                <a:latin typeface="Consolas" panose="020B0609020204030204" pitchFamily="49" charset="0"/>
              </a:rPr>
              <a:t>, </a:t>
            </a:r>
          </a:p>
          <a:p>
            <a:pPr marL="0" marR="0" lvl="0" indent="0" defTabSz="932597" eaLnBrk="1" fontAlgn="auto" latinLnBrk="0" hangingPunct="1">
              <a:lnSpc>
                <a:spcPct val="100000"/>
              </a:lnSpc>
              <a:spcBef>
                <a:spcPts val="300"/>
              </a:spcBef>
              <a:spcAft>
                <a:spcPts val="0"/>
              </a:spcAft>
              <a:buClrTx/>
              <a:buSzTx/>
              <a:buFontTx/>
              <a:buNone/>
              <a:tabLst/>
              <a:defRPr/>
            </a:pPr>
            <a:r>
              <a:rPr kumimoji="0" lang="pt-PT" sz="1100" b="0" i="0" u="none" strike="noStrike" kern="0" cap="none" spc="0" normalizeH="0" baseline="0" noProof="0" dirty="0">
                <a:ln>
                  <a:noFill/>
                </a:ln>
                <a:solidFill>
                  <a:srgbClr val="3740FE"/>
                </a:solidFill>
                <a:effectLst/>
                <a:uLnTx/>
                <a:uFillTx/>
                <a:latin typeface="Consolas" panose="020B0609020204030204" pitchFamily="49" charset="0"/>
              </a:rPr>
              <a:t>TRANSACTION ISOLATION LEVEL </a:t>
            </a:r>
            <a:r>
              <a:rPr kumimoji="0" lang="pt-PT" sz="1100" b="0" i="0" u="none" strike="noStrike" kern="0" cap="none" spc="0" normalizeH="0" baseline="0" noProof="0" dirty="0">
                <a:ln>
                  <a:noFill/>
                </a:ln>
                <a:solidFill>
                  <a:srgbClr val="3F3F3F"/>
                </a:solidFill>
                <a:effectLst/>
                <a:uLnTx/>
                <a:uFillTx/>
                <a:latin typeface="Consolas" panose="020B0609020204030204" pitchFamily="49" charset="0"/>
              </a:rPr>
              <a:t>= </a:t>
            </a:r>
            <a:r>
              <a:rPr kumimoji="0" lang="pt-PT" sz="1100" b="0" i="0" u="none" strike="noStrike" kern="0" cap="none" spc="0" normalizeH="0" baseline="0" noProof="0" dirty="0">
                <a:ln>
                  <a:noFill/>
                </a:ln>
                <a:solidFill>
                  <a:srgbClr val="3740FE"/>
                </a:solidFill>
                <a:effectLst/>
                <a:uLnTx/>
                <a:uFillTx/>
                <a:latin typeface="Consolas" panose="020B0609020204030204" pitchFamily="49" charset="0"/>
              </a:rPr>
              <a:t>SNAPSHOT</a:t>
            </a:r>
            <a:r>
              <a:rPr kumimoji="0" lang="pt-PT" sz="1100" b="0" i="0" u="none" strike="noStrike" kern="0" cap="none" spc="0" normalizeH="0" baseline="0" noProof="0" dirty="0">
                <a:ln>
                  <a:noFill/>
                </a:ln>
                <a:solidFill>
                  <a:srgbClr val="3F3F3F"/>
                </a:solidFill>
                <a:effectLst/>
                <a:uLnTx/>
                <a:uFillTx/>
                <a:latin typeface="Consolas" panose="020B0609020204030204" pitchFamily="49" charset="0"/>
              </a:rPr>
              <a:t>, </a:t>
            </a:r>
            <a:r>
              <a:rPr kumimoji="0" lang="pt-PT" sz="1100" b="0" i="0" u="none" strike="noStrike" kern="0" cap="none" spc="0" normalizeH="0" baseline="0" noProof="0" dirty="0">
                <a:ln>
                  <a:noFill/>
                </a:ln>
                <a:solidFill>
                  <a:srgbClr val="3740FE"/>
                </a:solidFill>
                <a:effectLst/>
                <a:uLnTx/>
                <a:uFillTx/>
                <a:latin typeface="Consolas" panose="020B0609020204030204" pitchFamily="49" charset="0"/>
              </a:rPr>
              <a:t>LANGUAGE</a:t>
            </a:r>
            <a:r>
              <a:rPr kumimoji="0" lang="pt-PT" sz="1100" b="0" i="0" u="none" strike="noStrike" kern="0" cap="none" spc="0" normalizeH="0" baseline="0" noProof="0" dirty="0">
                <a:ln>
                  <a:noFill/>
                </a:ln>
                <a:solidFill>
                  <a:srgbClr val="3F3F3F"/>
                </a:solidFill>
                <a:effectLst/>
                <a:uLnTx/>
                <a:uFillTx/>
                <a:latin typeface="Consolas" panose="020B0609020204030204" pitchFamily="49" charset="0"/>
              </a:rPr>
              <a:t> = </a:t>
            </a:r>
            <a:r>
              <a:rPr kumimoji="0" lang="pt-PT" sz="1100" b="0" i="0" u="none" strike="noStrike" kern="0" cap="none" spc="0" normalizeH="0" baseline="0" noProof="0" dirty="0">
                <a:ln>
                  <a:noFill/>
                </a:ln>
                <a:solidFill>
                  <a:srgbClr val="FD5041"/>
                </a:solidFill>
                <a:effectLst/>
                <a:uLnTx/>
                <a:uFillTx/>
                <a:latin typeface="Consolas" panose="020B0609020204030204" pitchFamily="49" charset="0"/>
              </a:rPr>
              <a:t>N'us_english'</a:t>
            </a:r>
            <a:r>
              <a:rPr kumimoji="0" lang="pt-PT" sz="1100" b="0" i="0" u="none" strike="noStrike" kern="0" cap="none" spc="0" normalizeH="0" baseline="0" noProof="0" dirty="0">
                <a:ln>
                  <a:noFill/>
                </a:ln>
                <a:solidFill>
                  <a:srgbClr val="3F3F3F"/>
                </a:solidFill>
                <a:effectLst/>
                <a:uLnTx/>
                <a:uFillTx/>
                <a:latin typeface="Consolas" panose="020B0609020204030204" pitchFamily="49" charset="0"/>
              </a:rPr>
              <a:t>)</a:t>
            </a:r>
          </a:p>
          <a:p>
            <a:pPr marL="0" marR="0" lvl="0" indent="0" defTabSz="932597" eaLnBrk="1" fontAlgn="auto" latinLnBrk="0" hangingPunct="1">
              <a:lnSpc>
                <a:spcPct val="100000"/>
              </a:lnSpc>
              <a:spcBef>
                <a:spcPts val="300"/>
              </a:spcBef>
              <a:spcAft>
                <a:spcPts val="0"/>
              </a:spcAft>
              <a:buClrTx/>
              <a:buSzTx/>
              <a:buFontTx/>
              <a:buNone/>
              <a:tabLst/>
              <a:defRPr/>
            </a:pPr>
            <a:r>
              <a:rPr kumimoji="0" lang="pt-PT" sz="1100" b="0" i="0" u="none" strike="noStrike" kern="0" cap="none" spc="0" normalizeH="0" baseline="0" noProof="0" dirty="0">
                <a:ln>
                  <a:noFill/>
                </a:ln>
                <a:solidFill>
                  <a:srgbClr val="002050">
                    <a:lumMod val="75000"/>
                  </a:srgbClr>
                </a:solidFill>
                <a:effectLst/>
                <a:uLnTx/>
                <a:uFillTx/>
                <a:latin typeface="Consolas" panose="020B0609020204030204" pitchFamily="49" charset="0"/>
              </a:rPr>
              <a:t>	-- Insert T-SQL here…</a:t>
            </a:r>
          </a:p>
          <a:p>
            <a:pPr marL="0" marR="0" lvl="0" indent="0" defTabSz="932597" eaLnBrk="1" fontAlgn="auto" latinLnBrk="0" hangingPunct="1">
              <a:lnSpc>
                <a:spcPct val="100000"/>
              </a:lnSpc>
              <a:spcBef>
                <a:spcPts val="300"/>
              </a:spcBef>
              <a:spcAft>
                <a:spcPts val="0"/>
              </a:spcAft>
              <a:buClrTx/>
              <a:buSzTx/>
              <a:buFontTx/>
              <a:buNone/>
              <a:tabLst/>
              <a:defRPr/>
            </a:pPr>
            <a:r>
              <a:rPr kumimoji="0" lang="pt-PT" sz="1100" b="0" i="0" u="none" strike="noStrike" kern="0" cap="none" spc="0" normalizeH="0" baseline="0" noProof="0" dirty="0">
                <a:ln>
                  <a:noFill/>
                </a:ln>
                <a:solidFill>
                  <a:srgbClr val="3740FE"/>
                </a:solidFill>
                <a:effectLst/>
                <a:uLnTx/>
                <a:uFillTx/>
                <a:latin typeface="Lucida Console" panose="020B0609040504020204" pitchFamily="49" charset="0"/>
              </a:rPr>
              <a:t>END</a:t>
            </a:r>
          </a:p>
        </p:txBody>
      </p:sp>
      <p:grpSp>
        <p:nvGrpSpPr>
          <p:cNvPr id="10" name="Group 9">
            <a:extLst>
              <a:ext uri="{FF2B5EF4-FFF2-40B4-BE49-F238E27FC236}">
                <a16:creationId xmlns:a16="http://schemas.microsoft.com/office/drawing/2014/main" id="{0445B9B2-057A-43EC-BA9E-C0EA616E5BCD}"/>
              </a:ext>
            </a:extLst>
          </p:cNvPr>
          <p:cNvGrpSpPr/>
          <p:nvPr/>
        </p:nvGrpSpPr>
        <p:grpSpPr>
          <a:xfrm>
            <a:off x="6781800" y="4944288"/>
            <a:ext cx="3186395" cy="700715"/>
            <a:chOff x="406401" y="4218781"/>
            <a:chExt cx="3124200" cy="687038"/>
          </a:xfrm>
        </p:grpSpPr>
        <p:sp>
          <p:nvSpPr>
            <p:cNvPr id="8" name="Content Placeholder 16">
              <a:extLst>
                <a:ext uri="{FF2B5EF4-FFF2-40B4-BE49-F238E27FC236}">
                  <a16:creationId xmlns:a16="http://schemas.microsoft.com/office/drawing/2014/main" id="{32350CA0-1FA6-4493-A8B5-BBD6F8638637}"/>
                </a:ext>
              </a:extLst>
            </p:cNvPr>
            <p:cNvSpPr txBox="1">
              <a:spLocks/>
            </p:cNvSpPr>
            <p:nvPr/>
          </p:nvSpPr>
          <p:spPr>
            <a:xfrm>
              <a:off x="406401" y="4218781"/>
              <a:ext cx="3124200" cy="687038"/>
            </a:xfrm>
            <a:prstGeom prst="rect">
              <a:avLst/>
            </a:prstGeom>
            <a:solidFill>
              <a:srgbClr val="FFFFFF"/>
            </a:solidFill>
            <a:effectLst>
              <a:innerShdw blurRad="63500" dist="50800" dir="8100000">
                <a:prstClr val="black">
                  <a:alpha val="50000"/>
                </a:prstClr>
              </a:innerShdw>
            </a:effectLst>
          </p:spPr>
          <p:txBody>
            <a:bodyPr vert="horz" lIns="93260" tIns="46630" rIns="93260" bIns="46630" rtlCol="0">
              <a:noAutofit/>
            </a:bodyPr>
            <a:lstStyle>
              <a:lvl1pPr marL="0" indent="0" eaLnBrk="1" hangingPunct="1">
                <a:lnSpc>
                  <a:spcPct val="100000"/>
                </a:lnSpc>
                <a:spcBef>
                  <a:spcPts val="300"/>
                </a:spcBef>
                <a:buFontTx/>
                <a:buNone/>
                <a:defRPr sz="2400" baseline="0">
                  <a:solidFill>
                    <a:srgbClr val="3F3F3F"/>
                  </a:solidFill>
                  <a:latin typeface="Segoe UI Light" pitchFamily="34" charset="0"/>
                  <a:cs typeface="Segoe Pro Light"/>
                </a:defRPr>
              </a:lvl1pPr>
              <a:lvl2pPr eaLnBrk="1" hangingPunct="1">
                <a:lnSpc>
                  <a:spcPct val="120000"/>
                </a:lnSpc>
                <a:defRPr sz="1400">
                  <a:solidFill>
                    <a:srgbClr val="FFFFFF"/>
                  </a:solidFill>
                  <a:latin typeface="+mn-lt"/>
                  <a:cs typeface="Segoe Pro Light"/>
                </a:defRPr>
              </a:lvl2pPr>
              <a:lvl3pPr eaLnBrk="1" hangingPunct="1">
                <a:lnSpc>
                  <a:spcPct val="120000"/>
                </a:lnSpc>
                <a:defRPr sz="1400">
                  <a:solidFill>
                    <a:srgbClr val="FFFFFF"/>
                  </a:solidFill>
                  <a:latin typeface="+mn-lt"/>
                  <a:cs typeface="Segoe Pro Light"/>
                </a:defRPr>
              </a:lvl3pPr>
              <a:lvl4pPr eaLnBrk="1" hangingPunct="1">
                <a:lnSpc>
                  <a:spcPct val="120000"/>
                </a:lnSpc>
                <a:defRPr sz="1400">
                  <a:solidFill>
                    <a:srgbClr val="FFFFFF"/>
                  </a:solidFill>
                  <a:latin typeface="+mn-lt"/>
                  <a:cs typeface="Segoe Pro Light"/>
                </a:defRPr>
              </a:lvl4pPr>
              <a:lvl5pPr eaLnBrk="1" hangingPunct="1">
                <a:lnSpc>
                  <a:spcPct val="120000"/>
                </a:lnSpc>
                <a:defRPr sz="1400">
                  <a:solidFill>
                    <a:srgbClr val="FFFFFF"/>
                  </a:solidFill>
                  <a:latin typeface="+mn-lt"/>
                  <a:cs typeface="Segoe Pro Light"/>
                </a:defRPr>
              </a:lvl5pPr>
            </a:lstStyle>
            <a:p>
              <a:pPr marL="0" marR="0" lvl="0" indent="0" defTabSz="932597" eaLnBrk="1" fontAlgn="auto" latinLnBrk="0" hangingPunct="1">
                <a:lnSpc>
                  <a:spcPct val="100000"/>
                </a:lnSpc>
                <a:spcBef>
                  <a:spcPts val="300"/>
                </a:spcBef>
                <a:spcAft>
                  <a:spcPts val="0"/>
                </a:spcAft>
                <a:buClrTx/>
                <a:buSzTx/>
                <a:buFontTx/>
                <a:buNone/>
                <a:tabLst/>
                <a:defRPr/>
              </a:pPr>
              <a:r>
                <a:rPr kumimoji="0" lang="pt-PT" sz="1224" b="0" i="0" u="none" strike="noStrike" kern="0" cap="none" spc="0" normalizeH="0" baseline="0" noProof="0" dirty="0">
                  <a:ln>
                    <a:noFill/>
                  </a:ln>
                  <a:solidFill>
                    <a:srgbClr val="3740FE"/>
                  </a:solidFill>
                  <a:effectLst/>
                  <a:uLnTx/>
                  <a:uFillTx/>
                  <a:latin typeface="Consolas" panose="020B0609020204030204" pitchFamily="49" charset="0"/>
                </a:rPr>
                <a:t>ALTER DATABASE </a:t>
              </a:r>
              <a:r>
                <a:rPr kumimoji="0" lang="pt-PT" sz="1224" b="0" i="0" u="none" strike="noStrike" kern="0" cap="none" spc="0" normalizeH="0" baseline="0" noProof="0" dirty="0">
                  <a:ln>
                    <a:noFill/>
                  </a:ln>
                  <a:solidFill>
                    <a:srgbClr val="3F3F3F"/>
                  </a:solidFill>
                  <a:effectLst/>
                  <a:uLnTx/>
                  <a:uFillTx/>
                  <a:latin typeface="Consolas" panose="020B0609020204030204" pitchFamily="49" charset="0"/>
                </a:rPr>
                <a:t>Hekaton</a:t>
              </a:r>
            </a:p>
            <a:p>
              <a:pPr marL="0" marR="0" lvl="0" indent="0" defTabSz="932597" eaLnBrk="1" fontAlgn="auto" latinLnBrk="0" hangingPunct="1">
                <a:lnSpc>
                  <a:spcPct val="100000"/>
                </a:lnSpc>
                <a:spcBef>
                  <a:spcPts val="300"/>
                </a:spcBef>
                <a:spcAft>
                  <a:spcPts val="0"/>
                </a:spcAft>
                <a:buClrTx/>
                <a:buSzTx/>
                <a:buFontTx/>
                <a:buNone/>
                <a:tabLst/>
                <a:defRPr/>
              </a:pPr>
              <a:r>
                <a:rPr kumimoji="0" lang="pt-PT" sz="1224" b="0" i="0" u="none" strike="noStrike" kern="0" cap="none" spc="0" normalizeH="0" baseline="0" noProof="0" dirty="0">
                  <a:ln>
                    <a:noFill/>
                  </a:ln>
                  <a:solidFill>
                    <a:srgbClr val="3740FE"/>
                  </a:solidFill>
                  <a:effectLst/>
                  <a:uLnTx/>
                  <a:uFillTx/>
                  <a:latin typeface="Consolas" panose="020B0609020204030204" pitchFamily="49" charset="0"/>
                </a:rPr>
                <a:t>SET DELAYED_DURABILITY </a:t>
              </a:r>
              <a:r>
                <a:rPr kumimoji="0" lang="pt-PT" sz="1224" b="0" i="0" u="none" strike="noStrike" kern="0" cap="none" spc="0" normalizeH="0" baseline="0" noProof="0" dirty="0">
                  <a:ln>
                    <a:noFill/>
                  </a:ln>
                  <a:solidFill>
                    <a:srgbClr val="3F3F3F"/>
                  </a:solidFill>
                  <a:effectLst/>
                  <a:uLnTx/>
                  <a:uFillTx/>
                  <a:latin typeface="Consolas" panose="020B0609020204030204" pitchFamily="49" charset="0"/>
                </a:rPr>
                <a:t>= </a:t>
              </a:r>
              <a:r>
                <a:rPr kumimoji="0" lang="pt-PT" sz="1224" b="0" i="0" u="none" strike="noStrike" kern="0" cap="none" spc="0" normalizeH="0" baseline="0" noProof="0" dirty="0">
                  <a:ln>
                    <a:noFill/>
                  </a:ln>
                  <a:solidFill>
                    <a:srgbClr val="3740FE"/>
                  </a:solidFill>
                  <a:effectLst/>
                  <a:uLnTx/>
                  <a:uFillTx/>
                  <a:latin typeface="Consolas" panose="020B0609020204030204" pitchFamily="49" charset="0"/>
                </a:rPr>
                <a:t>FORCED</a:t>
              </a:r>
            </a:p>
            <a:p>
              <a:pPr marL="0" marR="0" lvl="0" indent="0" defTabSz="932597" eaLnBrk="1" fontAlgn="auto" latinLnBrk="0" hangingPunct="1">
                <a:lnSpc>
                  <a:spcPct val="100000"/>
                </a:lnSpc>
                <a:spcBef>
                  <a:spcPts val="300"/>
                </a:spcBef>
                <a:spcAft>
                  <a:spcPts val="0"/>
                </a:spcAft>
                <a:buClrTx/>
                <a:buSzTx/>
                <a:buFontTx/>
                <a:buNone/>
                <a:tabLst/>
                <a:defRPr/>
              </a:pPr>
              <a:r>
                <a:rPr kumimoji="0" lang="pt-PT" sz="1224" b="0" i="0" u="none" strike="noStrike" kern="0" cap="none" spc="0" normalizeH="0" baseline="0" noProof="0" dirty="0">
                  <a:ln>
                    <a:noFill/>
                  </a:ln>
                  <a:solidFill>
                    <a:srgbClr val="3740FE"/>
                  </a:solidFill>
                  <a:effectLst/>
                  <a:uLnTx/>
                  <a:uFillTx/>
                  <a:latin typeface="Consolas" panose="020B0609020204030204" pitchFamily="49" charset="0"/>
                </a:rPr>
                <a:t>GO</a:t>
              </a:r>
              <a:endParaRPr kumimoji="0" lang="pt-PT" sz="1224" b="0" i="0" u="none" strike="noStrike" kern="0" cap="none" spc="0" normalizeH="0" baseline="0" noProof="0" dirty="0">
                <a:ln>
                  <a:noFill/>
                </a:ln>
                <a:solidFill>
                  <a:srgbClr val="3F3F3F"/>
                </a:solidFill>
                <a:effectLst/>
                <a:uLnTx/>
                <a:uFillTx/>
                <a:latin typeface="Consolas" panose="020B0609020204030204" pitchFamily="49" charset="0"/>
              </a:endParaRPr>
            </a:p>
          </p:txBody>
        </p:sp>
        <p:sp>
          <p:nvSpPr>
            <p:cNvPr id="9" name="Rectangle 8">
              <a:extLst>
                <a:ext uri="{FF2B5EF4-FFF2-40B4-BE49-F238E27FC236}">
                  <a16:creationId xmlns:a16="http://schemas.microsoft.com/office/drawing/2014/main" id="{C74D17EA-E19E-4782-B455-9D2AA0842E4A}"/>
                </a:ext>
              </a:extLst>
            </p:cNvPr>
            <p:cNvSpPr/>
            <p:nvPr/>
          </p:nvSpPr>
          <p:spPr>
            <a:xfrm>
              <a:off x="787400" y="4467466"/>
              <a:ext cx="2602750" cy="258460"/>
            </a:xfrm>
            <a:prstGeom prst="rect">
              <a:avLst/>
            </a:prstGeom>
            <a:noFill/>
            <a:ln w="10795" cap="flat" cmpd="sng" algn="ctr">
              <a:solidFill>
                <a:srgbClr val="FD5041"/>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pt-PT" sz="1836" b="0" i="0" u="none" strike="noStrike" kern="0" cap="none" spc="0" normalizeH="0" baseline="0" noProof="0">
                <a:ln>
                  <a:noFill/>
                </a:ln>
                <a:solidFill>
                  <a:srgbClr val="505050"/>
                </a:solidFill>
                <a:effectLst/>
                <a:uLnTx/>
                <a:uFillTx/>
                <a:latin typeface="Segoe UI"/>
                <a:ea typeface="+mn-ea"/>
                <a:cs typeface="+mn-cs"/>
              </a:endParaRPr>
            </a:p>
          </p:txBody>
        </p:sp>
      </p:grpSp>
      <p:graphicFrame>
        <p:nvGraphicFramePr>
          <p:cNvPr id="12" name="Diagram 11">
            <a:extLst>
              <a:ext uri="{FF2B5EF4-FFF2-40B4-BE49-F238E27FC236}">
                <a16:creationId xmlns:a16="http://schemas.microsoft.com/office/drawing/2014/main" id="{0705DED7-D743-4AFE-BC06-2CD31E9C9725}"/>
              </a:ext>
            </a:extLst>
          </p:cNvPr>
          <p:cNvGraphicFramePr/>
          <p:nvPr/>
        </p:nvGraphicFramePr>
        <p:xfrm>
          <a:off x="655637" y="1860797"/>
          <a:ext cx="10880725" cy="30846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5893550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FD9E7A-9528-492C-80D0-E4F6837C6A5D}"/>
              </a:ext>
            </a:extLst>
          </p:cNvPr>
          <p:cNvSpPr>
            <a:spLocks noGrp="1"/>
          </p:cNvSpPr>
          <p:nvPr>
            <p:ph type="title"/>
          </p:nvPr>
        </p:nvSpPr>
        <p:spPr/>
        <p:txBody>
          <a:bodyPr/>
          <a:lstStyle/>
          <a:p>
            <a:r>
              <a:rPr lang="en-US" dirty="0"/>
              <a:t>Delayed Durability</a:t>
            </a:r>
          </a:p>
        </p:txBody>
      </p:sp>
      <p:graphicFrame>
        <p:nvGraphicFramePr>
          <p:cNvPr id="5" name="Content Placeholder 4">
            <a:extLst>
              <a:ext uri="{FF2B5EF4-FFF2-40B4-BE49-F238E27FC236}">
                <a16:creationId xmlns:a16="http://schemas.microsoft.com/office/drawing/2014/main" id="{B3F00977-3ED8-4826-A0B4-9C1ACFF50218}"/>
              </a:ext>
            </a:extLst>
          </p:cNvPr>
          <p:cNvGraphicFramePr>
            <a:graphicFrameLocks noGrp="1"/>
          </p:cNvGraphicFramePr>
          <p:nvPr>
            <p:ph sz="quarter" idx="13"/>
            <p:extLst>
              <p:ext uri="{D42A27DB-BD31-4B8C-83A1-F6EECF244321}">
                <p14:modId xmlns:p14="http://schemas.microsoft.com/office/powerpoint/2010/main" val="2618188440"/>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a:extLst>
              <a:ext uri="{FF2B5EF4-FFF2-40B4-BE49-F238E27FC236}">
                <a16:creationId xmlns:a16="http://schemas.microsoft.com/office/drawing/2014/main" id="{9E782462-F17D-4951-B6ED-A231ABE35517}"/>
              </a:ext>
            </a:extLst>
          </p:cNvPr>
          <p:cNvGraphicFramePr/>
          <p:nvPr/>
        </p:nvGraphicFramePr>
        <p:xfrm>
          <a:off x="646369" y="6071617"/>
          <a:ext cx="10880725" cy="76350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0446641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A5191-CE52-4574-9BD8-F8E72C575508}"/>
              </a:ext>
            </a:extLst>
          </p:cNvPr>
          <p:cNvSpPr>
            <a:spLocks noGrp="1"/>
          </p:cNvSpPr>
          <p:nvPr>
            <p:ph type="title"/>
          </p:nvPr>
        </p:nvSpPr>
        <p:spPr/>
        <p:txBody>
          <a:bodyPr/>
          <a:lstStyle/>
          <a:p>
            <a:r>
              <a:rPr lang="en-US" dirty="0"/>
              <a:t>Transaction Logging (Delayed Durability)</a:t>
            </a:r>
          </a:p>
        </p:txBody>
      </p:sp>
      <p:sp>
        <p:nvSpPr>
          <p:cNvPr id="5" name="Text Placeholder 15">
            <a:extLst>
              <a:ext uri="{FF2B5EF4-FFF2-40B4-BE49-F238E27FC236}">
                <a16:creationId xmlns:a16="http://schemas.microsoft.com/office/drawing/2014/main" id="{21F2C19F-4A90-4CAE-A326-CCB80C3E4285}"/>
              </a:ext>
            </a:extLst>
          </p:cNvPr>
          <p:cNvSpPr txBox="1">
            <a:spLocks/>
          </p:cNvSpPr>
          <p:nvPr/>
        </p:nvSpPr>
        <p:spPr>
          <a:xfrm>
            <a:off x="406400" y="1143000"/>
            <a:ext cx="11176000" cy="4953000"/>
          </a:xfrm>
          <a:prstGeom prst="rect">
            <a:avLst/>
          </a:prstGeom>
        </p:spPr>
        <p:txBody>
          <a:bodyPr vert="horz" lIns="91440" tIns="45720" rIns="91440" bIns="45720" rtlCol="0">
            <a:normAutofit/>
          </a:bodyPr>
          <a:lstStyle>
            <a:lvl1pPr marL="0" indent="0" eaLnBrk="1" hangingPunct="1">
              <a:lnSpc>
                <a:spcPct val="100000"/>
              </a:lnSpc>
              <a:spcBef>
                <a:spcPts val="300"/>
              </a:spcBef>
              <a:buFontTx/>
              <a:buNone/>
              <a:defRPr sz="2400" baseline="0">
                <a:solidFill>
                  <a:srgbClr val="3F3F3F"/>
                </a:solidFill>
                <a:latin typeface="Segoe UI Light" pitchFamily="34" charset="0"/>
                <a:cs typeface="Segoe Pro Light"/>
              </a:defRPr>
            </a:lvl1pPr>
            <a:lvl2pPr eaLnBrk="1" hangingPunct="1">
              <a:lnSpc>
                <a:spcPct val="120000"/>
              </a:lnSpc>
              <a:defRPr sz="1400">
                <a:solidFill>
                  <a:srgbClr val="FFFFFF"/>
                </a:solidFill>
                <a:latin typeface="+mn-lt"/>
                <a:cs typeface="Segoe Pro Light"/>
              </a:defRPr>
            </a:lvl2pPr>
            <a:lvl3pPr eaLnBrk="1" hangingPunct="1">
              <a:lnSpc>
                <a:spcPct val="120000"/>
              </a:lnSpc>
              <a:defRPr sz="1400">
                <a:solidFill>
                  <a:srgbClr val="FFFFFF"/>
                </a:solidFill>
                <a:latin typeface="+mn-lt"/>
                <a:cs typeface="Segoe Pro Light"/>
              </a:defRPr>
            </a:lvl3pPr>
            <a:lvl4pPr eaLnBrk="1" hangingPunct="1">
              <a:lnSpc>
                <a:spcPct val="120000"/>
              </a:lnSpc>
              <a:defRPr sz="1400">
                <a:solidFill>
                  <a:srgbClr val="FFFFFF"/>
                </a:solidFill>
                <a:latin typeface="+mn-lt"/>
                <a:cs typeface="Segoe Pro Light"/>
              </a:defRPr>
            </a:lvl4pPr>
            <a:lvl5pPr eaLnBrk="1" hangingPunct="1">
              <a:lnSpc>
                <a:spcPct val="120000"/>
              </a:lnSpc>
              <a:defRPr sz="1400">
                <a:solidFill>
                  <a:srgbClr val="FFFFFF"/>
                </a:solidFill>
                <a:latin typeface="+mn-lt"/>
                <a:cs typeface="Segoe Pro Light"/>
              </a:defRPr>
            </a:lvl5pPr>
          </a:lstStyle>
          <a:p>
            <a:pPr marL="0" marR="0" lvl="0" indent="0" defTabSz="914400" eaLnBrk="1" fontAlgn="auto" latinLnBrk="0" hangingPunct="1">
              <a:lnSpc>
                <a:spcPct val="100000"/>
              </a:lnSpc>
              <a:spcBef>
                <a:spcPts val="300"/>
              </a:spcBef>
              <a:spcAft>
                <a:spcPts val="0"/>
              </a:spcAft>
              <a:buClrTx/>
              <a:buSzTx/>
              <a:buFontTx/>
              <a:buNone/>
              <a:tabLst/>
              <a:defRPr/>
            </a:pPr>
            <a:endParaRPr kumimoji="0" lang="en-US" sz="2400" b="0" i="0" u="none" strike="noStrike" kern="0" cap="none" spc="0" normalizeH="0" baseline="0" noProof="0" dirty="0">
              <a:ln>
                <a:noFill/>
              </a:ln>
              <a:solidFill>
                <a:srgbClr val="3F3F3F"/>
              </a:solidFill>
              <a:effectLst/>
              <a:uLnTx/>
              <a:uFillTx/>
              <a:latin typeface="Segoe UI Light" pitchFamily="34" charset="0"/>
            </a:endParaRPr>
          </a:p>
          <a:p>
            <a:pPr marL="0" marR="0" lvl="0" indent="0" defTabSz="914400" eaLnBrk="1" fontAlgn="auto" latinLnBrk="0" hangingPunct="1">
              <a:lnSpc>
                <a:spcPct val="100000"/>
              </a:lnSpc>
              <a:spcBef>
                <a:spcPts val="300"/>
              </a:spcBef>
              <a:spcAft>
                <a:spcPts val="0"/>
              </a:spcAft>
              <a:buClrTx/>
              <a:buSzTx/>
              <a:buFontTx/>
              <a:buNone/>
              <a:tabLst/>
              <a:defRPr/>
            </a:pPr>
            <a:endParaRPr kumimoji="0" lang="en-US" sz="2400" b="0" i="0" u="none" strike="noStrike" kern="0" cap="none" spc="0" normalizeH="0" baseline="0" noProof="0" dirty="0">
              <a:ln>
                <a:noFill/>
              </a:ln>
              <a:solidFill>
                <a:srgbClr val="3F3F3F"/>
              </a:solidFill>
              <a:effectLst/>
              <a:uLnTx/>
              <a:uFillTx/>
              <a:latin typeface="Segoe UI Light" pitchFamily="34" charset="0"/>
            </a:endParaRPr>
          </a:p>
        </p:txBody>
      </p:sp>
      <p:sp>
        <p:nvSpPr>
          <p:cNvPr id="6" name="Rectangle 5">
            <a:extLst>
              <a:ext uri="{FF2B5EF4-FFF2-40B4-BE49-F238E27FC236}">
                <a16:creationId xmlns:a16="http://schemas.microsoft.com/office/drawing/2014/main" id="{01D56715-3616-4CEF-99F6-D205D9E24A6C}"/>
              </a:ext>
            </a:extLst>
          </p:cNvPr>
          <p:cNvSpPr/>
          <p:nvPr/>
        </p:nvSpPr>
        <p:spPr>
          <a:xfrm>
            <a:off x="538747" y="1485900"/>
            <a:ext cx="2641600" cy="1219200"/>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Record the begin Transaction in the Log Buffer</a:t>
            </a:r>
          </a:p>
        </p:txBody>
      </p:sp>
      <p:sp>
        <p:nvSpPr>
          <p:cNvPr id="7" name="Rectangle 6">
            <a:extLst>
              <a:ext uri="{FF2B5EF4-FFF2-40B4-BE49-F238E27FC236}">
                <a16:creationId xmlns:a16="http://schemas.microsoft.com/office/drawing/2014/main" id="{444B5593-DABB-42A5-892F-7C0D6FCA172F}"/>
              </a:ext>
            </a:extLst>
          </p:cNvPr>
          <p:cNvSpPr/>
          <p:nvPr/>
        </p:nvSpPr>
        <p:spPr>
          <a:xfrm>
            <a:off x="4183647" y="1485900"/>
            <a:ext cx="2641600" cy="1219200"/>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sz="1600" kern="0" dirty="0">
                <a:solidFill>
                  <a:sysClr val="windowText" lastClr="000000"/>
                </a:solidFill>
                <a:cs typeface="Segoe UI" panose="020B0502040204020203" pitchFamily="34" charset="0"/>
              </a:rPr>
              <a:t>Log the Data Modification Language DML operation in the Log Buffer (INS/UPD/DEL)</a:t>
            </a:r>
          </a:p>
        </p:txBody>
      </p:sp>
      <p:sp>
        <p:nvSpPr>
          <p:cNvPr id="8" name="Rectangle 7">
            <a:extLst>
              <a:ext uri="{FF2B5EF4-FFF2-40B4-BE49-F238E27FC236}">
                <a16:creationId xmlns:a16="http://schemas.microsoft.com/office/drawing/2014/main" id="{AC1CE6AB-0CD9-4C10-BAEC-99A21AA0292B}"/>
              </a:ext>
            </a:extLst>
          </p:cNvPr>
          <p:cNvSpPr/>
          <p:nvPr/>
        </p:nvSpPr>
        <p:spPr>
          <a:xfrm>
            <a:off x="7828547" y="1371600"/>
            <a:ext cx="3733800" cy="1447800"/>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Read the Data/Index Pages and perform the operation in memory. </a:t>
            </a:r>
          </a:p>
        </p:txBody>
      </p:sp>
      <p:sp>
        <p:nvSpPr>
          <p:cNvPr id="9" name="Rectangle 8">
            <a:extLst>
              <a:ext uri="{FF2B5EF4-FFF2-40B4-BE49-F238E27FC236}">
                <a16:creationId xmlns:a16="http://schemas.microsoft.com/office/drawing/2014/main" id="{5DA13BCA-DA09-48C7-B14F-EF1BAED06EB8}"/>
              </a:ext>
            </a:extLst>
          </p:cNvPr>
          <p:cNvSpPr/>
          <p:nvPr/>
        </p:nvSpPr>
        <p:spPr>
          <a:xfrm>
            <a:off x="6533147" y="3522760"/>
            <a:ext cx="2439504" cy="666401"/>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Commit the Transaction</a:t>
            </a:r>
          </a:p>
        </p:txBody>
      </p:sp>
      <p:sp>
        <p:nvSpPr>
          <p:cNvPr id="10" name="Rectangle 9">
            <a:extLst>
              <a:ext uri="{FF2B5EF4-FFF2-40B4-BE49-F238E27FC236}">
                <a16:creationId xmlns:a16="http://schemas.microsoft.com/office/drawing/2014/main" id="{42E3ACC1-073A-4CC6-A465-B15C526025EE}"/>
              </a:ext>
            </a:extLst>
          </p:cNvPr>
          <p:cNvSpPr/>
          <p:nvPr/>
        </p:nvSpPr>
        <p:spPr>
          <a:xfrm>
            <a:off x="8940800" y="5012267"/>
            <a:ext cx="2641600" cy="799402"/>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Report the transaction success to the user</a:t>
            </a:r>
          </a:p>
        </p:txBody>
      </p:sp>
      <p:sp>
        <p:nvSpPr>
          <p:cNvPr id="11" name="Rectangle 10">
            <a:extLst>
              <a:ext uri="{FF2B5EF4-FFF2-40B4-BE49-F238E27FC236}">
                <a16:creationId xmlns:a16="http://schemas.microsoft.com/office/drawing/2014/main" id="{A3EF40FD-907F-4FAA-9973-978636E085EA}"/>
              </a:ext>
            </a:extLst>
          </p:cNvPr>
          <p:cNvSpPr/>
          <p:nvPr/>
        </p:nvSpPr>
        <p:spPr>
          <a:xfrm>
            <a:off x="665747" y="4950882"/>
            <a:ext cx="2641600" cy="1070686"/>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If LDF flush fails, Data Loss may happen during Recovery</a:t>
            </a:r>
          </a:p>
        </p:txBody>
      </p:sp>
      <p:sp>
        <p:nvSpPr>
          <p:cNvPr id="12" name="Rectangle 11">
            <a:extLst>
              <a:ext uri="{FF2B5EF4-FFF2-40B4-BE49-F238E27FC236}">
                <a16:creationId xmlns:a16="http://schemas.microsoft.com/office/drawing/2014/main" id="{73603219-C880-4546-BFA6-AA0C30EAB0B1}"/>
              </a:ext>
            </a:extLst>
          </p:cNvPr>
          <p:cNvSpPr/>
          <p:nvPr/>
        </p:nvSpPr>
        <p:spPr>
          <a:xfrm>
            <a:off x="2669034" y="3314700"/>
            <a:ext cx="2439504" cy="935334"/>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Flush to LDF (Asynchronously) </a:t>
            </a:r>
          </a:p>
        </p:txBody>
      </p:sp>
      <p:cxnSp>
        <p:nvCxnSpPr>
          <p:cNvPr id="13" name="Elbow Connector 47">
            <a:extLst>
              <a:ext uri="{FF2B5EF4-FFF2-40B4-BE49-F238E27FC236}">
                <a16:creationId xmlns:a16="http://schemas.microsoft.com/office/drawing/2014/main" id="{A0DD1D9C-3EB7-4031-912A-0C36ACDD3AE5}"/>
              </a:ext>
            </a:extLst>
          </p:cNvPr>
          <p:cNvCxnSpPr>
            <a:stCxn id="6" idx="3"/>
            <a:endCxn id="7" idx="1"/>
          </p:cNvCxnSpPr>
          <p:nvPr/>
        </p:nvCxnSpPr>
        <p:spPr>
          <a:xfrm>
            <a:off x="3180347" y="2095500"/>
            <a:ext cx="1003300" cy="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14" name="Elbow Connector 47">
            <a:extLst>
              <a:ext uri="{FF2B5EF4-FFF2-40B4-BE49-F238E27FC236}">
                <a16:creationId xmlns:a16="http://schemas.microsoft.com/office/drawing/2014/main" id="{2EBE5964-FC5C-44F8-9705-6A98DF3E33CF}"/>
              </a:ext>
            </a:extLst>
          </p:cNvPr>
          <p:cNvCxnSpPr>
            <a:stCxn id="7" idx="3"/>
            <a:endCxn id="8" idx="1"/>
          </p:cNvCxnSpPr>
          <p:nvPr/>
        </p:nvCxnSpPr>
        <p:spPr>
          <a:xfrm>
            <a:off x="6825247" y="2095500"/>
            <a:ext cx="1003300" cy="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15" name="Elbow Connector 47">
            <a:extLst>
              <a:ext uri="{FF2B5EF4-FFF2-40B4-BE49-F238E27FC236}">
                <a16:creationId xmlns:a16="http://schemas.microsoft.com/office/drawing/2014/main" id="{07155818-C14F-4D43-A770-93DAB9FD9CF7}"/>
              </a:ext>
            </a:extLst>
          </p:cNvPr>
          <p:cNvCxnSpPr>
            <a:endCxn id="12" idx="3"/>
          </p:cNvCxnSpPr>
          <p:nvPr/>
        </p:nvCxnSpPr>
        <p:spPr>
          <a:xfrm flipH="1">
            <a:off x="5108538" y="3782367"/>
            <a:ext cx="1424609" cy="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16" name="Elbow Connector 47">
            <a:extLst>
              <a:ext uri="{FF2B5EF4-FFF2-40B4-BE49-F238E27FC236}">
                <a16:creationId xmlns:a16="http://schemas.microsoft.com/office/drawing/2014/main" id="{7489E4DB-BC69-4CD4-8D10-4A912D4D829A}"/>
              </a:ext>
            </a:extLst>
          </p:cNvPr>
          <p:cNvCxnSpPr>
            <a:stCxn id="9" idx="2"/>
            <a:endCxn id="10" idx="1"/>
          </p:cNvCxnSpPr>
          <p:nvPr/>
        </p:nvCxnSpPr>
        <p:spPr>
          <a:xfrm rot="16200000" flipH="1">
            <a:off x="7735446" y="4206613"/>
            <a:ext cx="1222807" cy="1187901"/>
          </a:xfrm>
          <a:prstGeom prst="bentConnector2">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17" name="Elbow Connector 29">
            <a:extLst>
              <a:ext uri="{FF2B5EF4-FFF2-40B4-BE49-F238E27FC236}">
                <a16:creationId xmlns:a16="http://schemas.microsoft.com/office/drawing/2014/main" id="{4AF7E07C-BCB9-4B7F-A58D-EF2C2536EE13}"/>
              </a:ext>
            </a:extLst>
          </p:cNvPr>
          <p:cNvCxnSpPr>
            <a:stCxn id="11" idx="3"/>
            <a:endCxn id="12" idx="2"/>
          </p:cNvCxnSpPr>
          <p:nvPr/>
        </p:nvCxnSpPr>
        <p:spPr>
          <a:xfrm flipV="1">
            <a:off x="3307347" y="4250034"/>
            <a:ext cx="581439" cy="1236191"/>
          </a:xfrm>
          <a:prstGeom prst="bentConnector2">
            <a:avLst/>
          </a:prstGeom>
          <a:noFill/>
          <a:ln w="57150" cap="flat" cmpd="sng" algn="ctr">
            <a:solidFill>
              <a:srgbClr val="0A5BBA"/>
            </a:solidFill>
            <a:prstDash val="solid"/>
            <a:headEnd type="triangle"/>
            <a:tailEnd type="triangle"/>
          </a:ln>
          <a:effectLst>
            <a:outerShdw blurRad="40000" dist="20000" dir="5400000" rotWithShape="0">
              <a:srgbClr val="000000">
                <a:alpha val="38000"/>
              </a:srgbClr>
            </a:outerShdw>
          </a:effectLst>
        </p:spPr>
      </p:cxnSp>
      <p:cxnSp>
        <p:nvCxnSpPr>
          <p:cNvPr id="18" name="Elbow Connector 30">
            <a:extLst>
              <a:ext uri="{FF2B5EF4-FFF2-40B4-BE49-F238E27FC236}">
                <a16:creationId xmlns:a16="http://schemas.microsoft.com/office/drawing/2014/main" id="{04D15636-A3B6-4EF9-B110-060BE2C38E76}"/>
              </a:ext>
            </a:extLst>
          </p:cNvPr>
          <p:cNvCxnSpPr>
            <a:stCxn id="8" idx="2"/>
            <a:endCxn id="9" idx="3"/>
          </p:cNvCxnSpPr>
          <p:nvPr/>
        </p:nvCxnSpPr>
        <p:spPr>
          <a:xfrm rot="5400000">
            <a:off x="8815769" y="2976282"/>
            <a:ext cx="1036561" cy="722796"/>
          </a:xfrm>
          <a:prstGeom prst="bentConnector2">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spTree>
    <p:extLst>
      <p:ext uri="{BB962C8B-B14F-4D97-AF65-F5344CB8AC3E}">
        <p14:creationId xmlns:p14="http://schemas.microsoft.com/office/powerpoint/2010/main" val="3445907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4224256510"/>
      </p:ext>
    </p:extLst>
  </p:cSld>
  <p:clrMapOvr>
    <a:masterClrMapping/>
  </p:clrMapOvr>
  <p:transition spd="slow"/>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593843216"/>
              </p:ext>
            </p:extLst>
          </p:nvPr>
        </p:nvGraphicFramePr>
        <p:xfrm>
          <a:off x="655638" y="1408113"/>
          <a:ext cx="10880725" cy="24780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3171822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fr-FR" dirty="0"/>
              <a:t>Lesson 5: SQL Server TempDB File Structure</a:t>
            </a:r>
            <a:endParaRPr lang="en-US" dirty="0"/>
          </a:p>
        </p:txBody>
      </p:sp>
    </p:spTree>
    <p:extLst>
      <p:ext uri="{BB962C8B-B14F-4D97-AF65-F5344CB8AC3E}">
        <p14:creationId xmlns:p14="http://schemas.microsoft.com/office/powerpoint/2010/main" val="80967904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the TempDB database structure. </a:t>
            </a:r>
          </a:p>
          <a:p>
            <a:r>
              <a:rPr lang="en-US" dirty="0"/>
              <a:t>Optimize TempDB database.</a:t>
            </a:r>
          </a:p>
          <a:p>
            <a:r>
              <a:rPr lang="en-US" dirty="0"/>
              <a:t>Use the newest improvements in SQL Server for TempDB database.</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47321886"/>
      </p:ext>
    </p:extLst>
  </p:cSld>
  <p:clrMapOvr>
    <a:masterClrMapping/>
  </p:clrMapOvr>
  <p:transition spd="slow"/>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655443-3A8B-474A-A0B6-27739179DE8F}"/>
              </a:ext>
            </a:extLst>
          </p:cNvPr>
          <p:cNvSpPr>
            <a:spLocks noGrp="1"/>
          </p:cNvSpPr>
          <p:nvPr>
            <p:ph type="title"/>
          </p:nvPr>
        </p:nvSpPr>
        <p:spPr/>
        <p:txBody>
          <a:bodyPr/>
          <a:lstStyle/>
          <a:p>
            <a:r>
              <a:rPr lang="en-US" dirty="0"/>
              <a:t>TempDB database</a:t>
            </a:r>
          </a:p>
        </p:txBody>
      </p:sp>
      <p:graphicFrame>
        <p:nvGraphicFramePr>
          <p:cNvPr id="5" name="Content Placeholder 4">
            <a:extLst>
              <a:ext uri="{FF2B5EF4-FFF2-40B4-BE49-F238E27FC236}">
                <a16:creationId xmlns:a16="http://schemas.microsoft.com/office/drawing/2014/main" id="{04CBBDA1-E1FB-4E16-BE17-7A07D75BC01B}"/>
              </a:ext>
            </a:extLst>
          </p:cNvPr>
          <p:cNvGraphicFramePr>
            <a:graphicFrameLocks noGrp="1"/>
          </p:cNvGraphicFramePr>
          <p:nvPr>
            <p:ph sz="quarter" idx="13"/>
            <p:extLst>
              <p:ext uri="{D42A27DB-BD31-4B8C-83A1-F6EECF244321}">
                <p14:modId xmlns:p14="http://schemas.microsoft.com/office/powerpoint/2010/main" val="884243576"/>
              </p:ext>
            </p:extLst>
          </p:nvPr>
        </p:nvGraphicFramePr>
        <p:xfrm>
          <a:off x="655638" y="1408113"/>
          <a:ext cx="10880725" cy="40431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180034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F1B8C-92DF-49A1-9556-51CAD9105FF9}"/>
              </a:ext>
            </a:extLst>
          </p:cNvPr>
          <p:cNvSpPr>
            <a:spLocks noGrp="1"/>
          </p:cNvSpPr>
          <p:nvPr>
            <p:ph type="title"/>
          </p:nvPr>
        </p:nvSpPr>
        <p:spPr/>
        <p:txBody>
          <a:bodyPr/>
          <a:lstStyle/>
          <a:p>
            <a:r>
              <a:rPr lang="en-US" dirty="0"/>
              <a:t>What is stored in TempDB?</a:t>
            </a:r>
          </a:p>
        </p:txBody>
      </p:sp>
      <p:graphicFrame>
        <p:nvGraphicFramePr>
          <p:cNvPr id="5" name="Content Placeholder 4">
            <a:extLst>
              <a:ext uri="{FF2B5EF4-FFF2-40B4-BE49-F238E27FC236}">
                <a16:creationId xmlns:a16="http://schemas.microsoft.com/office/drawing/2014/main" id="{E833510A-A091-4440-96D0-AFFAB6B3D994}"/>
              </a:ext>
            </a:extLst>
          </p:cNvPr>
          <p:cNvGraphicFramePr>
            <a:graphicFrameLocks noGrp="1"/>
          </p:cNvGraphicFramePr>
          <p:nvPr>
            <p:ph sz="quarter" idx="13"/>
            <p:extLst>
              <p:ext uri="{D42A27DB-BD31-4B8C-83A1-F6EECF244321}">
                <p14:modId xmlns:p14="http://schemas.microsoft.com/office/powerpoint/2010/main" val="2208210949"/>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312324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disk I/O patterns:</a:t>
            </a:r>
          </a:p>
        </p:txBody>
      </p:sp>
      <p:graphicFrame>
        <p:nvGraphicFramePr>
          <p:cNvPr id="5" name="Content Placeholder 4">
            <a:extLst>
              <a:ext uri="{FF2B5EF4-FFF2-40B4-BE49-F238E27FC236}">
                <a16:creationId xmlns:a16="http://schemas.microsoft.com/office/drawing/2014/main" id="{7BF6B113-9D4C-4D94-9A53-DD369DA9457A}"/>
              </a:ext>
            </a:extLst>
          </p:cNvPr>
          <p:cNvGraphicFramePr>
            <a:graphicFrameLocks noGrp="1"/>
          </p:cNvGraphicFramePr>
          <p:nvPr>
            <p:ph sz="quarter" idx="13"/>
            <p:extLst>
              <p:ext uri="{D42A27DB-BD31-4B8C-83A1-F6EECF244321}">
                <p14:modId xmlns:p14="http://schemas.microsoft.com/office/powerpoint/2010/main" val="3344251810"/>
              </p:ext>
            </p:extLst>
          </p:nvPr>
        </p:nvGraphicFramePr>
        <p:xfrm>
          <a:off x="655637" y="908492"/>
          <a:ext cx="10880726" cy="56294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5383072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8A72A-7AFE-4B76-9FFB-48312C3F9641}"/>
              </a:ext>
            </a:extLst>
          </p:cNvPr>
          <p:cNvSpPr>
            <a:spLocks noGrp="1"/>
          </p:cNvSpPr>
          <p:nvPr>
            <p:ph type="title"/>
          </p:nvPr>
        </p:nvSpPr>
        <p:spPr/>
        <p:txBody>
          <a:bodyPr/>
          <a:lstStyle/>
          <a:p>
            <a:r>
              <a:rPr lang="en-US" dirty="0"/>
              <a:t>Physical properties of TempDB</a:t>
            </a:r>
          </a:p>
        </p:txBody>
      </p:sp>
      <p:graphicFrame>
        <p:nvGraphicFramePr>
          <p:cNvPr id="5" name="Table 5">
            <a:extLst>
              <a:ext uri="{FF2B5EF4-FFF2-40B4-BE49-F238E27FC236}">
                <a16:creationId xmlns:a16="http://schemas.microsoft.com/office/drawing/2014/main" id="{EC86D27A-8B18-42B7-81D9-F0811600F100}"/>
              </a:ext>
            </a:extLst>
          </p:cNvPr>
          <p:cNvGraphicFramePr>
            <a:graphicFrameLocks noGrp="1"/>
          </p:cNvGraphicFramePr>
          <p:nvPr>
            <p:ph sz="quarter" idx="13"/>
            <p:extLst>
              <p:ext uri="{D42A27DB-BD31-4B8C-83A1-F6EECF244321}">
                <p14:modId xmlns:p14="http://schemas.microsoft.com/office/powerpoint/2010/main" val="3620413199"/>
              </p:ext>
            </p:extLst>
          </p:nvPr>
        </p:nvGraphicFramePr>
        <p:xfrm>
          <a:off x="655638" y="1408113"/>
          <a:ext cx="10880725" cy="2108200"/>
        </p:xfrm>
        <a:graphic>
          <a:graphicData uri="http://schemas.openxmlformats.org/drawingml/2006/table">
            <a:tbl>
              <a:tblPr firstRow="1" bandRow="1">
                <a:tableStyleId>{21E4AEA4-8DFA-4A89-87EB-49C32662AFE0}</a:tableStyleId>
              </a:tblPr>
              <a:tblGrid>
                <a:gridCol w="2316162">
                  <a:extLst>
                    <a:ext uri="{9D8B030D-6E8A-4147-A177-3AD203B41FA5}">
                      <a16:colId xmlns:a16="http://schemas.microsoft.com/office/drawing/2014/main" val="1021564575"/>
                    </a:ext>
                  </a:extLst>
                </a:gridCol>
                <a:gridCol w="2036128">
                  <a:extLst>
                    <a:ext uri="{9D8B030D-6E8A-4147-A177-3AD203B41FA5}">
                      <a16:colId xmlns:a16="http://schemas.microsoft.com/office/drawing/2014/main" val="2591972079"/>
                    </a:ext>
                  </a:extLst>
                </a:gridCol>
                <a:gridCol w="2176145">
                  <a:extLst>
                    <a:ext uri="{9D8B030D-6E8A-4147-A177-3AD203B41FA5}">
                      <a16:colId xmlns:a16="http://schemas.microsoft.com/office/drawing/2014/main" val="858435807"/>
                    </a:ext>
                  </a:extLst>
                </a:gridCol>
                <a:gridCol w="1426527">
                  <a:extLst>
                    <a:ext uri="{9D8B030D-6E8A-4147-A177-3AD203B41FA5}">
                      <a16:colId xmlns:a16="http://schemas.microsoft.com/office/drawing/2014/main" val="3744907020"/>
                    </a:ext>
                  </a:extLst>
                </a:gridCol>
                <a:gridCol w="2925763">
                  <a:extLst>
                    <a:ext uri="{9D8B030D-6E8A-4147-A177-3AD203B41FA5}">
                      <a16:colId xmlns:a16="http://schemas.microsoft.com/office/drawing/2014/main" val="3548802934"/>
                    </a:ext>
                  </a:extLst>
                </a:gridCol>
              </a:tblGrid>
              <a:tr h="370840">
                <a:tc>
                  <a:txBody>
                    <a:bodyPr/>
                    <a:lstStyle/>
                    <a:p>
                      <a:pPr algn="l" fontAlgn="b"/>
                      <a:r>
                        <a:rPr lang="en-US" sz="1600" dirty="0">
                          <a:effectLst/>
                        </a:rPr>
                        <a:t>File</a:t>
                      </a:r>
                    </a:p>
                  </a:txBody>
                  <a:tcPr anchor="b"/>
                </a:tc>
                <a:tc>
                  <a:txBody>
                    <a:bodyPr/>
                    <a:lstStyle/>
                    <a:p>
                      <a:pPr algn="l" fontAlgn="b"/>
                      <a:r>
                        <a:rPr lang="en-US" sz="1600" dirty="0">
                          <a:effectLst/>
                        </a:rPr>
                        <a:t>Logical name</a:t>
                      </a:r>
                    </a:p>
                  </a:txBody>
                  <a:tcPr anchor="b"/>
                </a:tc>
                <a:tc>
                  <a:txBody>
                    <a:bodyPr/>
                    <a:lstStyle/>
                    <a:p>
                      <a:pPr algn="l" fontAlgn="b"/>
                      <a:r>
                        <a:rPr lang="en-US" sz="1600" dirty="0">
                          <a:effectLst/>
                        </a:rPr>
                        <a:t>Physical name</a:t>
                      </a:r>
                    </a:p>
                  </a:txBody>
                  <a:tcPr anchor="b"/>
                </a:tc>
                <a:tc>
                  <a:txBody>
                    <a:bodyPr/>
                    <a:lstStyle/>
                    <a:p>
                      <a:pPr algn="l" fontAlgn="b"/>
                      <a:r>
                        <a:rPr lang="en-US" sz="1600" dirty="0">
                          <a:effectLst/>
                        </a:rPr>
                        <a:t>Initial size</a:t>
                      </a:r>
                    </a:p>
                  </a:txBody>
                  <a:tcPr anchor="b"/>
                </a:tc>
                <a:tc>
                  <a:txBody>
                    <a:bodyPr/>
                    <a:lstStyle/>
                    <a:p>
                      <a:pPr algn="l" fontAlgn="b"/>
                      <a:r>
                        <a:rPr lang="en-US" sz="1600" dirty="0">
                          <a:effectLst/>
                        </a:rPr>
                        <a:t>File growth</a:t>
                      </a:r>
                    </a:p>
                  </a:txBody>
                  <a:tcPr anchor="b"/>
                </a:tc>
                <a:extLst>
                  <a:ext uri="{0D108BD9-81ED-4DB2-BD59-A6C34878D82A}">
                    <a16:rowId xmlns:a16="http://schemas.microsoft.com/office/drawing/2014/main" val="1476935914"/>
                  </a:ext>
                </a:extLst>
              </a:tr>
              <a:tr h="370840">
                <a:tc>
                  <a:txBody>
                    <a:bodyPr/>
                    <a:lstStyle/>
                    <a:p>
                      <a:pPr algn="l" fontAlgn="t"/>
                      <a:r>
                        <a:rPr lang="en-US" sz="1600" dirty="0">
                          <a:effectLst/>
                        </a:rPr>
                        <a:t>Primary data</a:t>
                      </a:r>
                    </a:p>
                  </a:txBody>
                  <a:tcPr/>
                </a:tc>
                <a:tc>
                  <a:txBody>
                    <a:bodyPr/>
                    <a:lstStyle/>
                    <a:p>
                      <a:pPr algn="l" fontAlgn="t"/>
                      <a:r>
                        <a:rPr lang="en-US" sz="1600" dirty="0">
                          <a:effectLst/>
                        </a:rPr>
                        <a:t>tempdev</a:t>
                      </a:r>
                    </a:p>
                  </a:txBody>
                  <a:tcPr/>
                </a:tc>
                <a:tc>
                  <a:txBody>
                    <a:bodyPr/>
                    <a:lstStyle/>
                    <a:p>
                      <a:pPr algn="l" fontAlgn="t"/>
                      <a:r>
                        <a:rPr lang="en-US" sz="1600" dirty="0">
                          <a:effectLst/>
                        </a:rPr>
                        <a:t>tempdb.mdf</a:t>
                      </a:r>
                    </a:p>
                  </a:txBody>
                  <a:tcPr/>
                </a:tc>
                <a:tc>
                  <a:txBody>
                    <a:bodyPr/>
                    <a:lstStyle/>
                    <a:p>
                      <a:pPr algn="l" fontAlgn="t"/>
                      <a:r>
                        <a:rPr lang="en-US" sz="1600" dirty="0">
                          <a:effectLst/>
                        </a:rPr>
                        <a:t>8 MB</a:t>
                      </a:r>
                    </a:p>
                  </a:txBody>
                  <a:tcPr/>
                </a:tc>
                <a:tc>
                  <a:txBody>
                    <a:bodyPr/>
                    <a:lstStyle/>
                    <a:p>
                      <a:pPr algn="l" fontAlgn="t"/>
                      <a:r>
                        <a:rPr lang="en-US" sz="1600" dirty="0">
                          <a:effectLst/>
                        </a:rPr>
                        <a:t>Autogrow by 64 MB until the disk is full</a:t>
                      </a:r>
                    </a:p>
                  </a:txBody>
                  <a:tcPr/>
                </a:tc>
                <a:extLst>
                  <a:ext uri="{0D108BD9-81ED-4DB2-BD59-A6C34878D82A}">
                    <a16:rowId xmlns:a16="http://schemas.microsoft.com/office/drawing/2014/main" val="2165099268"/>
                  </a:ext>
                </a:extLst>
              </a:tr>
              <a:tr h="370840">
                <a:tc>
                  <a:txBody>
                    <a:bodyPr/>
                    <a:lstStyle/>
                    <a:p>
                      <a:pPr algn="l" fontAlgn="t"/>
                      <a:r>
                        <a:rPr lang="en-US" sz="1600" dirty="0">
                          <a:effectLst/>
                        </a:rPr>
                        <a:t>Secondary data files</a:t>
                      </a:r>
                      <a:r>
                        <a:rPr lang="en-US" sz="1600" b="1" dirty="0">
                          <a:effectLst/>
                        </a:rPr>
                        <a:t>*</a:t>
                      </a:r>
                    </a:p>
                  </a:txBody>
                  <a:tcPr/>
                </a:tc>
                <a:tc>
                  <a:txBody>
                    <a:bodyPr/>
                    <a:lstStyle/>
                    <a:p>
                      <a:pPr algn="l" fontAlgn="t"/>
                      <a:r>
                        <a:rPr lang="en-US" sz="1600" dirty="0">
                          <a:effectLst/>
                        </a:rPr>
                        <a:t>temp#</a:t>
                      </a:r>
                    </a:p>
                  </a:txBody>
                  <a:tcPr/>
                </a:tc>
                <a:tc>
                  <a:txBody>
                    <a:bodyPr/>
                    <a:lstStyle/>
                    <a:p>
                      <a:pPr algn="l" fontAlgn="t"/>
                      <a:r>
                        <a:rPr lang="en-US" sz="1600" dirty="0">
                          <a:effectLst/>
                        </a:rPr>
                        <a:t>tempdb_mssql_#.ndf</a:t>
                      </a:r>
                    </a:p>
                  </a:txBody>
                  <a:tcPr/>
                </a:tc>
                <a:tc>
                  <a:txBody>
                    <a:bodyPr/>
                    <a:lstStyle/>
                    <a:p>
                      <a:pPr algn="l" fontAlgn="t"/>
                      <a:r>
                        <a:rPr lang="en-US" sz="1600" dirty="0">
                          <a:effectLst/>
                        </a:rPr>
                        <a:t>8 MB</a:t>
                      </a:r>
                    </a:p>
                  </a:txBody>
                  <a:tcPr/>
                </a:tc>
                <a:tc>
                  <a:txBody>
                    <a:bodyPr/>
                    <a:lstStyle/>
                    <a:p>
                      <a:pPr algn="l" fontAlgn="t"/>
                      <a:r>
                        <a:rPr lang="en-US" sz="1600" dirty="0">
                          <a:effectLst/>
                        </a:rPr>
                        <a:t>Autogrow by 64 MB until the disk is full</a:t>
                      </a:r>
                    </a:p>
                  </a:txBody>
                  <a:tcPr/>
                </a:tc>
                <a:extLst>
                  <a:ext uri="{0D108BD9-81ED-4DB2-BD59-A6C34878D82A}">
                    <a16:rowId xmlns:a16="http://schemas.microsoft.com/office/drawing/2014/main" val="1498157959"/>
                  </a:ext>
                </a:extLst>
              </a:tr>
              <a:tr h="370840">
                <a:tc>
                  <a:txBody>
                    <a:bodyPr/>
                    <a:lstStyle/>
                    <a:p>
                      <a:pPr algn="l" fontAlgn="t"/>
                      <a:r>
                        <a:rPr lang="en-US" sz="1600" dirty="0">
                          <a:effectLst/>
                        </a:rPr>
                        <a:t>Log</a:t>
                      </a:r>
                    </a:p>
                  </a:txBody>
                  <a:tcPr/>
                </a:tc>
                <a:tc>
                  <a:txBody>
                    <a:bodyPr/>
                    <a:lstStyle/>
                    <a:p>
                      <a:pPr algn="l" fontAlgn="t"/>
                      <a:r>
                        <a:rPr lang="en-US" sz="1600" dirty="0">
                          <a:effectLst/>
                        </a:rPr>
                        <a:t>templog</a:t>
                      </a:r>
                    </a:p>
                  </a:txBody>
                  <a:tcPr/>
                </a:tc>
                <a:tc>
                  <a:txBody>
                    <a:bodyPr/>
                    <a:lstStyle/>
                    <a:p>
                      <a:pPr algn="l" fontAlgn="t"/>
                      <a:r>
                        <a:rPr lang="en-US" sz="1600" dirty="0">
                          <a:effectLst/>
                        </a:rPr>
                        <a:t>templog.ldf</a:t>
                      </a:r>
                    </a:p>
                  </a:txBody>
                  <a:tcPr/>
                </a:tc>
                <a:tc>
                  <a:txBody>
                    <a:bodyPr/>
                    <a:lstStyle/>
                    <a:p>
                      <a:pPr algn="l" fontAlgn="t"/>
                      <a:r>
                        <a:rPr lang="en-US" sz="1600" dirty="0">
                          <a:effectLst/>
                        </a:rPr>
                        <a:t>8 MB</a:t>
                      </a:r>
                    </a:p>
                  </a:txBody>
                  <a:tcPr/>
                </a:tc>
                <a:tc>
                  <a:txBody>
                    <a:bodyPr/>
                    <a:lstStyle/>
                    <a:p>
                      <a:pPr algn="l" fontAlgn="t"/>
                      <a:r>
                        <a:rPr lang="en-US" sz="1600" dirty="0">
                          <a:effectLst/>
                        </a:rPr>
                        <a:t>Autogrow by 64 megabytes to a maximum of 2 terabytes</a:t>
                      </a:r>
                    </a:p>
                  </a:txBody>
                  <a:tcPr/>
                </a:tc>
                <a:extLst>
                  <a:ext uri="{0D108BD9-81ED-4DB2-BD59-A6C34878D82A}">
                    <a16:rowId xmlns:a16="http://schemas.microsoft.com/office/drawing/2014/main" val="1064614546"/>
                  </a:ext>
                </a:extLst>
              </a:tr>
            </a:tbl>
          </a:graphicData>
        </a:graphic>
      </p:graphicFrame>
      <p:graphicFrame>
        <p:nvGraphicFramePr>
          <p:cNvPr id="8" name="Diagram 7">
            <a:extLst>
              <a:ext uri="{FF2B5EF4-FFF2-40B4-BE49-F238E27FC236}">
                <a16:creationId xmlns:a16="http://schemas.microsoft.com/office/drawing/2014/main" id="{A7EE6CFF-945F-43A0-998B-B11DE045A313}"/>
              </a:ext>
            </a:extLst>
          </p:cNvPr>
          <p:cNvGraphicFramePr/>
          <p:nvPr>
            <p:extLst>
              <p:ext uri="{D42A27DB-BD31-4B8C-83A1-F6EECF244321}">
                <p14:modId xmlns:p14="http://schemas.microsoft.com/office/powerpoint/2010/main" val="3702866333"/>
              </p:ext>
            </p:extLst>
          </p:nvPr>
        </p:nvGraphicFramePr>
        <p:xfrm>
          <a:off x="655637" y="3931202"/>
          <a:ext cx="10880725" cy="26928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6315325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2BA8D-B686-4596-A141-0D96C54F1F26}"/>
              </a:ext>
            </a:extLst>
          </p:cNvPr>
          <p:cNvSpPr>
            <a:spLocks noGrp="1"/>
          </p:cNvSpPr>
          <p:nvPr>
            <p:ph type="title"/>
          </p:nvPr>
        </p:nvSpPr>
        <p:spPr/>
        <p:txBody>
          <a:bodyPr/>
          <a:lstStyle/>
          <a:p>
            <a:r>
              <a:rPr lang="en-US" dirty="0"/>
              <a:t>Optimizing TempDB performance</a:t>
            </a:r>
          </a:p>
        </p:txBody>
      </p:sp>
      <p:graphicFrame>
        <p:nvGraphicFramePr>
          <p:cNvPr id="5" name="Content Placeholder 4">
            <a:extLst>
              <a:ext uri="{FF2B5EF4-FFF2-40B4-BE49-F238E27FC236}">
                <a16:creationId xmlns:a16="http://schemas.microsoft.com/office/drawing/2014/main" id="{E2091831-A0CF-4E08-8116-37E2BBC99DB7}"/>
              </a:ext>
            </a:extLst>
          </p:cNvPr>
          <p:cNvGraphicFramePr>
            <a:graphicFrameLocks noGrp="1"/>
          </p:cNvGraphicFramePr>
          <p:nvPr>
            <p:ph sz="quarter" idx="13"/>
            <p:extLst>
              <p:ext uri="{D42A27DB-BD31-4B8C-83A1-F6EECF244321}">
                <p14:modId xmlns:p14="http://schemas.microsoft.com/office/powerpoint/2010/main" val="1066304908"/>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4735939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11247-9F89-41BF-9833-A4CE5410B71D}"/>
              </a:ext>
            </a:extLst>
          </p:cNvPr>
          <p:cNvSpPr>
            <a:spLocks noGrp="1"/>
          </p:cNvSpPr>
          <p:nvPr>
            <p:ph type="title"/>
          </p:nvPr>
        </p:nvSpPr>
        <p:spPr/>
        <p:txBody>
          <a:bodyPr/>
          <a:lstStyle/>
          <a:p>
            <a:r>
              <a:rPr lang="en-US" b="1" dirty="0"/>
              <a:t>Performance improvements in TempDB</a:t>
            </a:r>
          </a:p>
        </p:txBody>
      </p:sp>
      <p:sp>
        <p:nvSpPr>
          <p:cNvPr id="3" name="Subtitle 2">
            <a:extLst>
              <a:ext uri="{FF2B5EF4-FFF2-40B4-BE49-F238E27FC236}">
                <a16:creationId xmlns:a16="http://schemas.microsoft.com/office/drawing/2014/main" id="{D36BB783-07B8-4AD0-A639-C2D9266F6456}"/>
              </a:ext>
            </a:extLst>
          </p:cNvPr>
          <p:cNvSpPr>
            <a:spLocks noGrp="1"/>
          </p:cNvSpPr>
          <p:nvPr>
            <p:ph type="subTitle" idx="1"/>
          </p:nvPr>
        </p:nvSpPr>
        <p:spPr/>
        <p:txBody>
          <a:bodyPr/>
          <a:lstStyle/>
          <a:p>
            <a:r>
              <a:rPr lang="en-US" dirty="0"/>
              <a:t>Starting with SQL Server 2016 (13.x)</a:t>
            </a:r>
          </a:p>
        </p:txBody>
      </p:sp>
      <p:graphicFrame>
        <p:nvGraphicFramePr>
          <p:cNvPr id="8" name="Content Placeholder 7">
            <a:extLst>
              <a:ext uri="{FF2B5EF4-FFF2-40B4-BE49-F238E27FC236}">
                <a16:creationId xmlns:a16="http://schemas.microsoft.com/office/drawing/2014/main" id="{CCC48916-0DD2-4211-871E-6E8C9B800B6E}"/>
              </a:ext>
            </a:extLst>
          </p:cNvPr>
          <p:cNvGraphicFramePr>
            <a:graphicFrameLocks noGrp="1"/>
          </p:cNvGraphicFramePr>
          <p:nvPr>
            <p:ph sz="quarter" idx="13"/>
            <p:extLst>
              <p:ext uri="{D42A27DB-BD31-4B8C-83A1-F6EECF244321}">
                <p14:modId xmlns:p14="http://schemas.microsoft.com/office/powerpoint/2010/main" val="2556580894"/>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5349172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DF63D-FDEA-4537-9B4D-DBBC3291D3A4}"/>
              </a:ext>
            </a:extLst>
          </p:cNvPr>
          <p:cNvSpPr>
            <a:spLocks noGrp="1"/>
          </p:cNvSpPr>
          <p:nvPr>
            <p:ph type="title"/>
          </p:nvPr>
        </p:nvSpPr>
        <p:spPr/>
        <p:txBody>
          <a:bodyPr/>
          <a:lstStyle/>
          <a:p>
            <a:r>
              <a:rPr lang="en-US" dirty="0"/>
              <a:t>Performance improvements in TempDB</a:t>
            </a:r>
          </a:p>
        </p:txBody>
      </p:sp>
      <p:sp>
        <p:nvSpPr>
          <p:cNvPr id="7" name="Subtitle 6">
            <a:extLst>
              <a:ext uri="{FF2B5EF4-FFF2-40B4-BE49-F238E27FC236}">
                <a16:creationId xmlns:a16="http://schemas.microsoft.com/office/drawing/2014/main" id="{F6D3F754-0871-4375-8912-DC5691AF18CB}"/>
              </a:ext>
            </a:extLst>
          </p:cNvPr>
          <p:cNvSpPr>
            <a:spLocks noGrp="1"/>
          </p:cNvSpPr>
          <p:nvPr>
            <p:ph type="subTitle" idx="1"/>
          </p:nvPr>
        </p:nvSpPr>
        <p:spPr/>
        <p:txBody>
          <a:bodyPr/>
          <a:lstStyle/>
          <a:p>
            <a:r>
              <a:rPr lang="en-US" dirty="0"/>
              <a:t>Starting with SQL Server 2016 (13.x)</a:t>
            </a:r>
          </a:p>
        </p:txBody>
      </p:sp>
      <p:sp>
        <p:nvSpPr>
          <p:cNvPr id="4" name="Content Placeholder 3">
            <a:extLst>
              <a:ext uri="{FF2B5EF4-FFF2-40B4-BE49-F238E27FC236}">
                <a16:creationId xmlns:a16="http://schemas.microsoft.com/office/drawing/2014/main" id="{04377342-784F-4985-84B3-67FB3795FB37}"/>
              </a:ext>
            </a:extLst>
          </p:cNvPr>
          <p:cNvSpPr>
            <a:spLocks noGrp="1"/>
          </p:cNvSpPr>
          <p:nvPr>
            <p:ph sz="quarter" idx="13"/>
          </p:nvPr>
        </p:nvSpPr>
        <p:spPr>
          <a:xfrm>
            <a:off x="655638" y="2207172"/>
            <a:ext cx="4959716" cy="4020592"/>
          </a:xfrm>
        </p:spPr>
        <p:txBody>
          <a:bodyPr>
            <a:normAutofit/>
          </a:bodyPr>
          <a:lstStyle/>
          <a:p>
            <a:r>
              <a:rPr lang="en-US" dirty="0"/>
              <a:t>Setup adds multiple TempDB data files during instance installation. </a:t>
            </a:r>
          </a:p>
          <a:p>
            <a:r>
              <a:rPr lang="en-US" dirty="0"/>
              <a:t>By default, setup adds as many TempDB data files as the logical processor count or eight, whichever is lower.</a:t>
            </a:r>
          </a:p>
        </p:txBody>
      </p:sp>
      <p:pic>
        <p:nvPicPr>
          <p:cNvPr id="6" name="Picture 1" descr="image001">
            <a:extLst>
              <a:ext uri="{FF2B5EF4-FFF2-40B4-BE49-F238E27FC236}">
                <a16:creationId xmlns:a16="http://schemas.microsoft.com/office/drawing/2014/main" id="{1C9FB71D-4A80-4272-BD4C-C7FA4A461F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40696" y="1548791"/>
            <a:ext cx="5695666" cy="4298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6743204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11247-9F89-41BF-9833-A4CE5410B71D}"/>
              </a:ext>
            </a:extLst>
          </p:cNvPr>
          <p:cNvSpPr>
            <a:spLocks noGrp="1"/>
          </p:cNvSpPr>
          <p:nvPr>
            <p:ph type="title"/>
          </p:nvPr>
        </p:nvSpPr>
        <p:spPr/>
        <p:txBody>
          <a:bodyPr/>
          <a:lstStyle/>
          <a:p>
            <a:r>
              <a:rPr lang="en-US" b="1" dirty="0"/>
              <a:t>Performance improvements in TempDB</a:t>
            </a:r>
          </a:p>
        </p:txBody>
      </p:sp>
      <p:sp>
        <p:nvSpPr>
          <p:cNvPr id="7" name="Subtitle 6">
            <a:extLst>
              <a:ext uri="{FF2B5EF4-FFF2-40B4-BE49-F238E27FC236}">
                <a16:creationId xmlns:a16="http://schemas.microsoft.com/office/drawing/2014/main" id="{39A82CB2-47A7-406B-916A-C228ECD5EC71}"/>
              </a:ext>
            </a:extLst>
          </p:cNvPr>
          <p:cNvSpPr>
            <a:spLocks noGrp="1"/>
          </p:cNvSpPr>
          <p:nvPr>
            <p:ph type="subTitle" idx="1"/>
          </p:nvPr>
        </p:nvSpPr>
        <p:spPr/>
        <p:txBody>
          <a:bodyPr/>
          <a:lstStyle/>
          <a:p>
            <a:r>
              <a:rPr lang="en-US" dirty="0"/>
              <a:t>Starting with SQL Server 2019 (15.x)</a:t>
            </a:r>
          </a:p>
        </p:txBody>
      </p:sp>
      <p:graphicFrame>
        <p:nvGraphicFramePr>
          <p:cNvPr id="6" name="Diagram 5">
            <a:extLst>
              <a:ext uri="{FF2B5EF4-FFF2-40B4-BE49-F238E27FC236}">
                <a16:creationId xmlns:a16="http://schemas.microsoft.com/office/drawing/2014/main" id="{301F672D-67ED-4604-BB6A-C9620676B49E}"/>
              </a:ext>
            </a:extLst>
          </p:cNvPr>
          <p:cNvGraphicFramePr/>
          <p:nvPr>
            <p:extLst>
              <p:ext uri="{D42A27DB-BD31-4B8C-83A1-F6EECF244321}">
                <p14:modId xmlns:p14="http://schemas.microsoft.com/office/powerpoint/2010/main" val="2552493386"/>
              </p:ext>
            </p:extLst>
          </p:nvPr>
        </p:nvGraphicFramePr>
        <p:xfrm>
          <a:off x="647169" y="1408114"/>
          <a:ext cx="10554231" cy="20208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9E381663-C143-481A-950A-70B4E6335EC4}"/>
              </a:ext>
            </a:extLst>
          </p:cNvPr>
          <p:cNvSpPr txBox="1"/>
          <p:nvPr/>
        </p:nvSpPr>
        <p:spPr>
          <a:xfrm>
            <a:off x="2712720" y="4055409"/>
            <a:ext cx="7863840" cy="307777"/>
          </a:xfrm>
          <a:prstGeom prst="rect">
            <a:avLst/>
          </a:prstGeom>
          <a:noFill/>
        </p:spPr>
        <p:txBody>
          <a:bodyPr wrap="square" lIns="0" tIns="0" rIns="0" bIns="0" rtlCol="0">
            <a:spAutoFit/>
          </a:bodyPr>
          <a:lstStyle/>
          <a:p>
            <a:pPr algn="l"/>
            <a:r>
              <a:rPr lang="en-US" sz="2000" b="1" i="0" dirty="0">
                <a:solidFill>
                  <a:srgbClr val="333333"/>
                </a:solidFill>
                <a:effectLst/>
                <a:latin typeface="SegoeUI"/>
                <a:hlinkClick r:id="rId8"/>
              </a:rPr>
              <a:t>TEMPDB Files, Trace Flags, and Updates</a:t>
            </a:r>
            <a:r>
              <a:rPr lang="en-US" sz="2000" b="1" dirty="0">
                <a:solidFill>
                  <a:srgbClr val="333333"/>
                </a:solidFill>
                <a:latin typeface="SegoeUI"/>
                <a:hlinkClick r:id="rId8"/>
              </a:rPr>
              <a:t> by Pam </a:t>
            </a:r>
            <a:r>
              <a:rPr lang="en-US" sz="2000" b="1" dirty="0" err="1">
                <a:solidFill>
                  <a:srgbClr val="333333"/>
                </a:solidFill>
                <a:latin typeface="SegoeUI"/>
                <a:hlinkClick r:id="rId8"/>
              </a:rPr>
              <a:t>Lahoud</a:t>
            </a:r>
            <a:endParaRPr lang="en-US" sz="2000" b="1" i="0" dirty="0">
              <a:solidFill>
                <a:srgbClr val="333333"/>
              </a:solidFill>
              <a:effectLst/>
              <a:latin typeface="SegoeUI"/>
            </a:endParaRPr>
          </a:p>
        </p:txBody>
      </p:sp>
      <p:sp>
        <p:nvSpPr>
          <p:cNvPr id="4" name="TextBox 3">
            <a:extLst>
              <a:ext uri="{FF2B5EF4-FFF2-40B4-BE49-F238E27FC236}">
                <a16:creationId xmlns:a16="http://schemas.microsoft.com/office/drawing/2014/main" id="{963DE041-FF0E-46A2-83B3-A35E71889FEA}"/>
              </a:ext>
            </a:extLst>
          </p:cNvPr>
          <p:cNvSpPr txBox="1"/>
          <p:nvPr/>
        </p:nvSpPr>
        <p:spPr>
          <a:xfrm>
            <a:off x="3210560" y="4600991"/>
            <a:ext cx="6888480" cy="307777"/>
          </a:xfrm>
          <a:prstGeom prst="rect">
            <a:avLst/>
          </a:prstGeom>
          <a:noFill/>
        </p:spPr>
        <p:txBody>
          <a:bodyPr wrap="square" lIns="0" tIns="0" rIns="0" bIns="0" rtlCol="0">
            <a:spAutoFit/>
          </a:bodyPr>
          <a:lstStyle/>
          <a:p>
            <a:r>
              <a:rPr lang="en-US" sz="2000" b="1" i="0" dirty="0">
                <a:effectLst/>
                <a:latin typeface="Roboto" panose="02000000000000000000" pitchFamily="2" charset="0"/>
                <a:hlinkClick r:id="rId9"/>
              </a:rPr>
              <a:t>How (and When) To: Memory Optimized TempDB</a:t>
            </a:r>
            <a:endParaRPr lang="en-US" sz="2000" b="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19726108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C36D3-A394-47C0-B9C4-01C6A7160087}"/>
              </a:ext>
            </a:extLst>
          </p:cNvPr>
          <p:cNvSpPr>
            <a:spLocks noGrp="1"/>
          </p:cNvSpPr>
          <p:nvPr>
            <p:ph type="title"/>
          </p:nvPr>
        </p:nvSpPr>
        <p:spPr/>
        <p:txBody>
          <a:bodyPr/>
          <a:lstStyle/>
          <a:p>
            <a:r>
              <a:rPr lang="en-US" dirty="0"/>
              <a:t>Concurrent PFS updates</a:t>
            </a:r>
            <a:br>
              <a:rPr lang="en-US" dirty="0"/>
            </a:br>
            <a:endParaRPr lang="en-US" dirty="0"/>
          </a:p>
        </p:txBody>
      </p:sp>
      <p:sp>
        <p:nvSpPr>
          <p:cNvPr id="3" name="Subtitle 2">
            <a:extLst>
              <a:ext uri="{FF2B5EF4-FFF2-40B4-BE49-F238E27FC236}">
                <a16:creationId xmlns:a16="http://schemas.microsoft.com/office/drawing/2014/main" id="{B9A5ABA0-0A95-4736-876E-E3E1F85B156E}"/>
              </a:ext>
            </a:extLst>
          </p:cNvPr>
          <p:cNvSpPr>
            <a:spLocks noGrp="1"/>
          </p:cNvSpPr>
          <p:nvPr>
            <p:ph type="subTitle" idx="1"/>
          </p:nvPr>
        </p:nvSpPr>
        <p:spPr/>
        <p:txBody>
          <a:bodyPr/>
          <a:lstStyle/>
          <a:p>
            <a:r>
              <a:rPr lang="en-US" dirty="0"/>
              <a:t>Starting with SQL Server 2019 (15.x)</a:t>
            </a:r>
          </a:p>
        </p:txBody>
      </p:sp>
      <p:sp>
        <p:nvSpPr>
          <p:cNvPr id="4" name="Content Placeholder 3">
            <a:extLst>
              <a:ext uri="{FF2B5EF4-FFF2-40B4-BE49-F238E27FC236}">
                <a16:creationId xmlns:a16="http://schemas.microsoft.com/office/drawing/2014/main" id="{DE5845F6-B68B-429D-B0C2-353CF2015E97}"/>
              </a:ext>
            </a:extLst>
          </p:cNvPr>
          <p:cNvSpPr>
            <a:spLocks noGrp="1"/>
          </p:cNvSpPr>
          <p:nvPr>
            <p:ph sz="quarter" idx="13"/>
          </p:nvPr>
        </p:nvSpPr>
        <p:spPr/>
        <p:txBody>
          <a:bodyPr>
            <a:normAutofit/>
          </a:bodyPr>
          <a:lstStyle/>
          <a:p>
            <a:pPr marL="0" indent="0">
              <a:buNone/>
            </a:pPr>
            <a:r>
              <a:rPr lang="en-US" dirty="0"/>
              <a:t>New algorithm to round robin between files, and between PFS pages within the files.</a:t>
            </a:r>
          </a:p>
          <a:p>
            <a:endParaRPr lang="en-US" dirty="0"/>
          </a:p>
          <a:p>
            <a:endParaRPr lang="en-US" dirty="0"/>
          </a:p>
        </p:txBody>
      </p:sp>
      <p:pic>
        <p:nvPicPr>
          <p:cNvPr id="3074" name="Picture 2">
            <a:extLst>
              <a:ext uri="{FF2B5EF4-FFF2-40B4-BE49-F238E27FC236}">
                <a16:creationId xmlns:a16="http://schemas.microsoft.com/office/drawing/2014/main" id="{08942DD5-B42D-40A5-B37D-D4872B562A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23517" y="2345231"/>
            <a:ext cx="4349561" cy="341404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Diagram 5">
            <a:extLst>
              <a:ext uri="{FF2B5EF4-FFF2-40B4-BE49-F238E27FC236}">
                <a16:creationId xmlns:a16="http://schemas.microsoft.com/office/drawing/2014/main" id="{C3B01580-9A0F-4A26-9DD9-8F1D2DFA6B4E}"/>
              </a:ext>
            </a:extLst>
          </p:cNvPr>
          <p:cNvGraphicFramePr/>
          <p:nvPr>
            <p:extLst>
              <p:ext uri="{D42A27DB-BD31-4B8C-83A1-F6EECF244321}">
                <p14:modId xmlns:p14="http://schemas.microsoft.com/office/powerpoint/2010/main" val="1250671918"/>
              </p:ext>
            </p:extLst>
          </p:nvPr>
        </p:nvGraphicFramePr>
        <p:xfrm>
          <a:off x="655637" y="6204641"/>
          <a:ext cx="11085324" cy="41274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Arrow: Curved Left 4">
            <a:extLst>
              <a:ext uri="{FF2B5EF4-FFF2-40B4-BE49-F238E27FC236}">
                <a16:creationId xmlns:a16="http://schemas.microsoft.com/office/drawing/2014/main" id="{199C1D37-45CD-4CA5-BFDE-01F2B71C9D97}"/>
              </a:ext>
            </a:extLst>
          </p:cNvPr>
          <p:cNvSpPr/>
          <p:nvPr/>
        </p:nvSpPr>
        <p:spPr bwMode="auto">
          <a:xfrm>
            <a:off x="4875387" y="3055896"/>
            <a:ext cx="230012" cy="1253156"/>
          </a:xfrm>
          <a:custGeom>
            <a:avLst/>
            <a:gdLst>
              <a:gd name="connsiteX0" fmla="*/ 0 w 218137"/>
              <a:gd name="connsiteY0" fmla="*/ 1193386 h 1247920"/>
              <a:gd name="connsiteX1" fmla="*/ 54534 w 218137"/>
              <a:gd name="connsiteY1" fmla="*/ 1120337 h 1247920"/>
              <a:gd name="connsiteX2" fmla="*/ 54534 w 218137"/>
              <a:gd name="connsiteY2" fmla="*/ 1147604 h 1247920"/>
              <a:gd name="connsiteX3" fmla="*/ 217898 w 218137"/>
              <a:gd name="connsiteY3" fmla="*/ 610327 h 1247920"/>
              <a:gd name="connsiteX4" fmla="*/ 208968 w 218137"/>
              <a:gd name="connsiteY4" fmla="*/ 804859 h 1247920"/>
              <a:gd name="connsiteX5" fmla="*/ 54534 w 218137"/>
              <a:gd name="connsiteY5" fmla="*/ 1202139 h 1247920"/>
              <a:gd name="connsiteX6" fmla="*/ 54534 w 218137"/>
              <a:gd name="connsiteY6" fmla="*/ 1229405 h 1247920"/>
              <a:gd name="connsiteX7" fmla="*/ 0 w 218137"/>
              <a:gd name="connsiteY7" fmla="*/ 1193386 h 1247920"/>
              <a:gd name="connsiteX0" fmla="*/ 218137 w 218137"/>
              <a:gd name="connsiteY0" fmla="*/ 637594 h 1247920"/>
              <a:gd name="connsiteX1" fmla="*/ 0 w 218137"/>
              <a:gd name="connsiteY1" fmla="*/ 54535 h 1247920"/>
              <a:gd name="connsiteX2" fmla="*/ 0 w 218137"/>
              <a:gd name="connsiteY2" fmla="*/ 0 h 1247920"/>
              <a:gd name="connsiteX3" fmla="*/ 218137 w 218137"/>
              <a:gd name="connsiteY3" fmla="*/ 583059 h 1247920"/>
              <a:gd name="connsiteX4" fmla="*/ 218137 w 218137"/>
              <a:gd name="connsiteY4" fmla="*/ 637594 h 1247920"/>
              <a:gd name="connsiteX0" fmla="*/ 218137 w 218137"/>
              <a:gd name="connsiteY0" fmla="*/ 637594 h 1247920"/>
              <a:gd name="connsiteX1" fmla="*/ 0 w 218137"/>
              <a:gd name="connsiteY1" fmla="*/ 54535 h 1247920"/>
              <a:gd name="connsiteX2" fmla="*/ 0 w 218137"/>
              <a:gd name="connsiteY2" fmla="*/ 0 h 1247920"/>
              <a:gd name="connsiteX3" fmla="*/ 218137 w 218137"/>
              <a:gd name="connsiteY3" fmla="*/ 583059 h 1247920"/>
              <a:gd name="connsiteX4" fmla="*/ 218137 w 218137"/>
              <a:gd name="connsiteY4" fmla="*/ 637594 h 1247920"/>
              <a:gd name="connsiteX5" fmla="*/ 54534 w 218137"/>
              <a:gd name="connsiteY5" fmla="*/ 1202139 h 1247920"/>
              <a:gd name="connsiteX6" fmla="*/ 54534 w 218137"/>
              <a:gd name="connsiteY6" fmla="*/ 1229405 h 1247920"/>
              <a:gd name="connsiteX7" fmla="*/ 0 w 218137"/>
              <a:gd name="connsiteY7" fmla="*/ 1193386 h 1247920"/>
              <a:gd name="connsiteX8" fmla="*/ 54534 w 218137"/>
              <a:gd name="connsiteY8" fmla="*/ 1120337 h 1247920"/>
              <a:gd name="connsiteX9" fmla="*/ 54534 w 218137"/>
              <a:gd name="connsiteY9" fmla="*/ 1147604 h 1247920"/>
              <a:gd name="connsiteX10" fmla="*/ 217898 w 218137"/>
              <a:gd name="connsiteY10" fmla="*/ 610327 h 1247920"/>
              <a:gd name="connsiteX0" fmla="*/ 11875 w 230012"/>
              <a:gd name="connsiteY0" fmla="*/ 1217137 h 1253156"/>
              <a:gd name="connsiteX1" fmla="*/ 66409 w 230012"/>
              <a:gd name="connsiteY1" fmla="*/ 1144088 h 1253156"/>
              <a:gd name="connsiteX2" fmla="*/ 66409 w 230012"/>
              <a:gd name="connsiteY2" fmla="*/ 1171355 h 1253156"/>
              <a:gd name="connsiteX3" fmla="*/ 229773 w 230012"/>
              <a:gd name="connsiteY3" fmla="*/ 634078 h 1253156"/>
              <a:gd name="connsiteX4" fmla="*/ 220843 w 230012"/>
              <a:gd name="connsiteY4" fmla="*/ 828610 h 1253156"/>
              <a:gd name="connsiteX5" fmla="*/ 66409 w 230012"/>
              <a:gd name="connsiteY5" fmla="*/ 1225890 h 1253156"/>
              <a:gd name="connsiteX6" fmla="*/ 66409 w 230012"/>
              <a:gd name="connsiteY6" fmla="*/ 1253156 h 1253156"/>
              <a:gd name="connsiteX7" fmla="*/ 11875 w 230012"/>
              <a:gd name="connsiteY7" fmla="*/ 1217137 h 1253156"/>
              <a:gd name="connsiteX0" fmla="*/ 230012 w 230012"/>
              <a:gd name="connsiteY0" fmla="*/ 661345 h 1253156"/>
              <a:gd name="connsiteX1" fmla="*/ 11875 w 230012"/>
              <a:gd name="connsiteY1" fmla="*/ 78286 h 1253156"/>
              <a:gd name="connsiteX2" fmla="*/ 11875 w 230012"/>
              <a:gd name="connsiteY2" fmla="*/ 23751 h 1253156"/>
              <a:gd name="connsiteX3" fmla="*/ 230012 w 230012"/>
              <a:gd name="connsiteY3" fmla="*/ 606810 h 1253156"/>
              <a:gd name="connsiteX4" fmla="*/ 230012 w 230012"/>
              <a:gd name="connsiteY4" fmla="*/ 661345 h 1253156"/>
              <a:gd name="connsiteX0" fmla="*/ 230012 w 230012"/>
              <a:gd name="connsiteY0" fmla="*/ 661345 h 1253156"/>
              <a:gd name="connsiteX1" fmla="*/ 11875 w 230012"/>
              <a:gd name="connsiteY1" fmla="*/ 78286 h 1253156"/>
              <a:gd name="connsiteX2" fmla="*/ 0 w 230012"/>
              <a:gd name="connsiteY2" fmla="*/ 0 h 1253156"/>
              <a:gd name="connsiteX3" fmla="*/ 230012 w 230012"/>
              <a:gd name="connsiteY3" fmla="*/ 606810 h 1253156"/>
              <a:gd name="connsiteX4" fmla="*/ 230012 w 230012"/>
              <a:gd name="connsiteY4" fmla="*/ 661345 h 1253156"/>
              <a:gd name="connsiteX5" fmla="*/ 66409 w 230012"/>
              <a:gd name="connsiteY5" fmla="*/ 1225890 h 1253156"/>
              <a:gd name="connsiteX6" fmla="*/ 66409 w 230012"/>
              <a:gd name="connsiteY6" fmla="*/ 1253156 h 1253156"/>
              <a:gd name="connsiteX7" fmla="*/ 11875 w 230012"/>
              <a:gd name="connsiteY7" fmla="*/ 1217137 h 1253156"/>
              <a:gd name="connsiteX8" fmla="*/ 66409 w 230012"/>
              <a:gd name="connsiteY8" fmla="*/ 1144088 h 1253156"/>
              <a:gd name="connsiteX9" fmla="*/ 66409 w 230012"/>
              <a:gd name="connsiteY9" fmla="*/ 1171355 h 1253156"/>
              <a:gd name="connsiteX10" fmla="*/ 229773 w 230012"/>
              <a:gd name="connsiteY10" fmla="*/ 634078 h 1253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0012" h="1253156" stroke="0" extrusionOk="0">
                <a:moveTo>
                  <a:pt x="11875" y="1217137"/>
                </a:moveTo>
                <a:lnTo>
                  <a:pt x="66409" y="1144088"/>
                </a:lnTo>
                <a:lnTo>
                  <a:pt x="66409" y="1171355"/>
                </a:lnTo>
                <a:cubicBezTo>
                  <a:pt x="159056" y="1107416"/>
                  <a:pt x="225298" y="889556"/>
                  <a:pt x="229773" y="634078"/>
                </a:cubicBezTo>
                <a:cubicBezTo>
                  <a:pt x="230924" y="699804"/>
                  <a:pt x="227905" y="765577"/>
                  <a:pt x="220843" y="828610"/>
                </a:cubicBezTo>
                <a:cubicBezTo>
                  <a:pt x="198934" y="1024167"/>
                  <a:pt x="140357" y="1174856"/>
                  <a:pt x="66409" y="1225890"/>
                </a:cubicBezTo>
                <a:lnTo>
                  <a:pt x="66409" y="1253156"/>
                </a:lnTo>
                <a:lnTo>
                  <a:pt x="11875" y="1217137"/>
                </a:lnTo>
                <a:close/>
              </a:path>
              <a:path w="230012" h="1253156" fill="darkenLess" stroke="0" extrusionOk="0">
                <a:moveTo>
                  <a:pt x="230012" y="661345"/>
                </a:moveTo>
                <a:cubicBezTo>
                  <a:pt x="230012" y="339330"/>
                  <a:pt x="132349" y="78286"/>
                  <a:pt x="11875" y="78286"/>
                </a:cubicBezTo>
                <a:lnTo>
                  <a:pt x="11875" y="23751"/>
                </a:lnTo>
                <a:cubicBezTo>
                  <a:pt x="132349" y="23751"/>
                  <a:pt x="230012" y="284795"/>
                  <a:pt x="230012" y="606810"/>
                </a:cubicBezTo>
                <a:lnTo>
                  <a:pt x="230012" y="661345"/>
                </a:lnTo>
                <a:close/>
              </a:path>
              <a:path w="230012" h="1253156" fill="none" extrusionOk="0">
                <a:moveTo>
                  <a:pt x="230012" y="661345"/>
                </a:moveTo>
                <a:cubicBezTo>
                  <a:pt x="230012" y="339330"/>
                  <a:pt x="132349" y="78286"/>
                  <a:pt x="11875" y="78286"/>
                </a:cubicBezTo>
                <a:cubicBezTo>
                  <a:pt x="11875" y="60108"/>
                  <a:pt x="0" y="18178"/>
                  <a:pt x="0" y="0"/>
                </a:cubicBezTo>
                <a:cubicBezTo>
                  <a:pt x="120474" y="0"/>
                  <a:pt x="230012" y="284795"/>
                  <a:pt x="230012" y="606810"/>
                </a:cubicBezTo>
                <a:lnTo>
                  <a:pt x="230012" y="661345"/>
                </a:lnTo>
                <a:cubicBezTo>
                  <a:pt x="230012" y="927219"/>
                  <a:pt x="162721" y="1159421"/>
                  <a:pt x="66409" y="1225890"/>
                </a:cubicBezTo>
                <a:lnTo>
                  <a:pt x="66409" y="1253156"/>
                </a:lnTo>
                <a:lnTo>
                  <a:pt x="11875" y="1217137"/>
                </a:lnTo>
                <a:lnTo>
                  <a:pt x="66409" y="1144088"/>
                </a:lnTo>
                <a:lnTo>
                  <a:pt x="66409" y="1171355"/>
                </a:lnTo>
                <a:cubicBezTo>
                  <a:pt x="159056" y="1107416"/>
                  <a:pt x="225298" y="889556"/>
                  <a:pt x="229773" y="634078"/>
                </a:cubicBezTo>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7" name="Arrow: Curved Left 6">
            <a:extLst>
              <a:ext uri="{FF2B5EF4-FFF2-40B4-BE49-F238E27FC236}">
                <a16:creationId xmlns:a16="http://schemas.microsoft.com/office/drawing/2014/main" id="{F546F847-C1E2-432B-9672-8FEF1B1DA90C}"/>
              </a:ext>
            </a:extLst>
          </p:cNvPr>
          <p:cNvSpPr/>
          <p:nvPr/>
        </p:nvSpPr>
        <p:spPr bwMode="auto">
          <a:xfrm>
            <a:off x="6094459" y="3095482"/>
            <a:ext cx="218137" cy="1247920"/>
          </a:xfrm>
          <a:prstGeom prst="curved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 name="Arrow: Curved Left 8">
            <a:extLst>
              <a:ext uri="{FF2B5EF4-FFF2-40B4-BE49-F238E27FC236}">
                <a16:creationId xmlns:a16="http://schemas.microsoft.com/office/drawing/2014/main" id="{8BAF0B3E-8880-4E29-9023-FB6E64C06CF2}"/>
              </a:ext>
            </a:extLst>
          </p:cNvPr>
          <p:cNvSpPr/>
          <p:nvPr/>
        </p:nvSpPr>
        <p:spPr bwMode="auto">
          <a:xfrm>
            <a:off x="7238999" y="3095481"/>
            <a:ext cx="218137" cy="1247920"/>
          </a:xfrm>
          <a:prstGeom prst="curved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Arrow: Curved Left 10">
            <a:extLst>
              <a:ext uri="{FF2B5EF4-FFF2-40B4-BE49-F238E27FC236}">
                <a16:creationId xmlns:a16="http://schemas.microsoft.com/office/drawing/2014/main" id="{AB90A74D-DDA4-47F9-A4A3-4B90E4989047}"/>
              </a:ext>
            </a:extLst>
          </p:cNvPr>
          <p:cNvSpPr/>
          <p:nvPr/>
        </p:nvSpPr>
        <p:spPr bwMode="auto">
          <a:xfrm>
            <a:off x="8409579" y="3095481"/>
            <a:ext cx="218137" cy="1247920"/>
          </a:xfrm>
          <a:prstGeom prst="curved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Arrow: Curved Left 12">
            <a:extLst>
              <a:ext uri="{FF2B5EF4-FFF2-40B4-BE49-F238E27FC236}">
                <a16:creationId xmlns:a16="http://schemas.microsoft.com/office/drawing/2014/main" id="{079AB67D-9D24-4A69-8C5E-CFF89CC1610A}"/>
              </a:ext>
            </a:extLst>
          </p:cNvPr>
          <p:cNvSpPr/>
          <p:nvPr/>
        </p:nvSpPr>
        <p:spPr bwMode="auto">
          <a:xfrm>
            <a:off x="4887262" y="4387793"/>
            <a:ext cx="218137" cy="1247920"/>
          </a:xfrm>
          <a:prstGeom prst="curved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Arrow: Curved Left 14">
            <a:extLst>
              <a:ext uri="{FF2B5EF4-FFF2-40B4-BE49-F238E27FC236}">
                <a16:creationId xmlns:a16="http://schemas.microsoft.com/office/drawing/2014/main" id="{2E4D6710-B994-4DB8-B9DE-B02E31FF76E9}"/>
              </a:ext>
            </a:extLst>
          </p:cNvPr>
          <p:cNvSpPr/>
          <p:nvPr/>
        </p:nvSpPr>
        <p:spPr bwMode="auto">
          <a:xfrm>
            <a:off x="6094459" y="4403627"/>
            <a:ext cx="218137" cy="1247920"/>
          </a:xfrm>
          <a:prstGeom prst="curved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Arrow: Curved Left 16">
            <a:extLst>
              <a:ext uri="{FF2B5EF4-FFF2-40B4-BE49-F238E27FC236}">
                <a16:creationId xmlns:a16="http://schemas.microsoft.com/office/drawing/2014/main" id="{D798CE7B-EA81-429F-9CE0-82F893051EA7}"/>
              </a:ext>
            </a:extLst>
          </p:cNvPr>
          <p:cNvSpPr/>
          <p:nvPr/>
        </p:nvSpPr>
        <p:spPr bwMode="auto">
          <a:xfrm>
            <a:off x="7238999" y="4403626"/>
            <a:ext cx="218137" cy="1247920"/>
          </a:xfrm>
          <a:prstGeom prst="curved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Arrow: Curved Left 18">
            <a:extLst>
              <a:ext uri="{FF2B5EF4-FFF2-40B4-BE49-F238E27FC236}">
                <a16:creationId xmlns:a16="http://schemas.microsoft.com/office/drawing/2014/main" id="{BE78BC37-C4ED-4F4C-9231-01B96DD8020A}"/>
              </a:ext>
            </a:extLst>
          </p:cNvPr>
          <p:cNvSpPr/>
          <p:nvPr/>
        </p:nvSpPr>
        <p:spPr bwMode="auto">
          <a:xfrm>
            <a:off x="8409579" y="4403626"/>
            <a:ext cx="218137" cy="1247920"/>
          </a:xfrm>
          <a:prstGeom prst="curved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5" name="Arrow: Curved Down 24">
            <a:extLst>
              <a:ext uri="{FF2B5EF4-FFF2-40B4-BE49-F238E27FC236}">
                <a16:creationId xmlns:a16="http://schemas.microsoft.com/office/drawing/2014/main" id="{5C9B2E86-DA92-4C1E-AE87-5232948A5F7D}"/>
              </a:ext>
            </a:extLst>
          </p:cNvPr>
          <p:cNvSpPr/>
          <p:nvPr/>
        </p:nvSpPr>
        <p:spPr bwMode="auto">
          <a:xfrm>
            <a:off x="4419600" y="2180487"/>
            <a:ext cx="1143000" cy="257913"/>
          </a:xfrm>
          <a:prstGeom prst="curved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Arrow: Curved Down 25">
            <a:extLst>
              <a:ext uri="{FF2B5EF4-FFF2-40B4-BE49-F238E27FC236}">
                <a16:creationId xmlns:a16="http://schemas.microsoft.com/office/drawing/2014/main" id="{A56EDC38-C351-4247-BBB8-724B1C35579B}"/>
              </a:ext>
            </a:extLst>
          </p:cNvPr>
          <p:cNvSpPr/>
          <p:nvPr/>
        </p:nvSpPr>
        <p:spPr bwMode="auto">
          <a:xfrm>
            <a:off x="5626797" y="2184445"/>
            <a:ext cx="1143000" cy="257913"/>
          </a:xfrm>
          <a:prstGeom prst="curved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Arrow: Curved Down 27">
            <a:extLst>
              <a:ext uri="{FF2B5EF4-FFF2-40B4-BE49-F238E27FC236}">
                <a16:creationId xmlns:a16="http://schemas.microsoft.com/office/drawing/2014/main" id="{8FFB1CC2-57EF-4DEF-8797-4F2253DA1D5F}"/>
              </a:ext>
            </a:extLst>
          </p:cNvPr>
          <p:cNvSpPr/>
          <p:nvPr/>
        </p:nvSpPr>
        <p:spPr bwMode="auto">
          <a:xfrm>
            <a:off x="6848626" y="2178257"/>
            <a:ext cx="1143000" cy="257913"/>
          </a:xfrm>
          <a:prstGeom prst="curved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189644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500"/>
                                  </p:stCondLst>
                                  <p:childTnLst>
                                    <p:set>
                                      <p:cBhvr>
                                        <p:cTn id="9" dur="1" fill="hold">
                                          <p:stCondLst>
                                            <p:cond delay="0"/>
                                          </p:stCondLst>
                                        </p:cTn>
                                        <p:tgtEl>
                                          <p:spTgt spid="13"/>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grpId="0" nodeType="afterEffect">
                                  <p:stCondLst>
                                    <p:cond delay="500"/>
                                  </p:stCondLst>
                                  <p:childTnLst>
                                    <p:set>
                                      <p:cBhvr>
                                        <p:cTn id="12" dur="1" fill="hold">
                                          <p:stCondLst>
                                            <p:cond delay="0"/>
                                          </p:stCondLst>
                                        </p:cTn>
                                        <p:tgtEl>
                                          <p:spTgt spid="25"/>
                                        </p:tgtEl>
                                        <p:attrNameLst>
                                          <p:attrName>style.visibility</p:attrName>
                                        </p:attrNameLst>
                                      </p:cBhvr>
                                      <p:to>
                                        <p:strVal val="visible"/>
                                      </p:to>
                                    </p:set>
                                  </p:childTnLst>
                                </p:cTn>
                              </p:par>
                            </p:childTnLst>
                          </p:cTn>
                        </p:par>
                        <p:par>
                          <p:cTn id="13" fill="hold">
                            <p:stCondLst>
                              <p:cond delay="1000"/>
                            </p:stCondLst>
                            <p:childTnLst>
                              <p:par>
                                <p:cTn id="14" presetID="1" presetClass="entr" presetSubtype="0" fill="hold" grpId="0" nodeType="afterEffect">
                                  <p:stCondLst>
                                    <p:cond delay="500"/>
                                  </p:stCondLst>
                                  <p:childTnLst>
                                    <p:set>
                                      <p:cBhvr>
                                        <p:cTn id="15" dur="1" fill="hold">
                                          <p:stCondLst>
                                            <p:cond delay="0"/>
                                          </p:stCondLst>
                                        </p:cTn>
                                        <p:tgtEl>
                                          <p:spTgt spid="7"/>
                                        </p:tgtEl>
                                        <p:attrNameLst>
                                          <p:attrName>style.visibility</p:attrName>
                                        </p:attrNameLst>
                                      </p:cBhvr>
                                      <p:to>
                                        <p:strVal val="visible"/>
                                      </p:to>
                                    </p:set>
                                  </p:childTnLst>
                                </p:cTn>
                              </p:par>
                            </p:childTnLst>
                          </p:cTn>
                        </p:par>
                        <p:par>
                          <p:cTn id="16" fill="hold">
                            <p:stCondLst>
                              <p:cond delay="1500"/>
                            </p:stCondLst>
                            <p:childTnLst>
                              <p:par>
                                <p:cTn id="17" presetID="1" presetClass="entr" presetSubtype="0" fill="hold" grpId="0" nodeType="afterEffect">
                                  <p:stCondLst>
                                    <p:cond delay="500"/>
                                  </p:stCondLst>
                                  <p:childTnLst>
                                    <p:set>
                                      <p:cBhvr>
                                        <p:cTn id="18" dur="1" fill="hold">
                                          <p:stCondLst>
                                            <p:cond delay="0"/>
                                          </p:stCondLst>
                                        </p:cTn>
                                        <p:tgtEl>
                                          <p:spTgt spid="15"/>
                                        </p:tgtEl>
                                        <p:attrNameLst>
                                          <p:attrName>style.visibility</p:attrName>
                                        </p:attrNameLst>
                                      </p:cBhvr>
                                      <p:to>
                                        <p:strVal val="visible"/>
                                      </p:to>
                                    </p:set>
                                  </p:childTnLst>
                                </p:cTn>
                              </p:par>
                            </p:childTnLst>
                          </p:cTn>
                        </p:par>
                        <p:par>
                          <p:cTn id="19" fill="hold">
                            <p:stCondLst>
                              <p:cond delay="2000"/>
                            </p:stCondLst>
                            <p:childTnLst>
                              <p:par>
                                <p:cTn id="20" presetID="1" presetClass="entr" presetSubtype="0" fill="hold" grpId="0" nodeType="afterEffect">
                                  <p:stCondLst>
                                    <p:cond delay="500"/>
                                  </p:stCondLst>
                                  <p:childTnLst>
                                    <p:set>
                                      <p:cBhvr>
                                        <p:cTn id="21" dur="1" fill="hold">
                                          <p:stCondLst>
                                            <p:cond delay="0"/>
                                          </p:stCondLst>
                                        </p:cTn>
                                        <p:tgtEl>
                                          <p:spTgt spid="26"/>
                                        </p:tgtEl>
                                        <p:attrNameLst>
                                          <p:attrName>style.visibility</p:attrName>
                                        </p:attrNameLst>
                                      </p:cBhvr>
                                      <p:to>
                                        <p:strVal val="visible"/>
                                      </p:to>
                                    </p:set>
                                  </p:childTnLst>
                                </p:cTn>
                              </p:par>
                            </p:childTnLst>
                          </p:cTn>
                        </p:par>
                        <p:par>
                          <p:cTn id="22" fill="hold">
                            <p:stCondLst>
                              <p:cond delay="2500"/>
                            </p:stCondLst>
                            <p:childTnLst>
                              <p:par>
                                <p:cTn id="23" presetID="1" presetClass="entr" presetSubtype="0" fill="hold" grpId="0" nodeType="afterEffect">
                                  <p:stCondLst>
                                    <p:cond delay="500"/>
                                  </p:stCondLst>
                                  <p:childTnLst>
                                    <p:set>
                                      <p:cBhvr>
                                        <p:cTn id="24" dur="1" fill="hold">
                                          <p:stCondLst>
                                            <p:cond delay="0"/>
                                          </p:stCondLst>
                                        </p:cTn>
                                        <p:tgtEl>
                                          <p:spTgt spid="9"/>
                                        </p:tgtEl>
                                        <p:attrNameLst>
                                          <p:attrName>style.visibility</p:attrName>
                                        </p:attrNameLst>
                                      </p:cBhvr>
                                      <p:to>
                                        <p:strVal val="visible"/>
                                      </p:to>
                                    </p:set>
                                  </p:childTnLst>
                                </p:cTn>
                              </p:par>
                            </p:childTnLst>
                          </p:cTn>
                        </p:par>
                        <p:par>
                          <p:cTn id="25" fill="hold">
                            <p:stCondLst>
                              <p:cond delay="3000"/>
                            </p:stCondLst>
                            <p:childTnLst>
                              <p:par>
                                <p:cTn id="26" presetID="1" presetClass="entr" presetSubtype="0" fill="hold" grpId="0" nodeType="afterEffect">
                                  <p:stCondLst>
                                    <p:cond delay="500"/>
                                  </p:stCondLst>
                                  <p:childTnLst>
                                    <p:set>
                                      <p:cBhvr>
                                        <p:cTn id="27" dur="1" fill="hold">
                                          <p:stCondLst>
                                            <p:cond delay="0"/>
                                          </p:stCondLst>
                                        </p:cTn>
                                        <p:tgtEl>
                                          <p:spTgt spid="17"/>
                                        </p:tgtEl>
                                        <p:attrNameLst>
                                          <p:attrName>style.visibility</p:attrName>
                                        </p:attrNameLst>
                                      </p:cBhvr>
                                      <p:to>
                                        <p:strVal val="visible"/>
                                      </p:to>
                                    </p:set>
                                  </p:childTnLst>
                                </p:cTn>
                              </p:par>
                            </p:childTnLst>
                          </p:cTn>
                        </p:par>
                        <p:par>
                          <p:cTn id="28" fill="hold">
                            <p:stCondLst>
                              <p:cond delay="3500"/>
                            </p:stCondLst>
                            <p:childTnLst>
                              <p:par>
                                <p:cTn id="29" presetID="1" presetClass="entr" presetSubtype="0" fill="hold" grpId="0" nodeType="afterEffect">
                                  <p:stCondLst>
                                    <p:cond delay="500"/>
                                  </p:stCondLst>
                                  <p:childTnLst>
                                    <p:set>
                                      <p:cBhvr>
                                        <p:cTn id="30" dur="1" fill="hold">
                                          <p:stCondLst>
                                            <p:cond delay="0"/>
                                          </p:stCondLst>
                                        </p:cTn>
                                        <p:tgtEl>
                                          <p:spTgt spid="28"/>
                                        </p:tgtEl>
                                        <p:attrNameLst>
                                          <p:attrName>style.visibility</p:attrName>
                                        </p:attrNameLst>
                                      </p:cBhvr>
                                      <p:to>
                                        <p:strVal val="visible"/>
                                      </p:to>
                                    </p:set>
                                  </p:childTnLst>
                                </p:cTn>
                              </p:par>
                            </p:childTnLst>
                          </p:cTn>
                        </p:par>
                        <p:par>
                          <p:cTn id="31" fill="hold">
                            <p:stCondLst>
                              <p:cond delay="4000"/>
                            </p:stCondLst>
                            <p:childTnLst>
                              <p:par>
                                <p:cTn id="32" presetID="1" presetClass="entr" presetSubtype="0" fill="hold" grpId="0" nodeType="afterEffect">
                                  <p:stCondLst>
                                    <p:cond delay="500"/>
                                  </p:stCondLst>
                                  <p:childTnLst>
                                    <p:set>
                                      <p:cBhvr>
                                        <p:cTn id="33" dur="1" fill="hold">
                                          <p:stCondLst>
                                            <p:cond delay="0"/>
                                          </p:stCondLst>
                                        </p:cTn>
                                        <p:tgtEl>
                                          <p:spTgt spid="11"/>
                                        </p:tgtEl>
                                        <p:attrNameLst>
                                          <p:attrName>style.visibility</p:attrName>
                                        </p:attrNameLst>
                                      </p:cBhvr>
                                      <p:to>
                                        <p:strVal val="visible"/>
                                      </p:to>
                                    </p:set>
                                  </p:childTnLst>
                                </p:cTn>
                              </p:par>
                            </p:childTnLst>
                          </p:cTn>
                        </p:par>
                        <p:par>
                          <p:cTn id="34" fill="hold">
                            <p:stCondLst>
                              <p:cond delay="4500"/>
                            </p:stCondLst>
                            <p:childTnLst>
                              <p:par>
                                <p:cTn id="35" presetID="1" presetClass="entr" presetSubtype="0" fill="hold" grpId="0" nodeType="afterEffect">
                                  <p:stCondLst>
                                    <p:cond delay="500"/>
                                  </p:stCondLst>
                                  <p:childTnLst>
                                    <p:set>
                                      <p:cBhvr>
                                        <p:cTn id="3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9" grpId="0" animBg="1"/>
      <p:bldP spid="11" grpId="0" animBg="1"/>
      <p:bldP spid="13" grpId="0" animBg="1"/>
      <p:bldP spid="15" grpId="0" animBg="1"/>
      <p:bldP spid="17" grpId="0" animBg="1"/>
      <p:bldP spid="19" grpId="0" animBg="1"/>
      <p:bldP spid="25" grpId="0" animBg="1"/>
      <p:bldP spid="26" grpId="0" animBg="1"/>
      <p:bldP spid="28"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Memory-Optimized TempDB metadata</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466982777"/>
      </p:ext>
    </p:extLst>
  </p:cSld>
  <p:clrMapOvr>
    <a:masterClrMapping/>
  </p:clrMapOvr>
  <p:transition spd="slow"/>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430644532"/>
      </p:ext>
    </p:extLst>
  </p:cSld>
  <p:clrMapOvr>
    <a:masterClrMapping/>
  </p:clrMapOvr>
  <p:transition spd="slow"/>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398818601"/>
              </p:ext>
            </p:extLst>
          </p:nvPr>
        </p:nvGraphicFramePr>
        <p:xfrm>
          <a:off x="655637" y="1494631"/>
          <a:ext cx="10880725" cy="15533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8928548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atabase files and filegroup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Types of filegroups</a:t>
            </a:r>
          </a:p>
        </p:txBody>
      </p:sp>
      <p:graphicFrame>
        <p:nvGraphicFramePr>
          <p:cNvPr id="5" name="Content Placeholder 4">
            <a:extLst>
              <a:ext uri="{FF2B5EF4-FFF2-40B4-BE49-F238E27FC236}">
                <a16:creationId xmlns:a16="http://schemas.microsoft.com/office/drawing/2014/main" id="{291C9DC9-1986-483A-8AA7-02A5ABC9B810}"/>
              </a:ext>
            </a:extLst>
          </p:cNvPr>
          <p:cNvGraphicFramePr>
            <a:graphicFrameLocks noGrp="1"/>
          </p:cNvGraphicFramePr>
          <p:nvPr>
            <p:ph sz="quarter" idx="13"/>
            <p:extLst>
              <p:ext uri="{D42A27DB-BD31-4B8C-83A1-F6EECF244321}">
                <p14:modId xmlns:p14="http://schemas.microsoft.com/office/powerpoint/2010/main" val="3777995941"/>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550571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Disk I/O (Write-Ahead Logging)</a:t>
            </a:r>
          </a:p>
        </p:txBody>
      </p:sp>
      <p:sp>
        <p:nvSpPr>
          <p:cNvPr id="42" name="TextBox 41">
            <a:extLst>
              <a:ext uri="{FF2B5EF4-FFF2-40B4-BE49-F238E27FC236}">
                <a16:creationId xmlns:a16="http://schemas.microsoft.com/office/drawing/2014/main" id="{58EDF11B-70B2-4486-9590-B12FF615814E}"/>
              </a:ext>
            </a:extLst>
          </p:cNvPr>
          <p:cNvSpPr txBox="1"/>
          <p:nvPr/>
        </p:nvSpPr>
        <p:spPr>
          <a:xfrm>
            <a:off x="634161" y="4286712"/>
            <a:ext cx="2996159" cy="668679"/>
          </a:xfrm>
          <a:prstGeom prst="rect">
            <a:avLst/>
          </a:prstGeom>
          <a:noFill/>
        </p:spPr>
        <p:txBody>
          <a:bodyPr wrap="square" rtlCol="0">
            <a:spAutoFit/>
          </a:bodyPr>
          <a:lstStyle/>
          <a:p>
            <a:pPr defTabSz="932418">
              <a:defRPr/>
            </a:pPr>
            <a:r>
              <a:rPr lang="en-US" sz="1836" kern="0" dirty="0">
                <a:solidFill>
                  <a:prstClr val="black"/>
                </a:solidFill>
                <a:latin typeface="Segoe UI"/>
              </a:rPr>
              <a:t>2. Modification is recorded in the log cache.</a:t>
            </a:r>
          </a:p>
        </p:txBody>
      </p:sp>
      <p:sp>
        <p:nvSpPr>
          <p:cNvPr id="43" name="TextBox 42">
            <a:extLst>
              <a:ext uri="{FF2B5EF4-FFF2-40B4-BE49-F238E27FC236}">
                <a16:creationId xmlns:a16="http://schemas.microsoft.com/office/drawing/2014/main" id="{C73F1613-991E-4D24-B83E-D8CBE83F64D7}"/>
              </a:ext>
            </a:extLst>
          </p:cNvPr>
          <p:cNvSpPr txBox="1"/>
          <p:nvPr/>
        </p:nvSpPr>
        <p:spPr>
          <a:xfrm>
            <a:off x="9147805" y="4759358"/>
            <a:ext cx="3043331" cy="939873"/>
          </a:xfrm>
          <a:prstGeom prst="rect">
            <a:avLst/>
          </a:prstGeom>
          <a:noFill/>
        </p:spPr>
        <p:txBody>
          <a:bodyPr wrap="square" rtlCol="0">
            <a:spAutoFit/>
          </a:bodyPr>
          <a:lstStyle/>
          <a:p>
            <a:pPr defTabSz="932418">
              <a:defRPr/>
            </a:pPr>
            <a:r>
              <a:rPr lang="en-US" sz="1836" kern="0" dirty="0">
                <a:solidFill>
                  <a:prstClr val="black"/>
                </a:solidFill>
                <a:latin typeface="Segoe UI"/>
              </a:rPr>
              <a:t>5. At checkpoint, dirty data pages are written to the database file.</a:t>
            </a:r>
          </a:p>
        </p:txBody>
      </p:sp>
      <p:sp>
        <p:nvSpPr>
          <p:cNvPr id="44" name="Rounded Rectangle 8">
            <a:extLst>
              <a:ext uri="{FF2B5EF4-FFF2-40B4-BE49-F238E27FC236}">
                <a16:creationId xmlns:a16="http://schemas.microsoft.com/office/drawing/2014/main" id="{8D11A120-5C09-489D-9D90-7BDAB6DFE3A9}"/>
              </a:ext>
            </a:extLst>
          </p:cNvPr>
          <p:cNvSpPr/>
          <p:nvPr/>
        </p:nvSpPr>
        <p:spPr>
          <a:xfrm>
            <a:off x="361617" y="1424958"/>
            <a:ext cx="5049031" cy="1443084"/>
          </a:xfrm>
          <a:prstGeom prst="roundRect">
            <a:avLst/>
          </a:prstGeom>
          <a:solidFill>
            <a:sysClr val="window" lastClr="FFFFFF"/>
          </a:solidFill>
          <a:ln w="25400" cap="flat" cmpd="sng" algn="ctr">
            <a:solidFill>
              <a:srgbClr val="2098D5">
                <a:lumMod val="50000"/>
              </a:srgbClr>
            </a:solidFill>
            <a:prstDash val="solid"/>
          </a:ln>
          <a:effectLst/>
        </p:spPr>
        <p:txBody>
          <a:bodyPr rtlCol="0" anchor="ctr"/>
          <a:lstStyle/>
          <a:p>
            <a:pPr algn="ctr" defTabSz="932418">
              <a:defRPr/>
            </a:pPr>
            <a:endParaRPr lang="en-US" sz="1836" kern="0">
              <a:solidFill>
                <a:prstClr val="white"/>
              </a:solidFill>
              <a:latin typeface="Segoe UI"/>
            </a:endParaRPr>
          </a:p>
        </p:txBody>
      </p:sp>
      <p:sp>
        <p:nvSpPr>
          <p:cNvPr id="45" name="TextBox 44">
            <a:extLst>
              <a:ext uri="{FF2B5EF4-FFF2-40B4-BE49-F238E27FC236}">
                <a16:creationId xmlns:a16="http://schemas.microsoft.com/office/drawing/2014/main" id="{80DE7D8D-DB3B-48F8-B54B-10FD4E40E31C}"/>
              </a:ext>
            </a:extLst>
          </p:cNvPr>
          <p:cNvSpPr txBox="1"/>
          <p:nvPr/>
        </p:nvSpPr>
        <p:spPr>
          <a:xfrm>
            <a:off x="634161" y="3188777"/>
            <a:ext cx="3205954" cy="657359"/>
          </a:xfrm>
          <a:prstGeom prst="rect">
            <a:avLst/>
          </a:prstGeom>
          <a:noFill/>
        </p:spPr>
        <p:txBody>
          <a:bodyPr wrap="square" rtlCol="0">
            <a:spAutoFit/>
          </a:bodyPr>
          <a:lstStyle/>
          <a:p>
            <a:pPr defTabSz="932418">
              <a:defRPr/>
            </a:pPr>
            <a:r>
              <a:rPr lang="en-US" sz="1836" kern="0" dirty="0">
                <a:solidFill>
                  <a:prstClr val="black"/>
                </a:solidFill>
                <a:latin typeface="Segoe UI"/>
              </a:rPr>
              <a:t>1. Data modification is sent to buffer cache in memory.</a:t>
            </a:r>
          </a:p>
        </p:txBody>
      </p:sp>
      <p:sp>
        <p:nvSpPr>
          <p:cNvPr id="46" name="TextBox 45">
            <a:extLst>
              <a:ext uri="{FF2B5EF4-FFF2-40B4-BE49-F238E27FC236}">
                <a16:creationId xmlns:a16="http://schemas.microsoft.com/office/drawing/2014/main" id="{89494341-EBD5-4627-9F76-12CF240D07E3}"/>
              </a:ext>
            </a:extLst>
          </p:cNvPr>
          <p:cNvSpPr txBox="1"/>
          <p:nvPr/>
        </p:nvSpPr>
        <p:spPr>
          <a:xfrm>
            <a:off x="641543" y="5370193"/>
            <a:ext cx="3205954" cy="939873"/>
          </a:xfrm>
          <a:prstGeom prst="rect">
            <a:avLst/>
          </a:prstGeom>
          <a:noFill/>
        </p:spPr>
        <p:txBody>
          <a:bodyPr wrap="square" rtlCol="0">
            <a:spAutoFit/>
          </a:bodyPr>
          <a:lstStyle/>
          <a:p>
            <a:pPr defTabSz="932418">
              <a:defRPr/>
            </a:pPr>
            <a:r>
              <a:rPr lang="en-US" sz="1836" kern="0" dirty="0">
                <a:solidFill>
                  <a:prstClr val="black"/>
                </a:solidFill>
                <a:latin typeface="Segoe UI"/>
              </a:rPr>
              <a:t>3. Data pages are located or read into the buffer cache and then modified.</a:t>
            </a:r>
          </a:p>
        </p:txBody>
      </p:sp>
      <p:sp>
        <p:nvSpPr>
          <p:cNvPr id="47" name="TextBox 46">
            <a:extLst>
              <a:ext uri="{FF2B5EF4-FFF2-40B4-BE49-F238E27FC236}">
                <a16:creationId xmlns:a16="http://schemas.microsoft.com/office/drawing/2014/main" id="{151FF534-AE55-4F20-B962-77543B80AF1A}"/>
              </a:ext>
            </a:extLst>
          </p:cNvPr>
          <p:cNvSpPr txBox="1"/>
          <p:nvPr/>
        </p:nvSpPr>
        <p:spPr>
          <a:xfrm>
            <a:off x="7213094" y="3248460"/>
            <a:ext cx="3396451" cy="668679"/>
          </a:xfrm>
          <a:prstGeom prst="rect">
            <a:avLst/>
          </a:prstGeom>
          <a:noFill/>
        </p:spPr>
        <p:txBody>
          <a:bodyPr wrap="square" rtlCol="0">
            <a:spAutoFit/>
          </a:bodyPr>
          <a:lstStyle/>
          <a:p>
            <a:pPr defTabSz="932418">
              <a:defRPr/>
            </a:pPr>
            <a:r>
              <a:rPr lang="en-US" sz="1836" kern="0" dirty="0">
                <a:solidFill>
                  <a:prstClr val="black"/>
                </a:solidFill>
                <a:latin typeface="Segoe UI"/>
              </a:rPr>
              <a:t>4. Log cache record is flushed to the transaction log</a:t>
            </a:r>
          </a:p>
        </p:txBody>
      </p:sp>
      <p:cxnSp>
        <p:nvCxnSpPr>
          <p:cNvPr id="49" name="Straight Arrow Connector 48">
            <a:extLst>
              <a:ext uri="{FF2B5EF4-FFF2-40B4-BE49-F238E27FC236}">
                <a16:creationId xmlns:a16="http://schemas.microsoft.com/office/drawing/2014/main" id="{FF810BAB-96B9-4191-94A6-911153B3D3D3}"/>
              </a:ext>
            </a:extLst>
          </p:cNvPr>
          <p:cNvCxnSpPr>
            <a:cxnSpLocks/>
          </p:cNvCxnSpPr>
          <p:nvPr/>
        </p:nvCxnSpPr>
        <p:spPr>
          <a:xfrm>
            <a:off x="5893544" y="5405707"/>
            <a:ext cx="1542744" cy="3830"/>
          </a:xfrm>
          <a:prstGeom prst="straightConnector1">
            <a:avLst/>
          </a:prstGeom>
          <a:noFill/>
          <a:ln w="57150" cap="flat" cmpd="sng" algn="ctr">
            <a:solidFill>
              <a:srgbClr val="EF3B24"/>
            </a:solidFill>
            <a:prstDash val="solid"/>
            <a:tailEnd type="triangle"/>
          </a:ln>
          <a:effectLst/>
        </p:spPr>
      </p:cxnSp>
      <p:cxnSp>
        <p:nvCxnSpPr>
          <p:cNvPr id="50" name="Straight Arrow Connector 49">
            <a:extLst>
              <a:ext uri="{FF2B5EF4-FFF2-40B4-BE49-F238E27FC236}">
                <a16:creationId xmlns:a16="http://schemas.microsoft.com/office/drawing/2014/main" id="{041387EF-DB9D-451C-8EFB-74F9BDBB7D2A}"/>
              </a:ext>
            </a:extLst>
          </p:cNvPr>
          <p:cNvCxnSpPr>
            <a:cxnSpLocks/>
          </p:cNvCxnSpPr>
          <p:nvPr/>
        </p:nvCxnSpPr>
        <p:spPr>
          <a:xfrm flipH="1">
            <a:off x="5893544" y="4824880"/>
            <a:ext cx="1448889" cy="0"/>
          </a:xfrm>
          <a:prstGeom prst="straightConnector1">
            <a:avLst/>
          </a:prstGeom>
          <a:noFill/>
          <a:ln w="57150" cap="flat" cmpd="sng" algn="ctr">
            <a:solidFill>
              <a:srgbClr val="EF3B24"/>
            </a:solidFill>
            <a:prstDash val="solid"/>
            <a:tailEnd type="triangle"/>
          </a:ln>
          <a:effectLst/>
        </p:spPr>
      </p:cxnSp>
      <p:cxnSp>
        <p:nvCxnSpPr>
          <p:cNvPr id="51" name="Straight Arrow Connector 50">
            <a:extLst>
              <a:ext uri="{FF2B5EF4-FFF2-40B4-BE49-F238E27FC236}">
                <a16:creationId xmlns:a16="http://schemas.microsoft.com/office/drawing/2014/main" id="{BF9E7A5F-14E3-4D2D-9F7F-E714EB7AEAE4}"/>
              </a:ext>
            </a:extLst>
          </p:cNvPr>
          <p:cNvCxnSpPr>
            <a:cxnSpLocks/>
          </p:cNvCxnSpPr>
          <p:nvPr/>
        </p:nvCxnSpPr>
        <p:spPr>
          <a:xfrm flipV="1">
            <a:off x="5706274" y="2967918"/>
            <a:ext cx="1441431" cy="1183106"/>
          </a:xfrm>
          <a:prstGeom prst="straightConnector1">
            <a:avLst/>
          </a:prstGeom>
          <a:noFill/>
          <a:ln w="57150" cap="flat" cmpd="sng" algn="ctr">
            <a:solidFill>
              <a:srgbClr val="EF3B24"/>
            </a:solidFill>
            <a:prstDash val="solid"/>
            <a:tailEnd type="triangle"/>
          </a:ln>
          <a:effectLst/>
        </p:spPr>
      </p:cxnSp>
      <p:sp>
        <p:nvSpPr>
          <p:cNvPr id="52" name="Rectangle 51">
            <a:extLst>
              <a:ext uri="{FF2B5EF4-FFF2-40B4-BE49-F238E27FC236}">
                <a16:creationId xmlns:a16="http://schemas.microsoft.com/office/drawing/2014/main" id="{DA4476B5-562C-457F-B7C9-D598005C6461}"/>
              </a:ext>
            </a:extLst>
          </p:cNvPr>
          <p:cNvSpPr/>
          <p:nvPr/>
        </p:nvSpPr>
        <p:spPr>
          <a:xfrm>
            <a:off x="4113595" y="3284798"/>
            <a:ext cx="361591" cy="478308"/>
          </a:xfrm>
          <a:prstGeom prst="rect">
            <a:avLst/>
          </a:prstGeom>
          <a:noFill/>
        </p:spPr>
        <p:txBody>
          <a:bodyPr wrap="none" lIns="93247" tIns="46623" rIns="93247" bIns="46623">
            <a:spAutoFit/>
          </a:bodyPr>
          <a:lstStyle/>
          <a:p>
            <a:pPr algn="ctr" defTabSz="932418">
              <a:defRPr/>
            </a:pPr>
            <a:r>
              <a:rPr lang="en-US" sz="2448" kern="0" dirty="0">
                <a:ln w="0"/>
                <a:solidFill>
                  <a:prstClr val="black"/>
                </a:solidFill>
                <a:effectLst>
                  <a:outerShdw blurRad="38100" dist="25400" dir="5400000" algn="ctr" rotWithShape="0">
                    <a:srgbClr val="6E747A">
                      <a:alpha val="43000"/>
                    </a:srgbClr>
                  </a:outerShdw>
                </a:effectLst>
                <a:latin typeface="Segoe UI"/>
              </a:rPr>
              <a:t>1</a:t>
            </a:r>
          </a:p>
        </p:txBody>
      </p:sp>
      <p:sp>
        <p:nvSpPr>
          <p:cNvPr id="53" name="Rectangle 52">
            <a:extLst>
              <a:ext uri="{FF2B5EF4-FFF2-40B4-BE49-F238E27FC236}">
                <a16:creationId xmlns:a16="http://schemas.microsoft.com/office/drawing/2014/main" id="{CA08C041-55D8-448B-9A77-8E8819947002}"/>
              </a:ext>
            </a:extLst>
          </p:cNvPr>
          <p:cNvSpPr/>
          <p:nvPr/>
        </p:nvSpPr>
        <p:spPr>
          <a:xfrm>
            <a:off x="6484208" y="4359248"/>
            <a:ext cx="361415" cy="478376"/>
          </a:xfrm>
          <a:prstGeom prst="rect">
            <a:avLst/>
          </a:prstGeom>
          <a:noFill/>
        </p:spPr>
        <p:txBody>
          <a:bodyPr wrap="none" lIns="93247" tIns="46623" rIns="93247" bIns="46623">
            <a:spAutoFit/>
          </a:bodyPr>
          <a:lstStyle/>
          <a:p>
            <a:pPr algn="ctr" defTabSz="932418">
              <a:defRPr/>
            </a:pPr>
            <a:r>
              <a:rPr lang="en-US" sz="2448" kern="0" dirty="0">
                <a:ln w="0"/>
                <a:solidFill>
                  <a:prstClr val="black"/>
                </a:solidFill>
                <a:effectLst>
                  <a:outerShdw blurRad="38100" dist="25400" dir="5400000" algn="ctr" rotWithShape="0">
                    <a:srgbClr val="6E747A">
                      <a:alpha val="43000"/>
                    </a:srgbClr>
                  </a:outerShdw>
                </a:effectLst>
                <a:latin typeface="Segoe UI"/>
              </a:rPr>
              <a:t>3</a:t>
            </a:r>
          </a:p>
        </p:txBody>
      </p:sp>
      <p:sp>
        <p:nvSpPr>
          <p:cNvPr id="54" name="Rectangle 53">
            <a:extLst>
              <a:ext uri="{FF2B5EF4-FFF2-40B4-BE49-F238E27FC236}">
                <a16:creationId xmlns:a16="http://schemas.microsoft.com/office/drawing/2014/main" id="{D4D403BD-9984-4002-A43A-FAC9B99F4871}"/>
              </a:ext>
            </a:extLst>
          </p:cNvPr>
          <p:cNvSpPr/>
          <p:nvPr/>
        </p:nvSpPr>
        <p:spPr>
          <a:xfrm>
            <a:off x="5079823" y="3258266"/>
            <a:ext cx="361415" cy="478376"/>
          </a:xfrm>
          <a:prstGeom prst="rect">
            <a:avLst/>
          </a:prstGeom>
          <a:noFill/>
        </p:spPr>
        <p:txBody>
          <a:bodyPr wrap="none" lIns="93247" tIns="46623" rIns="93247" bIns="46623">
            <a:spAutoFit/>
          </a:bodyPr>
          <a:lstStyle/>
          <a:p>
            <a:pPr algn="ctr" defTabSz="932418">
              <a:defRPr/>
            </a:pPr>
            <a:r>
              <a:rPr lang="en-US" sz="2448" kern="0" dirty="0">
                <a:ln w="0"/>
                <a:solidFill>
                  <a:prstClr val="black"/>
                </a:solidFill>
                <a:effectLst>
                  <a:outerShdw blurRad="38100" dist="25400" dir="5400000" algn="ctr" rotWithShape="0">
                    <a:srgbClr val="6E747A">
                      <a:alpha val="43000"/>
                    </a:srgbClr>
                  </a:outerShdw>
                </a:effectLst>
                <a:latin typeface="Segoe UI"/>
              </a:rPr>
              <a:t>2</a:t>
            </a:r>
          </a:p>
        </p:txBody>
      </p:sp>
      <p:sp>
        <p:nvSpPr>
          <p:cNvPr id="55" name="Rectangle 54">
            <a:extLst>
              <a:ext uri="{FF2B5EF4-FFF2-40B4-BE49-F238E27FC236}">
                <a16:creationId xmlns:a16="http://schemas.microsoft.com/office/drawing/2014/main" id="{C0847374-A542-41DD-9FE7-689A197F5D07}"/>
              </a:ext>
            </a:extLst>
          </p:cNvPr>
          <p:cNvSpPr/>
          <p:nvPr/>
        </p:nvSpPr>
        <p:spPr>
          <a:xfrm>
            <a:off x="6084131" y="3012704"/>
            <a:ext cx="361591" cy="478308"/>
          </a:xfrm>
          <a:prstGeom prst="rect">
            <a:avLst/>
          </a:prstGeom>
          <a:noFill/>
        </p:spPr>
        <p:txBody>
          <a:bodyPr wrap="none" lIns="93247" tIns="46623" rIns="93247" bIns="46623">
            <a:spAutoFit/>
          </a:bodyPr>
          <a:lstStyle/>
          <a:p>
            <a:pPr algn="ctr" defTabSz="932418">
              <a:defRPr/>
            </a:pPr>
            <a:r>
              <a:rPr lang="en-US" sz="2448" kern="0" dirty="0">
                <a:ln w="0"/>
                <a:solidFill>
                  <a:prstClr val="black"/>
                </a:solidFill>
                <a:effectLst>
                  <a:outerShdw blurRad="38100" dist="25400" dir="5400000" algn="ctr" rotWithShape="0">
                    <a:srgbClr val="6E747A">
                      <a:alpha val="43000"/>
                    </a:srgbClr>
                  </a:outerShdw>
                </a:effectLst>
                <a:latin typeface="Segoe UI"/>
              </a:rPr>
              <a:t>4</a:t>
            </a:r>
          </a:p>
        </p:txBody>
      </p:sp>
      <p:sp>
        <p:nvSpPr>
          <p:cNvPr id="56" name="Rectangle 55">
            <a:extLst>
              <a:ext uri="{FF2B5EF4-FFF2-40B4-BE49-F238E27FC236}">
                <a16:creationId xmlns:a16="http://schemas.microsoft.com/office/drawing/2014/main" id="{7EBE9456-B0AC-4E32-ACAA-D59285BCF54E}"/>
              </a:ext>
            </a:extLst>
          </p:cNvPr>
          <p:cNvSpPr/>
          <p:nvPr/>
        </p:nvSpPr>
        <p:spPr>
          <a:xfrm>
            <a:off x="6440067" y="5514417"/>
            <a:ext cx="361591" cy="478308"/>
          </a:xfrm>
          <a:prstGeom prst="rect">
            <a:avLst/>
          </a:prstGeom>
          <a:noFill/>
        </p:spPr>
        <p:txBody>
          <a:bodyPr wrap="none" lIns="93247" tIns="46623" rIns="93247" bIns="46623">
            <a:spAutoFit/>
          </a:bodyPr>
          <a:lstStyle/>
          <a:p>
            <a:pPr algn="ctr" defTabSz="932418">
              <a:defRPr/>
            </a:pPr>
            <a:r>
              <a:rPr lang="en-US" sz="2448" kern="0" dirty="0">
                <a:ln w="0"/>
                <a:solidFill>
                  <a:prstClr val="black"/>
                </a:solidFill>
                <a:effectLst>
                  <a:outerShdw blurRad="38100" dist="25400" dir="5400000" algn="ctr" rotWithShape="0">
                    <a:srgbClr val="6E747A">
                      <a:alpha val="43000"/>
                    </a:srgbClr>
                  </a:outerShdw>
                </a:effectLst>
                <a:latin typeface="Segoe UI"/>
              </a:rPr>
              <a:t>5</a:t>
            </a:r>
          </a:p>
        </p:txBody>
      </p:sp>
      <p:pic>
        <p:nvPicPr>
          <p:cNvPr id="57" name="Picture 56">
            <a:extLst>
              <a:ext uri="{FF2B5EF4-FFF2-40B4-BE49-F238E27FC236}">
                <a16:creationId xmlns:a16="http://schemas.microsoft.com/office/drawing/2014/main" id="{43AC5A54-EBE6-40B8-A612-386A988C136A}"/>
              </a:ext>
            </a:extLst>
          </p:cNvPr>
          <p:cNvPicPr>
            <a:picLocks noChangeAspect="1"/>
          </p:cNvPicPr>
          <p:nvPr/>
        </p:nvPicPr>
        <p:blipFill>
          <a:blip r:embed="rId3"/>
          <a:stretch>
            <a:fillRect/>
          </a:stretch>
        </p:blipFill>
        <p:spPr>
          <a:xfrm>
            <a:off x="761660" y="1536972"/>
            <a:ext cx="4239647" cy="1233581"/>
          </a:xfrm>
          <a:prstGeom prst="rect">
            <a:avLst/>
          </a:prstGeom>
        </p:spPr>
      </p:pic>
      <p:grpSp>
        <p:nvGrpSpPr>
          <p:cNvPr id="58" name="Group 57">
            <a:extLst>
              <a:ext uri="{FF2B5EF4-FFF2-40B4-BE49-F238E27FC236}">
                <a16:creationId xmlns:a16="http://schemas.microsoft.com/office/drawing/2014/main" id="{25D278F0-04C0-4941-BF5A-CC42C3B27641}"/>
              </a:ext>
            </a:extLst>
          </p:cNvPr>
          <p:cNvGrpSpPr/>
          <p:nvPr/>
        </p:nvGrpSpPr>
        <p:grpSpPr>
          <a:xfrm>
            <a:off x="7581388" y="4511374"/>
            <a:ext cx="1421318" cy="1577822"/>
            <a:chOff x="4963829" y="4298078"/>
            <a:chExt cx="1393773" cy="1547244"/>
          </a:xfrm>
        </p:grpSpPr>
        <p:sp>
          <p:nvSpPr>
            <p:cNvPr id="59" name="Cylinder 58">
              <a:extLst>
                <a:ext uri="{FF2B5EF4-FFF2-40B4-BE49-F238E27FC236}">
                  <a16:creationId xmlns:a16="http://schemas.microsoft.com/office/drawing/2014/main" id="{F14D23F6-01E4-4CD2-96DF-A8D60C28CD0A}"/>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32418">
                <a:defRPr/>
              </a:pPr>
              <a:endParaRPr lang="en-US" sz="1836" kern="0">
                <a:solidFill>
                  <a:prstClr val="white"/>
                </a:solidFill>
                <a:latin typeface="Segoe UI"/>
              </a:endParaRPr>
            </a:p>
          </p:txBody>
        </p:sp>
        <p:sp>
          <p:nvSpPr>
            <p:cNvPr id="60" name="Cylinder 59">
              <a:extLst>
                <a:ext uri="{FF2B5EF4-FFF2-40B4-BE49-F238E27FC236}">
                  <a16:creationId xmlns:a16="http://schemas.microsoft.com/office/drawing/2014/main" id="{2B321139-4C1D-4DF8-8D9C-B0B3F4A3A21A}"/>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32418">
                <a:defRPr/>
              </a:pPr>
              <a:endParaRPr lang="en-US" sz="1836" kern="0">
                <a:solidFill>
                  <a:prstClr val="white"/>
                </a:solidFill>
                <a:latin typeface="Segoe UI"/>
              </a:endParaRPr>
            </a:p>
          </p:txBody>
        </p:sp>
        <p:sp>
          <p:nvSpPr>
            <p:cNvPr id="61" name="Cylinder 60">
              <a:extLst>
                <a:ext uri="{FF2B5EF4-FFF2-40B4-BE49-F238E27FC236}">
                  <a16:creationId xmlns:a16="http://schemas.microsoft.com/office/drawing/2014/main" id="{4C8EE044-29C5-479A-92C6-40BCBE230F0C}"/>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32418">
                <a:defRPr/>
              </a:pPr>
              <a:endParaRPr lang="en-US" sz="1836" kern="0" dirty="0">
                <a:solidFill>
                  <a:srgbClr val="107C10"/>
                </a:solidFill>
                <a:latin typeface="Segoe UI"/>
              </a:endParaRPr>
            </a:p>
          </p:txBody>
        </p:sp>
      </p:grpSp>
      <p:grpSp>
        <p:nvGrpSpPr>
          <p:cNvPr id="62" name="Group 61">
            <a:extLst>
              <a:ext uri="{FF2B5EF4-FFF2-40B4-BE49-F238E27FC236}">
                <a16:creationId xmlns:a16="http://schemas.microsoft.com/office/drawing/2014/main" id="{028D22DA-AEC8-435D-A6D7-ACC959EA57D8}"/>
              </a:ext>
            </a:extLst>
          </p:cNvPr>
          <p:cNvGrpSpPr/>
          <p:nvPr/>
        </p:nvGrpSpPr>
        <p:grpSpPr>
          <a:xfrm>
            <a:off x="7454411" y="1178878"/>
            <a:ext cx="1675267" cy="1714606"/>
            <a:chOff x="7739357" y="1288477"/>
            <a:chExt cx="1675505" cy="1714849"/>
          </a:xfrm>
        </p:grpSpPr>
        <p:sp>
          <p:nvSpPr>
            <p:cNvPr id="63" name="Scroll: Vertical 62">
              <a:extLst>
                <a:ext uri="{FF2B5EF4-FFF2-40B4-BE49-F238E27FC236}">
                  <a16:creationId xmlns:a16="http://schemas.microsoft.com/office/drawing/2014/main" id="{0FC0C9DA-2583-434C-9E8D-E44A77F97C38}"/>
                </a:ext>
              </a:extLst>
            </p:cNvPr>
            <p:cNvSpPr/>
            <p:nvPr/>
          </p:nvSpPr>
          <p:spPr>
            <a:xfrm rot="10800000">
              <a:off x="7739357" y="1288477"/>
              <a:ext cx="1675505" cy="1714849"/>
            </a:xfrm>
            <a:prstGeom prst="verticalScroll">
              <a:avLst/>
            </a:prstGeom>
            <a:solidFill>
              <a:sysClr val="window" lastClr="FFFFFF"/>
            </a:solidFill>
            <a:ln w="25400" cap="flat" cmpd="sng" algn="ctr">
              <a:solidFill>
                <a:srgbClr val="2098D5">
                  <a:lumMod val="50000"/>
                </a:srgbClr>
              </a:solidFill>
              <a:prstDash val="solid"/>
            </a:ln>
            <a:effectLst/>
          </p:spPr>
          <p:txBody>
            <a:bodyPr rtlCol="0" anchor="ctr"/>
            <a:lstStyle/>
            <a:p>
              <a:pPr algn="ctr" defTabSz="932418">
                <a:defRPr/>
              </a:pPr>
              <a:endParaRPr lang="en-US" sz="1836" kern="0">
                <a:solidFill>
                  <a:prstClr val="white"/>
                </a:solidFill>
                <a:latin typeface="Segoe UI"/>
              </a:endParaRPr>
            </a:p>
          </p:txBody>
        </p:sp>
        <p:cxnSp>
          <p:nvCxnSpPr>
            <p:cNvPr id="64" name="Straight Connector 63">
              <a:extLst>
                <a:ext uri="{FF2B5EF4-FFF2-40B4-BE49-F238E27FC236}">
                  <a16:creationId xmlns:a16="http://schemas.microsoft.com/office/drawing/2014/main" id="{B444335C-F41E-44EE-8E09-B709F2FDBA5B}"/>
                </a:ext>
              </a:extLst>
            </p:cNvPr>
            <p:cNvCxnSpPr>
              <a:cxnSpLocks/>
            </p:cNvCxnSpPr>
            <p:nvPr/>
          </p:nvCxnSpPr>
          <p:spPr>
            <a:xfrm>
              <a:off x="8044496" y="1560036"/>
              <a:ext cx="1065225" cy="0"/>
            </a:xfrm>
            <a:prstGeom prst="line">
              <a:avLst/>
            </a:prstGeom>
            <a:noFill/>
            <a:ln w="38100" cap="flat" cmpd="sng" algn="ctr">
              <a:solidFill>
                <a:srgbClr val="2098D5">
                  <a:lumMod val="75000"/>
                </a:srgbClr>
              </a:solidFill>
              <a:prstDash val="solid"/>
            </a:ln>
            <a:effectLst/>
          </p:spPr>
        </p:cxnSp>
        <p:cxnSp>
          <p:nvCxnSpPr>
            <p:cNvPr id="65" name="Straight Connector 64">
              <a:extLst>
                <a:ext uri="{FF2B5EF4-FFF2-40B4-BE49-F238E27FC236}">
                  <a16:creationId xmlns:a16="http://schemas.microsoft.com/office/drawing/2014/main" id="{C8FEA425-B9F4-4E75-8EF5-8A327E2BA5E3}"/>
                </a:ext>
              </a:extLst>
            </p:cNvPr>
            <p:cNvCxnSpPr>
              <a:cxnSpLocks/>
            </p:cNvCxnSpPr>
            <p:nvPr/>
          </p:nvCxnSpPr>
          <p:spPr>
            <a:xfrm>
              <a:off x="8044496" y="1735069"/>
              <a:ext cx="1065225" cy="0"/>
            </a:xfrm>
            <a:prstGeom prst="line">
              <a:avLst/>
            </a:prstGeom>
            <a:noFill/>
            <a:ln w="38100" cap="flat" cmpd="sng" algn="ctr">
              <a:solidFill>
                <a:srgbClr val="2098D5">
                  <a:lumMod val="75000"/>
                </a:srgbClr>
              </a:solidFill>
              <a:prstDash val="solid"/>
            </a:ln>
            <a:effectLst/>
          </p:spPr>
        </p:cxnSp>
        <p:cxnSp>
          <p:nvCxnSpPr>
            <p:cNvPr id="66" name="Straight Connector 65">
              <a:extLst>
                <a:ext uri="{FF2B5EF4-FFF2-40B4-BE49-F238E27FC236}">
                  <a16:creationId xmlns:a16="http://schemas.microsoft.com/office/drawing/2014/main" id="{36B6B7AB-D97F-47D5-95E0-4C9439477046}"/>
                </a:ext>
              </a:extLst>
            </p:cNvPr>
            <p:cNvCxnSpPr>
              <a:cxnSpLocks/>
            </p:cNvCxnSpPr>
            <p:nvPr/>
          </p:nvCxnSpPr>
          <p:spPr>
            <a:xfrm>
              <a:off x="8044496" y="1910101"/>
              <a:ext cx="1065225" cy="0"/>
            </a:xfrm>
            <a:prstGeom prst="line">
              <a:avLst/>
            </a:prstGeom>
            <a:noFill/>
            <a:ln w="38100" cap="flat" cmpd="sng" algn="ctr">
              <a:solidFill>
                <a:srgbClr val="2098D5">
                  <a:lumMod val="75000"/>
                </a:srgbClr>
              </a:solidFill>
              <a:prstDash val="solid"/>
            </a:ln>
            <a:effectLst/>
          </p:spPr>
        </p:cxnSp>
        <p:cxnSp>
          <p:nvCxnSpPr>
            <p:cNvPr id="67" name="Straight Connector 66">
              <a:extLst>
                <a:ext uri="{FF2B5EF4-FFF2-40B4-BE49-F238E27FC236}">
                  <a16:creationId xmlns:a16="http://schemas.microsoft.com/office/drawing/2014/main" id="{08F459B7-C16A-4C8C-9AD1-E6E48FA02422}"/>
                </a:ext>
              </a:extLst>
            </p:cNvPr>
            <p:cNvCxnSpPr>
              <a:cxnSpLocks/>
            </p:cNvCxnSpPr>
            <p:nvPr/>
          </p:nvCxnSpPr>
          <p:spPr>
            <a:xfrm>
              <a:off x="8044496" y="2085133"/>
              <a:ext cx="1065225" cy="0"/>
            </a:xfrm>
            <a:prstGeom prst="line">
              <a:avLst/>
            </a:prstGeom>
            <a:noFill/>
            <a:ln w="38100" cap="flat" cmpd="sng" algn="ctr">
              <a:solidFill>
                <a:srgbClr val="2098D5">
                  <a:lumMod val="75000"/>
                </a:srgbClr>
              </a:solidFill>
              <a:prstDash val="solid"/>
            </a:ln>
            <a:effectLst/>
          </p:spPr>
        </p:cxnSp>
        <p:cxnSp>
          <p:nvCxnSpPr>
            <p:cNvPr id="68" name="Straight Connector 67">
              <a:extLst>
                <a:ext uri="{FF2B5EF4-FFF2-40B4-BE49-F238E27FC236}">
                  <a16:creationId xmlns:a16="http://schemas.microsoft.com/office/drawing/2014/main" id="{C7BEB7DF-687A-48BA-A0BB-036925AC3601}"/>
                </a:ext>
              </a:extLst>
            </p:cNvPr>
            <p:cNvCxnSpPr>
              <a:cxnSpLocks/>
            </p:cNvCxnSpPr>
            <p:nvPr/>
          </p:nvCxnSpPr>
          <p:spPr>
            <a:xfrm>
              <a:off x="8044496" y="2260166"/>
              <a:ext cx="1065225" cy="0"/>
            </a:xfrm>
            <a:prstGeom prst="line">
              <a:avLst/>
            </a:prstGeom>
            <a:noFill/>
            <a:ln w="38100" cap="flat" cmpd="sng" algn="ctr">
              <a:solidFill>
                <a:srgbClr val="2098D5">
                  <a:lumMod val="75000"/>
                </a:srgbClr>
              </a:solidFill>
              <a:prstDash val="solid"/>
            </a:ln>
            <a:effectLst/>
          </p:spPr>
        </p:cxnSp>
        <p:cxnSp>
          <p:nvCxnSpPr>
            <p:cNvPr id="69" name="Straight Connector 68">
              <a:extLst>
                <a:ext uri="{FF2B5EF4-FFF2-40B4-BE49-F238E27FC236}">
                  <a16:creationId xmlns:a16="http://schemas.microsoft.com/office/drawing/2014/main" id="{BC3BCE44-3F22-43C2-8859-2D27021832D1}"/>
                </a:ext>
              </a:extLst>
            </p:cNvPr>
            <p:cNvCxnSpPr>
              <a:cxnSpLocks/>
            </p:cNvCxnSpPr>
            <p:nvPr/>
          </p:nvCxnSpPr>
          <p:spPr>
            <a:xfrm>
              <a:off x="8044496" y="2610229"/>
              <a:ext cx="1065225" cy="0"/>
            </a:xfrm>
            <a:prstGeom prst="line">
              <a:avLst/>
            </a:prstGeom>
            <a:noFill/>
            <a:ln w="38100" cap="flat" cmpd="sng" algn="ctr">
              <a:solidFill>
                <a:srgbClr val="2098D5">
                  <a:lumMod val="75000"/>
                </a:srgbClr>
              </a:solidFill>
              <a:prstDash val="solid"/>
            </a:ln>
            <a:effectLst/>
          </p:spPr>
        </p:cxnSp>
        <p:cxnSp>
          <p:nvCxnSpPr>
            <p:cNvPr id="70" name="Straight Connector 69">
              <a:extLst>
                <a:ext uri="{FF2B5EF4-FFF2-40B4-BE49-F238E27FC236}">
                  <a16:creationId xmlns:a16="http://schemas.microsoft.com/office/drawing/2014/main" id="{D4ACCC6B-B053-4873-BC6B-A9BD76576A76}"/>
                </a:ext>
              </a:extLst>
            </p:cNvPr>
            <p:cNvCxnSpPr>
              <a:cxnSpLocks/>
            </p:cNvCxnSpPr>
            <p:nvPr/>
          </p:nvCxnSpPr>
          <p:spPr>
            <a:xfrm>
              <a:off x="8044496" y="2435198"/>
              <a:ext cx="1065225" cy="0"/>
            </a:xfrm>
            <a:prstGeom prst="line">
              <a:avLst/>
            </a:prstGeom>
            <a:noFill/>
            <a:ln w="38100" cap="flat" cmpd="sng" algn="ctr">
              <a:solidFill>
                <a:srgbClr val="2098D5">
                  <a:lumMod val="75000"/>
                </a:srgbClr>
              </a:solidFill>
              <a:prstDash val="solid"/>
            </a:ln>
            <a:effectLst/>
          </p:spPr>
        </p:cxnSp>
      </p:grpSp>
      <p:sp>
        <p:nvSpPr>
          <p:cNvPr id="72" name="Rectangle: Diagonal Corners Rounded 71">
            <a:extLst>
              <a:ext uri="{FF2B5EF4-FFF2-40B4-BE49-F238E27FC236}">
                <a16:creationId xmlns:a16="http://schemas.microsoft.com/office/drawing/2014/main" id="{3E3C855A-E157-4E93-89BF-92F36A12CA1C}"/>
              </a:ext>
            </a:extLst>
          </p:cNvPr>
          <p:cNvSpPr/>
          <p:nvPr/>
        </p:nvSpPr>
        <p:spPr>
          <a:xfrm>
            <a:off x="4047131" y="4251243"/>
            <a:ext cx="1213134" cy="1763614"/>
          </a:xfrm>
          <a:prstGeom prst="round2DiagRect">
            <a:avLst>
              <a:gd name="adj1" fmla="val 3765"/>
              <a:gd name="adj2" fmla="val 0"/>
            </a:avLst>
          </a:prstGeom>
          <a:solidFill>
            <a:sysClr val="windowText" lastClr="000000">
              <a:lumMod val="65000"/>
              <a:lumOff val="35000"/>
            </a:sysClr>
          </a:solidFill>
          <a:ln w="25400" cap="flat" cmpd="sng" algn="ctr">
            <a:solidFill>
              <a:srgbClr val="424CA0">
                <a:shade val="50000"/>
              </a:srgbClr>
            </a:solidFill>
            <a:prstDash val="solid"/>
          </a:ln>
          <a:effectLst/>
        </p:spPr>
        <p:txBody>
          <a:bodyPr rtlCol="0" anchor="ctr"/>
          <a:lstStyle/>
          <a:p>
            <a:pPr algn="ctr" defTabSz="932418">
              <a:defRPr/>
            </a:pPr>
            <a:endParaRPr lang="en-US" sz="1836" kern="0">
              <a:solidFill>
                <a:prstClr val="white"/>
              </a:solidFill>
              <a:latin typeface="Segoe UI"/>
            </a:endParaRPr>
          </a:p>
        </p:txBody>
      </p:sp>
      <p:grpSp>
        <p:nvGrpSpPr>
          <p:cNvPr id="73" name="Group 72">
            <a:extLst>
              <a:ext uri="{FF2B5EF4-FFF2-40B4-BE49-F238E27FC236}">
                <a16:creationId xmlns:a16="http://schemas.microsoft.com/office/drawing/2014/main" id="{2593FE0F-1CB8-4FCA-8743-606BC73AA36A}"/>
              </a:ext>
            </a:extLst>
          </p:cNvPr>
          <p:cNvGrpSpPr/>
          <p:nvPr/>
        </p:nvGrpSpPr>
        <p:grpSpPr>
          <a:xfrm>
            <a:off x="4128732" y="4461047"/>
            <a:ext cx="1131534" cy="0"/>
            <a:chOff x="2936943" y="4120563"/>
            <a:chExt cx="909721" cy="0"/>
          </a:xfrm>
        </p:grpSpPr>
        <p:cxnSp>
          <p:nvCxnSpPr>
            <p:cNvPr id="88" name="Straight Connector 87">
              <a:extLst>
                <a:ext uri="{FF2B5EF4-FFF2-40B4-BE49-F238E27FC236}">
                  <a16:creationId xmlns:a16="http://schemas.microsoft.com/office/drawing/2014/main" id="{CDEFCC7F-9910-4594-B86B-83342DB5CFCC}"/>
                </a:ext>
              </a:extLst>
            </p:cNvPr>
            <p:cNvCxnSpPr>
              <a:cxnSpLocks/>
            </p:cNvCxnSpPr>
            <p:nvPr/>
          </p:nvCxnSpPr>
          <p:spPr>
            <a:xfrm>
              <a:off x="2936943" y="4120563"/>
              <a:ext cx="838103" cy="0"/>
            </a:xfrm>
            <a:prstGeom prst="line">
              <a:avLst/>
            </a:prstGeom>
            <a:noFill/>
            <a:ln w="19050" cap="flat" cmpd="sng" algn="ctr">
              <a:solidFill>
                <a:srgbClr val="2098D5">
                  <a:lumMod val="75000"/>
                </a:srgbClr>
              </a:solidFill>
              <a:prstDash val="solid"/>
            </a:ln>
            <a:effectLst/>
          </p:spPr>
        </p:cxnSp>
        <p:cxnSp>
          <p:nvCxnSpPr>
            <p:cNvPr id="89" name="Straight Connector 88">
              <a:extLst>
                <a:ext uri="{FF2B5EF4-FFF2-40B4-BE49-F238E27FC236}">
                  <a16:creationId xmlns:a16="http://schemas.microsoft.com/office/drawing/2014/main" id="{B7338971-8AA3-4D5A-8CDF-20661E9C0B36}"/>
                </a:ext>
              </a:extLst>
            </p:cNvPr>
            <p:cNvCxnSpPr>
              <a:cxnSpLocks/>
            </p:cNvCxnSpPr>
            <p:nvPr/>
          </p:nvCxnSpPr>
          <p:spPr>
            <a:xfrm>
              <a:off x="3439486" y="4120563"/>
              <a:ext cx="407178" cy="0"/>
            </a:xfrm>
            <a:prstGeom prst="line">
              <a:avLst/>
            </a:prstGeom>
            <a:noFill/>
            <a:ln w="76200" cap="flat" cmpd="sng" algn="ctr">
              <a:solidFill>
                <a:srgbClr val="2098D5">
                  <a:lumMod val="60000"/>
                  <a:lumOff val="40000"/>
                </a:srgbClr>
              </a:solidFill>
              <a:prstDash val="solid"/>
            </a:ln>
            <a:effectLst/>
          </p:spPr>
        </p:cxnSp>
      </p:grpSp>
      <p:grpSp>
        <p:nvGrpSpPr>
          <p:cNvPr id="74" name="Group 73">
            <a:extLst>
              <a:ext uri="{FF2B5EF4-FFF2-40B4-BE49-F238E27FC236}">
                <a16:creationId xmlns:a16="http://schemas.microsoft.com/office/drawing/2014/main" id="{F45078F8-0199-4AD1-86DC-0C1B59EC3C35}"/>
              </a:ext>
            </a:extLst>
          </p:cNvPr>
          <p:cNvGrpSpPr/>
          <p:nvPr/>
        </p:nvGrpSpPr>
        <p:grpSpPr>
          <a:xfrm>
            <a:off x="4128732" y="4632089"/>
            <a:ext cx="1131534" cy="0"/>
            <a:chOff x="2936943" y="4120563"/>
            <a:chExt cx="909721" cy="0"/>
          </a:xfrm>
        </p:grpSpPr>
        <p:cxnSp>
          <p:nvCxnSpPr>
            <p:cNvPr id="86" name="Straight Connector 85">
              <a:extLst>
                <a:ext uri="{FF2B5EF4-FFF2-40B4-BE49-F238E27FC236}">
                  <a16:creationId xmlns:a16="http://schemas.microsoft.com/office/drawing/2014/main" id="{53923D4A-9C90-42E3-B9BC-D788A2F6E03E}"/>
                </a:ext>
              </a:extLst>
            </p:cNvPr>
            <p:cNvCxnSpPr>
              <a:cxnSpLocks/>
            </p:cNvCxnSpPr>
            <p:nvPr/>
          </p:nvCxnSpPr>
          <p:spPr>
            <a:xfrm>
              <a:off x="2936943" y="4120563"/>
              <a:ext cx="838103" cy="0"/>
            </a:xfrm>
            <a:prstGeom prst="line">
              <a:avLst/>
            </a:prstGeom>
            <a:noFill/>
            <a:ln w="19050" cap="flat" cmpd="sng" algn="ctr">
              <a:solidFill>
                <a:srgbClr val="2098D5">
                  <a:lumMod val="75000"/>
                </a:srgbClr>
              </a:solidFill>
              <a:prstDash val="solid"/>
            </a:ln>
            <a:effectLst/>
          </p:spPr>
        </p:cxnSp>
        <p:cxnSp>
          <p:nvCxnSpPr>
            <p:cNvPr id="87" name="Straight Connector 86">
              <a:extLst>
                <a:ext uri="{FF2B5EF4-FFF2-40B4-BE49-F238E27FC236}">
                  <a16:creationId xmlns:a16="http://schemas.microsoft.com/office/drawing/2014/main" id="{55054538-D9E7-4244-B617-7EB70749E75F}"/>
                </a:ext>
              </a:extLst>
            </p:cNvPr>
            <p:cNvCxnSpPr>
              <a:cxnSpLocks/>
            </p:cNvCxnSpPr>
            <p:nvPr/>
          </p:nvCxnSpPr>
          <p:spPr>
            <a:xfrm>
              <a:off x="3439486" y="4120563"/>
              <a:ext cx="407178" cy="0"/>
            </a:xfrm>
            <a:prstGeom prst="line">
              <a:avLst/>
            </a:prstGeom>
            <a:noFill/>
            <a:ln w="76200" cap="flat" cmpd="sng" algn="ctr">
              <a:solidFill>
                <a:srgbClr val="2098D5">
                  <a:lumMod val="60000"/>
                  <a:lumOff val="40000"/>
                </a:srgbClr>
              </a:solidFill>
              <a:prstDash val="solid"/>
            </a:ln>
            <a:effectLst/>
          </p:spPr>
        </p:cxnSp>
      </p:grpSp>
      <p:grpSp>
        <p:nvGrpSpPr>
          <p:cNvPr id="75" name="Group 74">
            <a:extLst>
              <a:ext uri="{FF2B5EF4-FFF2-40B4-BE49-F238E27FC236}">
                <a16:creationId xmlns:a16="http://schemas.microsoft.com/office/drawing/2014/main" id="{D949FF13-1C89-4791-A30E-A1ABD70CA0B2}"/>
              </a:ext>
            </a:extLst>
          </p:cNvPr>
          <p:cNvGrpSpPr/>
          <p:nvPr/>
        </p:nvGrpSpPr>
        <p:grpSpPr>
          <a:xfrm>
            <a:off x="4118526" y="4826133"/>
            <a:ext cx="1131534" cy="0"/>
            <a:chOff x="2936943" y="4120563"/>
            <a:chExt cx="909721" cy="0"/>
          </a:xfrm>
        </p:grpSpPr>
        <p:cxnSp>
          <p:nvCxnSpPr>
            <p:cNvPr id="84" name="Straight Connector 83">
              <a:extLst>
                <a:ext uri="{FF2B5EF4-FFF2-40B4-BE49-F238E27FC236}">
                  <a16:creationId xmlns:a16="http://schemas.microsoft.com/office/drawing/2014/main" id="{E7B1EE0B-7B86-4C78-A10C-FC7CC59B24A3}"/>
                </a:ext>
              </a:extLst>
            </p:cNvPr>
            <p:cNvCxnSpPr>
              <a:cxnSpLocks/>
            </p:cNvCxnSpPr>
            <p:nvPr/>
          </p:nvCxnSpPr>
          <p:spPr>
            <a:xfrm>
              <a:off x="2936943" y="4120563"/>
              <a:ext cx="838103" cy="0"/>
            </a:xfrm>
            <a:prstGeom prst="line">
              <a:avLst/>
            </a:prstGeom>
            <a:noFill/>
            <a:ln w="19050" cap="flat" cmpd="sng" algn="ctr">
              <a:solidFill>
                <a:srgbClr val="2098D5">
                  <a:lumMod val="75000"/>
                </a:srgbClr>
              </a:solidFill>
              <a:prstDash val="solid"/>
            </a:ln>
            <a:effectLst/>
          </p:spPr>
        </p:cxnSp>
        <p:cxnSp>
          <p:nvCxnSpPr>
            <p:cNvPr id="85" name="Straight Connector 84">
              <a:extLst>
                <a:ext uri="{FF2B5EF4-FFF2-40B4-BE49-F238E27FC236}">
                  <a16:creationId xmlns:a16="http://schemas.microsoft.com/office/drawing/2014/main" id="{35AD41D6-AF79-4E6D-83A5-B6542986730E}"/>
                </a:ext>
              </a:extLst>
            </p:cNvPr>
            <p:cNvCxnSpPr>
              <a:cxnSpLocks/>
            </p:cNvCxnSpPr>
            <p:nvPr/>
          </p:nvCxnSpPr>
          <p:spPr>
            <a:xfrm>
              <a:off x="3439486" y="4120563"/>
              <a:ext cx="407178" cy="0"/>
            </a:xfrm>
            <a:prstGeom prst="line">
              <a:avLst/>
            </a:prstGeom>
            <a:noFill/>
            <a:ln w="76200" cap="flat" cmpd="sng" algn="ctr">
              <a:solidFill>
                <a:srgbClr val="2098D5">
                  <a:lumMod val="60000"/>
                  <a:lumOff val="40000"/>
                </a:srgbClr>
              </a:solidFill>
              <a:prstDash val="solid"/>
            </a:ln>
            <a:effectLst/>
          </p:spPr>
        </p:cxnSp>
      </p:grpSp>
      <p:sp>
        <p:nvSpPr>
          <p:cNvPr id="76" name="Oval 75">
            <a:extLst>
              <a:ext uri="{FF2B5EF4-FFF2-40B4-BE49-F238E27FC236}">
                <a16:creationId xmlns:a16="http://schemas.microsoft.com/office/drawing/2014/main" id="{4AA0A5E8-1D3E-4CE4-A1D9-FC70B7B71013}"/>
              </a:ext>
            </a:extLst>
          </p:cNvPr>
          <p:cNvSpPr/>
          <p:nvPr/>
        </p:nvSpPr>
        <p:spPr>
          <a:xfrm>
            <a:off x="5073124" y="5783809"/>
            <a:ext cx="106263" cy="131214"/>
          </a:xfrm>
          <a:prstGeom prst="ellipse">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932418">
              <a:defRPr/>
            </a:pPr>
            <a:endParaRPr lang="en-US" sz="1836" kern="0">
              <a:solidFill>
                <a:prstClr val="white"/>
              </a:solidFill>
              <a:latin typeface="Segoe UI"/>
            </a:endParaRPr>
          </a:p>
        </p:txBody>
      </p:sp>
      <p:cxnSp>
        <p:nvCxnSpPr>
          <p:cNvPr id="90" name="Straight Arrow Connector 89">
            <a:extLst>
              <a:ext uri="{FF2B5EF4-FFF2-40B4-BE49-F238E27FC236}">
                <a16:creationId xmlns:a16="http://schemas.microsoft.com/office/drawing/2014/main" id="{ED37A208-DEF5-4CCF-A1DB-C15E58CD4D1D}"/>
              </a:ext>
            </a:extLst>
          </p:cNvPr>
          <p:cNvCxnSpPr>
            <a:cxnSpLocks/>
          </p:cNvCxnSpPr>
          <p:nvPr/>
        </p:nvCxnSpPr>
        <p:spPr>
          <a:xfrm>
            <a:off x="4980290" y="2968315"/>
            <a:ext cx="0" cy="1098573"/>
          </a:xfrm>
          <a:prstGeom prst="straightConnector1">
            <a:avLst/>
          </a:prstGeom>
          <a:noFill/>
          <a:ln w="57150" cap="flat" cmpd="sng" algn="ctr">
            <a:solidFill>
              <a:srgbClr val="EF3B24"/>
            </a:solidFill>
            <a:prstDash val="solid"/>
            <a:tailEnd type="triangle"/>
          </a:ln>
          <a:effectLst/>
        </p:spPr>
      </p:cxnSp>
      <p:grpSp>
        <p:nvGrpSpPr>
          <p:cNvPr id="92" name="Group 91">
            <a:extLst>
              <a:ext uri="{FF2B5EF4-FFF2-40B4-BE49-F238E27FC236}">
                <a16:creationId xmlns:a16="http://schemas.microsoft.com/office/drawing/2014/main" id="{7189497B-C7D4-4E1E-90CE-3336FF67D444}"/>
              </a:ext>
            </a:extLst>
          </p:cNvPr>
          <p:cNvGrpSpPr/>
          <p:nvPr/>
        </p:nvGrpSpPr>
        <p:grpSpPr>
          <a:xfrm>
            <a:off x="4750651" y="4102438"/>
            <a:ext cx="685703" cy="495934"/>
            <a:chOff x="3505200" y="3999839"/>
            <a:chExt cx="685800" cy="496005"/>
          </a:xfrm>
        </p:grpSpPr>
        <p:sp>
          <p:nvSpPr>
            <p:cNvPr id="93" name="Rectangle 92">
              <a:extLst>
                <a:ext uri="{FF2B5EF4-FFF2-40B4-BE49-F238E27FC236}">
                  <a16:creationId xmlns:a16="http://schemas.microsoft.com/office/drawing/2014/main" id="{36731D01-3078-4C2A-9601-4241E6BB07E7}"/>
                </a:ext>
              </a:extLst>
            </p:cNvPr>
            <p:cNvSpPr/>
            <p:nvPr/>
          </p:nvSpPr>
          <p:spPr>
            <a:xfrm>
              <a:off x="3505200" y="4008876"/>
              <a:ext cx="685800" cy="486968"/>
            </a:xfrm>
            <a:prstGeom prst="rect">
              <a:avLst/>
            </a:prstGeom>
            <a:solidFill>
              <a:srgbClr val="129038">
                <a:lumMod val="40000"/>
                <a:lumOff val="60000"/>
              </a:srgbClr>
            </a:solidFill>
            <a:ln w="25400" cap="flat" cmpd="sng" algn="ctr">
              <a:solidFill>
                <a:srgbClr val="129038"/>
              </a:solidFill>
              <a:prstDash val="solid"/>
            </a:ln>
            <a:effectLst/>
          </p:spPr>
          <p:txBody>
            <a:bodyPr rtlCol="0" anchor="ctr"/>
            <a:lstStyle/>
            <a:p>
              <a:pPr marL="228556" indent="-228556" algn="ctr" defTabSz="457112" eaLnBrk="0" fontAlgn="base" hangingPunct="0">
                <a:spcBef>
                  <a:spcPct val="0"/>
                </a:spcBef>
                <a:spcAft>
                  <a:spcPct val="0"/>
                </a:spcAft>
                <a:buBlip>
                  <a:blip r:embed="rId4"/>
                </a:buBlip>
                <a:defRPr/>
              </a:pPr>
              <a:endParaRPr lang="en-US" kern="0" dirty="0">
                <a:solidFill>
                  <a:srgbClr val="000000"/>
                </a:solidFill>
                <a:latin typeface="Segoe UI Light" panose="020B0502040204020203" pitchFamily="34" charset="0"/>
                <a:cs typeface="Segoe UI Light" panose="020B0502040204020203" pitchFamily="34" charset="0"/>
              </a:endParaRPr>
            </a:p>
          </p:txBody>
        </p:sp>
        <p:cxnSp>
          <p:nvCxnSpPr>
            <p:cNvPr id="94" name="Straight Connector 93">
              <a:extLst>
                <a:ext uri="{FF2B5EF4-FFF2-40B4-BE49-F238E27FC236}">
                  <a16:creationId xmlns:a16="http://schemas.microsoft.com/office/drawing/2014/main" id="{B2C6D08D-40CC-4CD1-8CAC-D0318037282E}"/>
                </a:ext>
              </a:extLst>
            </p:cNvPr>
            <p:cNvCxnSpPr>
              <a:stCxn id="93" idx="0"/>
              <a:endCxn id="93" idx="2"/>
            </p:cNvCxnSpPr>
            <p:nvPr/>
          </p:nvCxnSpPr>
          <p:spPr>
            <a:xfrm>
              <a:off x="3848100" y="4008876"/>
              <a:ext cx="0" cy="486968"/>
            </a:xfrm>
            <a:prstGeom prst="line">
              <a:avLst/>
            </a:prstGeom>
            <a:noFill/>
            <a:ln w="25400" cap="flat" cmpd="sng" algn="ctr">
              <a:solidFill>
                <a:srgbClr val="129038"/>
              </a:solidFill>
              <a:prstDash val="solid"/>
            </a:ln>
            <a:effectLst/>
          </p:spPr>
        </p:cxnSp>
        <p:cxnSp>
          <p:nvCxnSpPr>
            <p:cNvPr id="95" name="Straight Connector 94">
              <a:extLst>
                <a:ext uri="{FF2B5EF4-FFF2-40B4-BE49-F238E27FC236}">
                  <a16:creationId xmlns:a16="http://schemas.microsoft.com/office/drawing/2014/main" id="{1CE5DDB3-416F-446D-8B51-D0417188532F}"/>
                </a:ext>
              </a:extLst>
            </p:cNvPr>
            <p:cNvCxnSpPr/>
            <p:nvPr/>
          </p:nvCxnSpPr>
          <p:spPr>
            <a:xfrm>
              <a:off x="4027714" y="3999839"/>
              <a:ext cx="0" cy="496005"/>
            </a:xfrm>
            <a:prstGeom prst="line">
              <a:avLst/>
            </a:prstGeom>
            <a:noFill/>
            <a:ln w="25400" cap="flat" cmpd="sng" algn="ctr">
              <a:solidFill>
                <a:srgbClr val="129038"/>
              </a:solidFill>
              <a:prstDash val="solid"/>
            </a:ln>
            <a:effectLst/>
          </p:spPr>
        </p:cxnSp>
        <p:cxnSp>
          <p:nvCxnSpPr>
            <p:cNvPr id="96" name="Straight Connector 95">
              <a:extLst>
                <a:ext uri="{FF2B5EF4-FFF2-40B4-BE49-F238E27FC236}">
                  <a16:creationId xmlns:a16="http://schemas.microsoft.com/office/drawing/2014/main" id="{F4E91FAF-AFAF-4A15-AC58-E5904EA8C872}"/>
                </a:ext>
              </a:extLst>
            </p:cNvPr>
            <p:cNvCxnSpPr/>
            <p:nvPr/>
          </p:nvCxnSpPr>
          <p:spPr>
            <a:xfrm>
              <a:off x="3669475" y="4008876"/>
              <a:ext cx="0" cy="486968"/>
            </a:xfrm>
            <a:prstGeom prst="line">
              <a:avLst/>
            </a:prstGeom>
            <a:noFill/>
            <a:ln w="25400" cap="flat" cmpd="sng" algn="ctr">
              <a:solidFill>
                <a:srgbClr val="129038"/>
              </a:solidFill>
              <a:prstDash val="solid"/>
            </a:ln>
            <a:effectLst/>
          </p:spPr>
        </p:cxnSp>
        <p:cxnSp>
          <p:nvCxnSpPr>
            <p:cNvPr id="97" name="Straight Connector 96">
              <a:extLst>
                <a:ext uri="{FF2B5EF4-FFF2-40B4-BE49-F238E27FC236}">
                  <a16:creationId xmlns:a16="http://schemas.microsoft.com/office/drawing/2014/main" id="{583B0D9D-D269-43E8-9113-06756222B3D3}"/>
                </a:ext>
              </a:extLst>
            </p:cNvPr>
            <p:cNvCxnSpPr/>
            <p:nvPr/>
          </p:nvCxnSpPr>
          <p:spPr>
            <a:xfrm>
              <a:off x="3505200" y="4343400"/>
              <a:ext cx="685800" cy="0"/>
            </a:xfrm>
            <a:prstGeom prst="line">
              <a:avLst/>
            </a:prstGeom>
            <a:noFill/>
            <a:ln w="25400" cap="flat" cmpd="sng" algn="ctr">
              <a:solidFill>
                <a:srgbClr val="129038"/>
              </a:solidFill>
              <a:prstDash val="solid"/>
            </a:ln>
            <a:effectLst/>
          </p:spPr>
        </p:cxnSp>
        <p:cxnSp>
          <p:nvCxnSpPr>
            <p:cNvPr id="98" name="Straight Connector 97">
              <a:extLst>
                <a:ext uri="{FF2B5EF4-FFF2-40B4-BE49-F238E27FC236}">
                  <a16:creationId xmlns:a16="http://schemas.microsoft.com/office/drawing/2014/main" id="{B8DFD1EC-52D3-407E-9F9E-EB3FDC483294}"/>
                </a:ext>
              </a:extLst>
            </p:cNvPr>
            <p:cNvCxnSpPr/>
            <p:nvPr/>
          </p:nvCxnSpPr>
          <p:spPr>
            <a:xfrm>
              <a:off x="3505200" y="4191000"/>
              <a:ext cx="685800" cy="0"/>
            </a:xfrm>
            <a:prstGeom prst="line">
              <a:avLst/>
            </a:prstGeom>
            <a:noFill/>
            <a:ln w="25400" cap="flat" cmpd="sng" algn="ctr">
              <a:solidFill>
                <a:srgbClr val="129038"/>
              </a:solidFill>
              <a:prstDash val="solid"/>
            </a:ln>
            <a:effectLst/>
          </p:spPr>
        </p:cxnSp>
        <p:sp>
          <p:nvSpPr>
            <p:cNvPr id="99" name="Rectangle 98">
              <a:extLst>
                <a:ext uri="{FF2B5EF4-FFF2-40B4-BE49-F238E27FC236}">
                  <a16:creationId xmlns:a16="http://schemas.microsoft.com/office/drawing/2014/main" id="{6B6B4222-2BA4-4B95-A26A-9A795BD4988A}"/>
                </a:ext>
              </a:extLst>
            </p:cNvPr>
            <p:cNvSpPr/>
            <p:nvPr/>
          </p:nvSpPr>
          <p:spPr>
            <a:xfrm>
              <a:off x="3669475" y="4008876"/>
              <a:ext cx="178625" cy="182124"/>
            </a:xfrm>
            <a:prstGeom prst="rect">
              <a:avLst/>
            </a:prstGeom>
            <a:solidFill>
              <a:srgbClr val="129038">
                <a:lumMod val="75000"/>
              </a:srgbClr>
            </a:solidFill>
            <a:ln w="25400" cap="flat" cmpd="sng" algn="ctr">
              <a:solidFill>
                <a:srgbClr val="129038"/>
              </a:solidFill>
              <a:prstDash val="solid"/>
            </a:ln>
            <a:effectLst/>
          </p:spPr>
          <p:txBody>
            <a:bodyPr rtlCol="0" anchor="ctr"/>
            <a:lstStyle/>
            <a:p>
              <a:pPr marL="228556" indent="-228556" algn="ctr" defTabSz="457112" eaLnBrk="0" fontAlgn="base" hangingPunct="0">
                <a:spcBef>
                  <a:spcPct val="0"/>
                </a:spcBef>
                <a:spcAft>
                  <a:spcPct val="0"/>
                </a:spcAft>
                <a:buBlip>
                  <a:blip r:embed="rId4"/>
                </a:buBlip>
                <a:defRPr/>
              </a:pPr>
              <a:endParaRPr lang="en-US" kern="0" dirty="0">
                <a:solidFill>
                  <a:srgbClr val="000000"/>
                </a:solidFill>
                <a:latin typeface="Segoe UI Light" panose="020B0502040204020203" pitchFamily="34" charset="0"/>
                <a:cs typeface="Segoe UI Light" panose="020B0502040204020203" pitchFamily="34" charset="0"/>
              </a:endParaRPr>
            </a:p>
          </p:txBody>
        </p:sp>
      </p:grpSp>
      <p:sp>
        <p:nvSpPr>
          <p:cNvPr id="78" name="Rounded Rectangle 30">
            <a:extLst>
              <a:ext uri="{FF2B5EF4-FFF2-40B4-BE49-F238E27FC236}">
                <a16:creationId xmlns:a16="http://schemas.microsoft.com/office/drawing/2014/main" id="{0E1D0349-E50F-4277-A7AB-22F21660548B}"/>
              </a:ext>
            </a:extLst>
          </p:cNvPr>
          <p:cNvSpPr/>
          <p:nvPr/>
        </p:nvSpPr>
        <p:spPr>
          <a:xfrm>
            <a:off x="3941713" y="4972879"/>
            <a:ext cx="930179" cy="1251783"/>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algn="ctr" defTabSz="932418">
              <a:defRPr/>
            </a:pPr>
            <a:endParaRPr lang="en-US" sz="1223" kern="0">
              <a:solidFill>
                <a:sysClr val="windowText" lastClr="000000"/>
              </a:solidFill>
              <a:latin typeface="Segoe UI"/>
            </a:endParaRPr>
          </a:p>
        </p:txBody>
      </p:sp>
      <p:sp>
        <p:nvSpPr>
          <p:cNvPr id="4" name="Rectangle 3">
            <a:extLst>
              <a:ext uri="{FF2B5EF4-FFF2-40B4-BE49-F238E27FC236}">
                <a16:creationId xmlns:a16="http://schemas.microsoft.com/office/drawing/2014/main" id="{54A3EA12-88F2-458B-8579-C78F16879A4F}"/>
              </a:ext>
            </a:extLst>
          </p:cNvPr>
          <p:cNvSpPr/>
          <p:nvPr/>
        </p:nvSpPr>
        <p:spPr>
          <a:xfrm>
            <a:off x="4144232" y="5117650"/>
            <a:ext cx="515736" cy="258884"/>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Page</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6" name="Rectangle 5">
            <a:extLst>
              <a:ext uri="{FF2B5EF4-FFF2-40B4-BE49-F238E27FC236}">
                <a16:creationId xmlns:a16="http://schemas.microsoft.com/office/drawing/2014/main" id="{E7B62356-02A1-4457-94CB-248AB2762698}"/>
              </a:ext>
            </a:extLst>
          </p:cNvPr>
          <p:cNvSpPr/>
          <p:nvPr/>
        </p:nvSpPr>
        <p:spPr>
          <a:xfrm>
            <a:off x="4144232" y="5483645"/>
            <a:ext cx="515736" cy="258884"/>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Page</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8" name="Rectangle 7">
            <a:extLst>
              <a:ext uri="{FF2B5EF4-FFF2-40B4-BE49-F238E27FC236}">
                <a16:creationId xmlns:a16="http://schemas.microsoft.com/office/drawing/2014/main" id="{30926B68-7652-4960-963E-1E64124D5A16}"/>
              </a:ext>
            </a:extLst>
          </p:cNvPr>
          <p:cNvSpPr/>
          <p:nvPr/>
        </p:nvSpPr>
        <p:spPr>
          <a:xfrm>
            <a:off x="4144232" y="5838309"/>
            <a:ext cx="515736" cy="258884"/>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Page</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cxnSp>
        <p:nvCxnSpPr>
          <p:cNvPr id="48" name="Straight Arrow Connector 47">
            <a:extLst>
              <a:ext uri="{FF2B5EF4-FFF2-40B4-BE49-F238E27FC236}">
                <a16:creationId xmlns:a16="http://schemas.microsoft.com/office/drawing/2014/main" id="{757CF6FC-0E23-44EF-9775-EFF18617BAC5}"/>
              </a:ext>
            </a:extLst>
          </p:cNvPr>
          <p:cNvCxnSpPr>
            <a:cxnSpLocks/>
          </p:cNvCxnSpPr>
          <p:nvPr/>
        </p:nvCxnSpPr>
        <p:spPr>
          <a:xfrm>
            <a:off x="4438947" y="2980788"/>
            <a:ext cx="13608" cy="1940604"/>
          </a:xfrm>
          <a:prstGeom prst="straightConnector1">
            <a:avLst/>
          </a:prstGeom>
          <a:noFill/>
          <a:ln w="57150" cap="flat" cmpd="sng" algn="ctr">
            <a:solidFill>
              <a:srgbClr val="EF3B24"/>
            </a:solidFill>
            <a:prstDash val="solid"/>
            <a:tailEnd type="triangle"/>
          </a:ln>
          <a:effectLst/>
        </p:spPr>
      </p:cxnSp>
      <p:sp>
        <p:nvSpPr>
          <p:cNvPr id="14" name="Rectangle 13">
            <a:extLst>
              <a:ext uri="{FF2B5EF4-FFF2-40B4-BE49-F238E27FC236}">
                <a16:creationId xmlns:a16="http://schemas.microsoft.com/office/drawing/2014/main" id="{93530D76-2B04-478B-BBE3-0921DC2DF992}"/>
              </a:ext>
            </a:extLst>
          </p:cNvPr>
          <p:cNvSpPr/>
          <p:nvPr/>
        </p:nvSpPr>
        <p:spPr>
          <a:xfrm>
            <a:off x="3832013" y="6239991"/>
            <a:ext cx="1140175" cy="258884"/>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Buffer Cache</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15" name="Rectangle 14">
            <a:extLst>
              <a:ext uri="{FF2B5EF4-FFF2-40B4-BE49-F238E27FC236}">
                <a16:creationId xmlns:a16="http://schemas.microsoft.com/office/drawing/2014/main" id="{E332DF76-DDF9-4B2F-B10E-53845420DD7A}"/>
              </a:ext>
            </a:extLst>
          </p:cNvPr>
          <p:cNvSpPr/>
          <p:nvPr/>
        </p:nvSpPr>
        <p:spPr>
          <a:xfrm>
            <a:off x="7684406" y="6110549"/>
            <a:ext cx="1140175" cy="258884"/>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MDF or NDF</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16" name="Rectangle 15">
            <a:extLst>
              <a:ext uri="{FF2B5EF4-FFF2-40B4-BE49-F238E27FC236}">
                <a16:creationId xmlns:a16="http://schemas.microsoft.com/office/drawing/2014/main" id="{482BD400-DBBC-44A8-B573-893A0FDCBB66}"/>
              </a:ext>
            </a:extLst>
          </p:cNvPr>
          <p:cNvSpPr/>
          <p:nvPr/>
        </p:nvSpPr>
        <p:spPr>
          <a:xfrm>
            <a:off x="7684406" y="2879944"/>
            <a:ext cx="1140175" cy="258884"/>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LDF</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Tree>
    <p:extLst>
      <p:ext uri="{BB962C8B-B14F-4D97-AF65-F5344CB8AC3E}">
        <p14:creationId xmlns:p14="http://schemas.microsoft.com/office/powerpoint/2010/main" val="15719369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3B396-ACEF-4A35-A562-142161DD6816}"/>
              </a:ext>
            </a:extLst>
          </p:cNvPr>
          <p:cNvSpPr>
            <a:spLocks noGrp="1"/>
          </p:cNvSpPr>
          <p:nvPr>
            <p:ph type="title"/>
          </p:nvPr>
        </p:nvSpPr>
        <p:spPr/>
        <p:txBody>
          <a:bodyPr/>
          <a:lstStyle/>
          <a:p>
            <a:r>
              <a:rPr lang="en-US" dirty="0"/>
              <a:t>Log Buffer Flushing</a:t>
            </a:r>
          </a:p>
        </p:txBody>
      </p:sp>
      <p:graphicFrame>
        <p:nvGraphicFramePr>
          <p:cNvPr id="4" name="Content Placeholder 3">
            <a:extLst>
              <a:ext uri="{FF2B5EF4-FFF2-40B4-BE49-F238E27FC236}">
                <a16:creationId xmlns:a16="http://schemas.microsoft.com/office/drawing/2014/main" id="{CBBE10F8-AF7C-48AE-9E65-953A4F06B9AF}"/>
              </a:ext>
            </a:extLst>
          </p:cNvPr>
          <p:cNvGraphicFramePr>
            <a:graphicFrameLocks noGrp="1"/>
          </p:cNvGraphicFramePr>
          <p:nvPr>
            <p:ph sz="quarter" idx="13"/>
            <p:extLst>
              <p:ext uri="{D42A27DB-BD31-4B8C-83A1-F6EECF244321}">
                <p14:modId xmlns:p14="http://schemas.microsoft.com/office/powerpoint/2010/main" val="3037002427"/>
              </p:ext>
            </p:extLst>
          </p:nvPr>
        </p:nvGraphicFramePr>
        <p:xfrm>
          <a:off x="655638" y="1216385"/>
          <a:ext cx="10880726"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700456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1.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1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22.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8.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48.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heme/theme1.xml><?xml version="1.0" encoding="utf-8"?>
<a:theme xmlns:a="http://schemas.openxmlformats.org/drawingml/2006/main" name="CORE TEMPLATE">
  <a:themeElements>
    <a:clrScheme name="Custom 83">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10.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CORE TEMPLATE">
  <a:themeElements>
    <a:clrScheme name="Custom 83">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3.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4.xml><?xml version="1.0" encoding="utf-8"?>
<a:theme xmlns:a="http://schemas.openxmlformats.org/drawingml/2006/main" name="Microsoft 365 PPT Template - 2018">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5.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6.xml><?xml version="1.0" encoding="utf-8"?>
<a:theme xmlns:a="http://schemas.openxmlformats.org/drawingml/2006/main" name="2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7.xml><?xml version="1.0" encoding="utf-8"?>
<a:theme xmlns:a="http://schemas.openxmlformats.org/drawingml/2006/main" name="1_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8.xml><?xml version="1.0" encoding="utf-8"?>
<a:theme xmlns:a="http://schemas.openxmlformats.org/drawingml/2006/main" name="2_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9.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0.xml><?xml version="1.0" encoding="utf-8"?>
<?mso-contentType ?>
<FormTemplates xmlns="http://schemas.microsoft.com/sharepoint/v3/contenttype/forms">
  <Display>DocumentLibraryForm</Display>
  <Edit>DocumentLibraryForm</Edit>
  <New>DocumentLibraryForm</New>
</FormTemplates>
</file>

<file path=customXml/item1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3.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4.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1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99EE0433-4F8D-4900-964C-922EBDC3FFC3}">
  <ds:schemaRefs>
    <ds:schemaRef ds:uri="Strauss.PersonalizationDefinition"/>
  </ds:schemaRefs>
</ds:datastoreItem>
</file>

<file path=customXml/itemProps10.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11.xml><?xml version="1.0" encoding="utf-8"?>
<ds:datastoreItem xmlns:ds="http://schemas.openxmlformats.org/officeDocument/2006/customXml" ds:itemID="{35A184F6-9A4D-432E-BD2E-8543C142498D}">
  <ds:schemaRefs>
    <ds:schemaRef ds:uri="Strauss.PersonalizationDefinition"/>
  </ds:schemaRefs>
</ds:datastoreItem>
</file>

<file path=customXml/itemProps12.xml><?xml version="1.0" encoding="utf-8"?>
<ds:datastoreItem xmlns:ds="http://schemas.openxmlformats.org/officeDocument/2006/customXml" ds:itemID="{2D3403FF-6FE4-4DD0-8DAF-492C52B59F10}">
  <ds:schemaRefs>
    <ds:schemaRef ds:uri="Strauss.PersonalizationDefinition"/>
  </ds:schemaRefs>
</ds:datastoreItem>
</file>

<file path=customXml/itemProps13.xml><?xml version="1.0" encoding="utf-8"?>
<ds:datastoreItem xmlns:ds="http://schemas.openxmlformats.org/officeDocument/2006/customXml" ds:itemID="{920905D1-23C9-45E4-9312-936F5C6097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4.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customXml/itemProps15.xml><?xml version="1.0" encoding="utf-8"?>
<ds:datastoreItem xmlns:ds="http://schemas.openxmlformats.org/officeDocument/2006/customXml" ds:itemID="{29CF1895-980C-4D49-B7FD-693D62A77103}">
  <ds:schemaRefs>
    <ds:schemaRef ds:uri="Strauss.PersonalizationDefinition"/>
  </ds:schemaRefs>
</ds:datastoreItem>
</file>

<file path=customXml/itemProps2.xml><?xml version="1.0" encoding="utf-8"?>
<ds:datastoreItem xmlns:ds="http://schemas.openxmlformats.org/officeDocument/2006/customXml" ds:itemID="{4C04CDDE-2D6B-4F45-8A75-E18007E562B8}">
  <ds:schemaRefs>
    <ds:schemaRef ds:uri="Strauss.PersonalizationDefinition"/>
  </ds:schemaRefs>
</ds:datastoreItem>
</file>

<file path=customXml/itemProps3.xml><?xml version="1.0" encoding="utf-8"?>
<ds:datastoreItem xmlns:ds="http://schemas.openxmlformats.org/officeDocument/2006/customXml" ds:itemID="{CD086AF5-CCD3-41C8-B98A-2B159789D38E}">
  <ds:schemaRefs>
    <ds:schemaRef ds:uri="Strauss.PersonalizationDefinition"/>
  </ds:schemaRefs>
</ds:datastoreItem>
</file>

<file path=customXml/itemProps4.xml><?xml version="1.0" encoding="utf-8"?>
<ds:datastoreItem xmlns:ds="http://schemas.openxmlformats.org/officeDocument/2006/customXml" ds:itemID="{C5285313-F55F-42C2-BF9A-066CABB51CDB}">
  <ds:schemaRefs>
    <ds:schemaRef ds:uri="Strauss.PersonalizationDefinition"/>
  </ds:schemaRefs>
</ds:datastoreItem>
</file>

<file path=customXml/itemProps5.xml><?xml version="1.0" encoding="utf-8"?>
<ds:datastoreItem xmlns:ds="http://schemas.openxmlformats.org/officeDocument/2006/customXml" ds:itemID="{FDF350C7-94E8-4D0F-AE22-38F437380DED}">
  <ds:schemaRefs>
    <ds:schemaRef ds:uri="Strauss.PersonalizationDefinition"/>
  </ds:schemaRefs>
</ds:datastoreItem>
</file>

<file path=customXml/itemProps6.xml><?xml version="1.0" encoding="utf-8"?>
<ds:datastoreItem xmlns:ds="http://schemas.openxmlformats.org/officeDocument/2006/customXml" ds:itemID="{8A4789B3-563F-4B20-AF11-A45A6247B950}">
  <ds:schemaRefs>
    <ds:schemaRef ds:uri="Strauss.PersonalizationDefinition"/>
  </ds:schemaRefs>
</ds:datastoreItem>
</file>

<file path=customXml/itemProps7.xml><?xml version="1.0" encoding="utf-8"?>
<ds:datastoreItem xmlns:ds="http://schemas.openxmlformats.org/officeDocument/2006/customXml" ds:itemID="{5319EDF9-1291-4762-B099-14F0AC870E88}">
  <ds:schemaRefs>
    <ds:schemaRef ds:uri="Strauss.PersonalizationDefinition"/>
  </ds:schemaRefs>
</ds:datastoreItem>
</file>

<file path=customXml/itemProps8.xml><?xml version="1.0" encoding="utf-8"?>
<ds:datastoreItem xmlns:ds="http://schemas.openxmlformats.org/officeDocument/2006/customXml" ds:itemID="{EBCC33FC-94BB-4B1D-A4C6-D2E6A3A4B1FD}">
  <ds:schemaRefs>
    <ds:schemaRef ds:uri="Strauss.PersonalizationDefinition"/>
  </ds:schemaRefs>
</ds:datastoreItem>
</file>

<file path=customXml/itemProps9.xml><?xml version="1.0" encoding="utf-8"?>
<ds:datastoreItem xmlns:ds="http://schemas.openxmlformats.org/officeDocument/2006/customXml" ds:itemID="{0C362A7E-8756-4C67-942B-DEB170D77041}">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Default Theme</Template>
  <TotalTime>3813</TotalTime>
  <Words>14875</Words>
  <Application>Microsoft Office PowerPoint</Application>
  <PresentationFormat>Widescreen</PresentationFormat>
  <Paragraphs>1222</Paragraphs>
  <Slides>69</Slides>
  <Notes>59</Notes>
  <HiddenSlides>6</HiddenSlides>
  <MMClips>0</MMClips>
  <ScaleCrop>false</ScaleCrop>
  <HeadingPairs>
    <vt:vector size="6" baseType="variant">
      <vt:variant>
        <vt:lpstr>Fonts Used</vt:lpstr>
      </vt:variant>
      <vt:variant>
        <vt:i4>13</vt:i4>
      </vt:variant>
      <vt:variant>
        <vt:lpstr>Theme</vt:lpstr>
      </vt:variant>
      <vt:variant>
        <vt:i4>8</vt:i4>
      </vt:variant>
      <vt:variant>
        <vt:lpstr>Slide Titles</vt:lpstr>
      </vt:variant>
      <vt:variant>
        <vt:i4>69</vt:i4>
      </vt:variant>
    </vt:vector>
  </HeadingPairs>
  <TitlesOfParts>
    <vt:vector size="90" baseType="lpstr">
      <vt:lpstr>&amp;quot</vt:lpstr>
      <vt:lpstr>Arial</vt:lpstr>
      <vt:lpstr>Calibri</vt:lpstr>
      <vt:lpstr>Calibri Light</vt:lpstr>
      <vt:lpstr>Comic Sans MS</vt:lpstr>
      <vt:lpstr>Consolas</vt:lpstr>
      <vt:lpstr>Lucida Console</vt:lpstr>
      <vt:lpstr>Roboto</vt:lpstr>
      <vt:lpstr>Segoe UI</vt:lpstr>
      <vt:lpstr>Segoe UI Light</vt:lpstr>
      <vt:lpstr>Segoe UI Semibold</vt:lpstr>
      <vt:lpstr>SegoeUI</vt:lpstr>
      <vt:lpstr>Wingdings</vt:lpstr>
      <vt:lpstr>CORE TEMPLATE</vt:lpstr>
      <vt:lpstr>4_CORE TEMPLATE</vt:lpstr>
      <vt:lpstr>1_Dark Blue</vt:lpstr>
      <vt:lpstr>Microsoft 365 PPT Template - 2018</vt:lpstr>
      <vt:lpstr>Workshop</vt:lpstr>
      <vt:lpstr>2_Dark Blue</vt:lpstr>
      <vt:lpstr>1_Workshop</vt:lpstr>
      <vt:lpstr>2_Workshop</vt:lpstr>
      <vt:lpstr>SQL Server I/O and Database Structure</vt:lpstr>
      <vt:lpstr>Learning Units covered in this Module</vt:lpstr>
      <vt:lpstr>Lesson 1: SQL Server Disk I/O</vt:lpstr>
      <vt:lpstr>Objectives</vt:lpstr>
      <vt:lpstr>Database files and filegroups</vt:lpstr>
      <vt:lpstr>SQL Server disk I/O patterns:</vt:lpstr>
      <vt:lpstr>Database files and filegroups</vt:lpstr>
      <vt:lpstr>SQL Server Disk I/O (Write-Ahead Logging)</vt:lpstr>
      <vt:lpstr>Log Buffer Flushing</vt:lpstr>
      <vt:lpstr>SQL Server Buffer Pool</vt:lpstr>
      <vt:lpstr>SET STATISTICS IO</vt:lpstr>
      <vt:lpstr>Total Query Response Time</vt:lpstr>
      <vt:lpstr>Checkpoints</vt:lpstr>
      <vt:lpstr>Lesson 2: SQL Server Page Structure</vt:lpstr>
      <vt:lpstr>Objectives</vt:lpstr>
      <vt:lpstr>Pages and Extents architecture</vt:lpstr>
      <vt:lpstr>Data Page structure</vt:lpstr>
      <vt:lpstr>Page types</vt:lpstr>
      <vt:lpstr>Row Storage</vt:lpstr>
      <vt:lpstr>DBCC IND</vt:lpstr>
      <vt:lpstr>DBCC PAGE</vt:lpstr>
      <vt:lpstr>New DMF</vt:lpstr>
      <vt:lpstr>Demonstration</vt:lpstr>
      <vt:lpstr>Questions?</vt:lpstr>
      <vt:lpstr>Lesson 3: SQL Server Data File Structure</vt:lpstr>
      <vt:lpstr>Objectives</vt:lpstr>
      <vt:lpstr>SQL Server object allocation</vt:lpstr>
      <vt:lpstr>The Role of Allocation Pages in Object Allocation</vt:lpstr>
      <vt:lpstr>Allocation objects</vt:lpstr>
      <vt:lpstr>Database File page layout</vt:lpstr>
      <vt:lpstr>SQL Server object allocation</vt:lpstr>
      <vt:lpstr>SQL Server object allocation (Trace Flag 1118)</vt:lpstr>
      <vt:lpstr>Tying it all together</vt:lpstr>
      <vt:lpstr>Differential Changed Map (DCM)</vt:lpstr>
      <vt:lpstr>Bulk Changed Map (BCM)</vt:lpstr>
      <vt:lpstr>Questions?</vt:lpstr>
      <vt:lpstr>Lesson 4: SQL Server Log File Structure</vt:lpstr>
      <vt:lpstr>Objectives</vt:lpstr>
      <vt:lpstr>SQL Server disk I/O patterns: transaction log</vt:lpstr>
      <vt:lpstr>Transaction Log</vt:lpstr>
      <vt:lpstr>Microsoft SQL Server Transaction Logging</vt:lpstr>
      <vt:lpstr>Page LSN and recovery</vt:lpstr>
      <vt:lpstr>Physical Log File Structure</vt:lpstr>
      <vt:lpstr>Physical Log File Structure (Continued)</vt:lpstr>
      <vt:lpstr>Addressing VLF Counts</vt:lpstr>
      <vt:lpstr>SQL Server 2014 VLF Growth Improvement</vt:lpstr>
      <vt:lpstr>Addressing VLF Counts</vt:lpstr>
      <vt:lpstr>Demonstration</vt:lpstr>
      <vt:lpstr>Delayed durability</vt:lpstr>
      <vt:lpstr>When to use delayed transaction durability</vt:lpstr>
      <vt:lpstr>How to control transaction durability</vt:lpstr>
      <vt:lpstr>Delayed Durability</vt:lpstr>
      <vt:lpstr>Transaction Logging (Delayed Durability)</vt:lpstr>
      <vt:lpstr>Questions?</vt:lpstr>
      <vt:lpstr>Knowledge Check</vt:lpstr>
      <vt:lpstr>Lesson 5: SQL Server TempDB File Structure</vt:lpstr>
      <vt:lpstr>Objectives</vt:lpstr>
      <vt:lpstr>TempDB database</vt:lpstr>
      <vt:lpstr>What is stored in TempDB?</vt:lpstr>
      <vt:lpstr>Physical properties of TempDB</vt:lpstr>
      <vt:lpstr>Optimizing TempDB performance</vt:lpstr>
      <vt:lpstr>Performance improvements in TempDB</vt:lpstr>
      <vt:lpstr>Performance improvements in TempDB</vt:lpstr>
      <vt:lpstr>Performance improvements in TempDB</vt:lpstr>
      <vt:lpstr>Concurrent PFS updates </vt:lpstr>
      <vt:lpstr>Demonstration</vt:lpstr>
      <vt:lpstr>Questions?</vt:lpstr>
      <vt:lpstr>Knowledge Che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vid Treuling</dc:creator>
  <cp:lastModifiedBy>John Deardurff</cp:lastModifiedBy>
  <cp:revision>66</cp:revision>
  <dcterms:created xsi:type="dcterms:W3CDTF">2019-08-12T16:24:54Z</dcterms:created>
  <dcterms:modified xsi:type="dcterms:W3CDTF">2023-01-21T17:06: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evidt@microsoft.com</vt:lpwstr>
  </property>
  <property fmtid="{D5CDD505-2E9C-101B-9397-08002B2CF9AE}" pid="5" name="MSIP_Label_f42aa342-8706-4288-bd11-ebb85995028c_SetDate">
    <vt:lpwstr>2019-06-27T09:20:45.018717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bb6abfa-afa9-4829-b3dd-45bed72bf662</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ies>
</file>